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theme/theme5.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9.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302" r:id="rId4"/>
    <p:sldMasterId id="2147484403" r:id="rId5"/>
    <p:sldMasterId id="2147484455" r:id="rId6"/>
    <p:sldMasterId id="2147484464" r:id="rId7"/>
    <p:sldMasterId id="2147484494" r:id="rId8"/>
    <p:sldMasterId id="2147484496" r:id="rId9"/>
  </p:sldMasterIdLst>
  <p:notesMasterIdLst>
    <p:notesMasterId r:id="rId68"/>
  </p:notesMasterIdLst>
  <p:handoutMasterIdLst>
    <p:handoutMasterId r:id="rId69"/>
  </p:handoutMasterIdLst>
  <p:sldIdLst>
    <p:sldId id="1612" r:id="rId10"/>
    <p:sldId id="1526" r:id="rId11"/>
    <p:sldId id="1540" r:id="rId12"/>
    <p:sldId id="1613" r:id="rId13"/>
    <p:sldId id="1614" r:id="rId14"/>
    <p:sldId id="1615" r:id="rId15"/>
    <p:sldId id="1616" r:id="rId16"/>
    <p:sldId id="1596" r:id="rId17"/>
    <p:sldId id="1579" r:id="rId18"/>
    <p:sldId id="1630" r:id="rId19"/>
    <p:sldId id="1587" r:id="rId20"/>
    <p:sldId id="1560" r:id="rId21"/>
    <p:sldId id="1581" r:id="rId22"/>
    <p:sldId id="1562" r:id="rId23"/>
    <p:sldId id="1588" r:id="rId24"/>
    <p:sldId id="1564" r:id="rId25"/>
    <p:sldId id="1565" r:id="rId26"/>
    <p:sldId id="1589" r:id="rId27"/>
    <p:sldId id="1567" r:id="rId28"/>
    <p:sldId id="1586" r:id="rId29"/>
    <p:sldId id="1629" r:id="rId30"/>
    <p:sldId id="1570" r:id="rId31"/>
    <p:sldId id="1617" r:id="rId32"/>
    <p:sldId id="1590" r:id="rId33"/>
    <p:sldId id="1580" r:id="rId34"/>
    <p:sldId id="1609" r:id="rId35"/>
    <p:sldId id="1575" r:id="rId36"/>
    <p:sldId id="1591" r:id="rId37"/>
    <p:sldId id="1631" r:id="rId38"/>
    <p:sldId id="1592" r:id="rId39"/>
    <p:sldId id="1406" r:id="rId40"/>
    <p:sldId id="1473" r:id="rId41"/>
    <p:sldId id="1467" r:id="rId42"/>
    <p:sldId id="1475" r:id="rId43"/>
    <p:sldId id="1627" r:id="rId44"/>
    <p:sldId id="1618" r:id="rId45"/>
    <p:sldId id="1619" r:id="rId46"/>
    <p:sldId id="1620" r:id="rId47"/>
    <p:sldId id="1621" r:id="rId48"/>
    <p:sldId id="1622" r:id="rId49"/>
    <p:sldId id="1623" r:id="rId50"/>
    <p:sldId id="1624" r:id="rId51"/>
    <p:sldId id="1625" r:id="rId52"/>
    <p:sldId id="1626" r:id="rId53"/>
    <p:sldId id="1441" r:id="rId54"/>
    <p:sldId id="1608" r:id="rId55"/>
    <p:sldId id="1628" r:id="rId56"/>
    <p:sldId id="1404" r:id="rId57"/>
    <p:sldId id="1362" r:id="rId58"/>
    <p:sldId id="1363" r:id="rId59"/>
    <p:sldId id="1364" r:id="rId60"/>
    <p:sldId id="1367" r:id="rId61"/>
    <p:sldId id="1368" r:id="rId62"/>
    <p:sldId id="1369" r:id="rId63"/>
    <p:sldId id="1370" r:id="rId64"/>
    <p:sldId id="1371" r:id="rId65"/>
    <p:sldId id="1373" r:id="rId66"/>
    <p:sldId id="1374" r:id="rId67"/>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peaker Guidance" id="{7AB1B9B2-9484-413E-BFC3-51F43DBAE25B}">
          <p14:sldIdLst>
            <p14:sldId id="1612"/>
          </p14:sldIdLst>
        </p14:section>
        <p14:section name="Intro" id="{9C8DC9DF-3004-48EE-BCB7-FB507BE952F3}">
          <p14:sldIdLst>
            <p14:sldId id="1526"/>
            <p14:sldId id="1540"/>
            <p14:sldId id="1613"/>
            <p14:sldId id="1614"/>
            <p14:sldId id="1615"/>
            <p14:sldId id="1616"/>
          </p14:sldIdLst>
        </p14:section>
        <p14:section name="Introducing CIS" id="{E7456818-BB4C-4D5A-9C5D-9329D71B2990}">
          <p14:sldIdLst>
            <p14:sldId id="1596"/>
            <p14:sldId id="1579"/>
            <p14:sldId id="1630"/>
            <p14:sldId id="1587"/>
            <p14:sldId id="1560"/>
            <p14:sldId id="1581"/>
            <p14:sldId id="1562"/>
            <p14:sldId id="1588"/>
            <p14:sldId id="1564"/>
            <p14:sldId id="1565"/>
            <p14:sldId id="1589"/>
            <p14:sldId id="1567"/>
            <p14:sldId id="1586"/>
            <p14:sldId id="1629"/>
            <p14:sldId id="1570"/>
            <p14:sldId id="1617"/>
            <p14:sldId id="1590"/>
            <p14:sldId id="1580"/>
            <p14:sldId id="1609"/>
            <p14:sldId id="1575"/>
            <p14:sldId id="1591"/>
            <p14:sldId id="1631"/>
            <p14:sldId id="1592"/>
          </p14:sldIdLst>
        </p14:section>
        <p14:section name="Car Demo" id="{D44F4583-9F8D-4601-9A3A-2AD357D780AC}">
          <p14:sldIdLst>
            <p14:sldId id="1406"/>
            <p14:sldId id="1473"/>
            <p14:sldId id="1467"/>
            <p14:sldId id="1475"/>
          </p14:sldIdLst>
        </p14:section>
        <p14:section name="Case Studies" id="{1D5D2BF5-E5B4-41AF-BB4B-5F59AD9ACAA4}">
          <p14:sldIdLst>
            <p14:sldId id="1627"/>
            <p14:sldId id="1618"/>
            <p14:sldId id="1619"/>
            <p14:sldId id="1620"/>
            <p14:sldId id="1621"/>
            <p14:sldId id="1622"/>
            <p14:sldId id="1623"/>
            <p14:sldId id="1624"/>
            <p14:sldId id="1625"/>
            <p14:sldId id="1626"/>
          </p14:sldIdLst>
        </p14:section>
        <p14:section name="Conclusion" id="{85A22F6D-F17A-4A81-8CDE-4B5A09E5C908}">
          <p14:sldIdLst>
            <p14:sldId id="1441"/>
            <p14:sldId id="1608"/>
          </p14:sldIdLst>
        </p14:section>
        <p14:section name="Appendix" id="{CECAAADB-B2D6-4905-8F24-77F9C72A315B}">
          <p14:sldIdLst>
            <p14:sldId id="1628"/>
            <p14:sldId id="1404"/>
          </p14:sldIdLst>
        </p14:section>
        <p14:section name="Bing Example - alt opening" id="{12DCE37E-E32A-4A8F-B28C-2975BD4F5780}">
          <p14:sldIdLst>
            <p14:sldId id="1362"/>
            <p14:sldId id="1363"/>
            <p14:sldId id="1364"/>
            <p14:sldId id="1367"/>
            <p14:sldId id="1368"/>
            <p14:sldId id="1369"/>
            <p14:sldId id="1370"/>
            <p14:sldId id="1371"/>
            <p14:sldId id="1373"/>
            <p14:sldId id="1374"/>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1"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0078D7"/>
    <a:srgbClr val="00BCF2"/>
    <a:srgbClr val="0072C6"/>
    <a:srgbClr val="002050"/>
    <a:srgbClr val="00317B"/>
    <a:srgbClr val="7FBA00"/>
    <a:srgbClr val="002060"/>
    <a:srgbClr val="F49830"/>
    <a:srgbClr val="5C2D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429" autoAdjust="0"/>
    <p:restoredTop sz="95908" autoAdjust="0"/>
  </p:normalViewPr>
  <p:slideViewPr>
    <p:cSldViewPr>
      <p:cViewPr varScale="1">
        <p:scale>
          <a:sx n="104" d="100"/>
          <a:sy n="104" d="100"/>
        </p:scale>
        <p:origin x="747" y="36"/>
      </p:cViewPr>
      <p:guideLst>
        <p:guide orient="horz" pos="2203"/>
        <p:guide pos="3917"/>
      </p:guideLst>
    </p:cSldViewPr>
  </p:slideViewPr>
  <p:outlineViewPr>
    <p:cViewPr>
      <p:scale>
        <a:sx n="33" d="100"/>
        <a:sy n="33" d="100"/>
      </p:scale>
      <p:origin x="0" y="-3642"/>
    </p:cViewPr>
  </p:outlineViewPr>
  <p:notesTextViewPr>
    <p:cViewPr>
      <p:scale>
        <a:sx n="100" d="100"/>
        <a:sy n="100" d="100"/>
      </p:scale>
      <p:origin x="0" y="0"/>
    </p:cViewPr>
  </p:notesTextViewPr>
  <p:sorterViewPr>
    <p:cViewPr>
      <p:scale>
        <a:sx n="60" d="100"/>
        <a:sy n="60" d="100"/>
      </p:scale>
      <p:origin x="0" y="-3087"/>
    </p:cViewPr>
  </p:sorterViewPr>
  <p:notesViewPr>
    <p:cSldViewPr showGuides="1">
      <p:cViewPr varScale="1">
        <p:scale>
          <a:sx n="78" d="100"/>
          <a:sy n="78" d="100"/>
        </p:scale>
        <p:origin x="2772" y="42"/>
      </p:cViewPr>
      <p:guideLst>
        <p:guide orient="horz" pos="2880"/>
        <p:guide pos="2160"/>
      </p:guideLst>
    </p:cSldViewPr>
  </p:notesViewPr>
  <p:gridSpacing cx="91439" cy="91439"/>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slide" Target="slides/slide54.xml"/><Relationship Id="rId68" Type="http://schemas.openxmlformats.org/officeDocument/2006/relationships/notesMaster" Target="notesMasters/notesMaster1.xml"/><Relationship Id="rId7" Type="http://schemas.openxmlformats.org/officeDocument/2006/relationships/slideMaster" Target="slideMasters/slideMaster4.xml"/><Relationship Id="rId71"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slide" Target="slides/slide57.xml"/><Relationship Id="rId7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61" Type="http://schemas.openxmlformats.org/officeDocument/2006/relationships/slide" Target="slides/slide52.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handoutMaster" Target="handoutMasters/handoutMaster1.xml"/><Relationship Id="rId8" Type="http://schemas.openxmlformats.org/officeDocument/2006/relationships/slideMaster" Target="slideMasters/slideMaster5.xml"/><Relationship Id="rId51" Type="http://schemas.openxmlformats.org/officeDocument/2006/relationships/slide" Target="slides/slide42.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98488553494054E-2"/>
          <c:y val="3.90424411488429E-2"/>
          <c:w val="0.9218504458742286"/>
          <c:h val="0.86747886482024428"/>
        </c:manualLayout>
      </c:layout>
      <c:areaChart>
        <c:grouping val="stacked"/>
        <c:varyColors val="0"/>
        <c:ser>
          <c:idx val="0"/>
          <c:order val="0"/>
          <c:spPr>
            <a:solidFill>
              <a:schemeClr val="tx1">
                <a:alpha val="20000"/>
              </a:schemeClr>
            </a:solidFill>
            <a:ln>
              <a:noFill/>
            </a:ln>
            <a:effectLst/>
          </c:spPr>
          <c:dLbls>
            <c:dLbl>
              <c:idx val="0"/>
              <c:layout>
                <c:manualLayout>
                  <c:x val="1.212452339561451E-2"/>
                  <c:y val="-0.223183181682641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A35-4ACB-A298-194B30A7842F}"/>
                </c:ext>
              </c:extLst>
            </c:dLbl>
            <c:dLbl>
              <c:idx val="1"/>
              <c:layout>
                <c:manualLayout>
                  <c:x val="-1.9436121439224796E-17"/>
                  <c:y val="-0.2511211000926953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A35-4ACB-A298-194B30A7842F}"/>
                </c:ext>
              </c:extLst>
            </c:dLbl>
            <c:dLbl>
              <c:idx val="2"/>
              <c:layout>
                <c:manualLayout>
                  <c:x val="0"/>
                  <c:y val="-0.3091342273448718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A35-4ACB-A298-194B30A7842F}"/>
                </c:ext>
              </c:extLst>
            </c:dLbl>
            <c:dLbl>
              <c:idx val="3"/>
              <c:layout>
                <c:manualLayout>
                  <c:x val="-7.7744485756899183E-17"/>
                  <c:y val="-0.3341342099948574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A35-4ACB-A298-194B30A7842F}"/>
                </c:ext>
              </c:extLst>
            </c:dLbl>
            <c:dLbl>
              <c:idx val="4"/>
              <c:layout>
                <c:manualLayout>
                  <c:x val="2.2044739769309135E-3"/>
                  <c:y val="-0.3733433917149748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A35-4ACB-A298-194B30A7842F}"/>
                </c:ext>
              </c:extLst>
            </c:dLbl>
            <c:dLbl>
              <c:idx val="5"/>
              <c:layout>
                <c:manualLayout>
                  <c:x val="0"/>
                  <c:y val="-0.4008008303948192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A35-4ACB-A298-194B30A7842F}"/>
                </c:ext>
              </c:extLst>
            </c:dLbl>
            <c:dLbl>
              <c:idx val="6"/>
              <c:layout>
                <c:manualLayout>
                  <c:x val="-1.212452339561451E-2"/>
                  <c:y val="-0.4174674854948096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A35-4ACB-A298-194B30A7842F}"/>
                </c:ext>
              </c:extLst>
            </c:dLbl>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gradFill>
                      <a:gsLst>
                        <a:gs pos="2917">
                          <a:schemeClr val="tx1"/>
                        </a:gs>
                        <a:gs pos="30000">
                          <a:schemeClr val="tx1"/>
                        </a:gs>
                      </a:gsLst>
                      <a:lin ang="5400000" scaled="0"/>
                    </a:gra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noFill/>
                    </a:ln>
                    <a:effectLst/>
                  </c:spPr>
                </c15:leaderLines>
              </c:ext>
            </c:extLst>
          </c:dLbls>
          <c:val>
            <c:numRef>
              <c:f>Sheet1!$B$2:$B$8</c:f>
              <c:numCache>
                <c:formatCode>0%</c:formatCode>
                <c:ptCount val="7"/>
                <c:pt idx="0">
                  <c:v>9.4E-2</c:v>
                </c:pt>
                <c:pt idx="1">
                  <c:v>0.112</c:v>
                </c:pt>
                <c:pt idx="2">
                  <c:v>0.14699999999999999</c:v>
                </c:pt>
                <c:pt idx="3">
                  <c:v>0.159</c:v>
                </c:pt>
                <c:pt idx="4">
                  <c:v>0.18</c:v>
                </c:pt>
                <c:pt idx="5">
                  <c:v>0.19400000000000001</c:v>
                </c:pt>
                <c:pt idx="6">
                  <c:v>0.20399999999999999</c:v>
                </c:pt>
              </c:numCache>
            </c:numRef>
          </c:val>
          <c:extLst>
            <c:ext xmlns:c15="http://schemas.microsoft.com/office/drawing/2012/chart" uri="{02D57815-91ED-43cb-92C2-25804820EDAC}">
              <c15:filteredSeriesTitle>
                <c15:tx>
                  <c:strRef>
                    <c:extLst xmlns:c16="http://schemas.microsoft.com/office/drawing/2014/chart">
                      <c:ext uri="{02D57815-91ED-43cb-92C2-25804820EDAC}">
                        <c15:formulaRef>
                          <c15:sqref>Sheet1!$B$1</c15:sqref>
                        </c15:formulaRef>
                      </c:ext>
                    </c:extLst>
                    <c:strCache>
                      <c:ptCount val="1"/>
                      <c:pt idx="0">
                        <c:v>Microsoft Search Share</c:v>
                      </c:pt>
                    </c:strCache>
                  </c:strRef>
                </c15:tx>
              </c15:filteredSeriesTitle>
            </c:ext>
            <c:ext xmlns:c15="http://schemas.microsoft.com/office/drawing/2012/chart" uri="{02D57815-91ED-43cb-92C2-25804820EDAC}">
              <c15:filteredCategoryTitle>
                <c15:cat>
                  <c:numRef>
                    <c:extLst>
                      <c:ext uri="{02D57815-91ED-43cb-92C2-25804820EDAC}">
                        <c15:formulaRef>
                          <c15:sqref>Sheet1!$A$2:$A$8</c15:sqref>
                        </c15:formulaRef>
                      </c:ext>
                    </c:extLst>
                    <c:numCache>
                      <c:formatCode>General</c:formatCode>
                      <c:ptCount val="7"/>
                      <c:pt idx="0">
                        <c:v>2009</c:v>
                      </c:pt>
                      <c:pt idx="1">
                        <c:v>2010</c:v>
                      </c:pt>
                      <c:pt idx="2">
                        <c:v>2011</c:v>
                      </c:pt>
                      <c:pt idx="3">
                        <c:v>2012</c:v>
                      </c:pt>
                      <c:pt idx="4">
                        <c:v>2013</c:v>
                      </c:pt>
                      <c:pt idx="5">
                        <c:v>2014</c:v>
                      </c:pt>
                      <c:pt idx="6">
                        <c:v>2015</c:v>
                      </c:pt>
                    </c:numCache>
                  </c:numRef>
                </c15:cat>
              </c15:filteredCategoryTitle>
            </c:ext>
            <c:ext xmlns:c16="http://schemas.microsoft.com/office/drawing/2014/chart" uri="{C3380CC4-5D6E-409C-BE32-E72D297353CC}">
              <c16:uniqueId val="{00000000-B349-4872-98D2-49C39BD97B93}"/>
            </c:ext>
          </c:extLst>
        </c:ser>
        <c:dLbls>
          <c:showLegendKey val="0"/>
          <c:showVal val="1"/>
          <c:showCatName val="0"/>
          <c:showSerName val="0"/>
          <c:showPercent val="0"/>
          <c:showBubbleSize val="0"/>
        </c:dLbls>
        <c:dropLines>
          <c:spPr>
            <a:ln w="9525" cap="flat" cmpd="sng" algn="ctr">
              <a:noFill/>
              <a:round/>
            </a:ln>
            <a:effectLst/>
          </c:spPr>
        </c:dropLines>
        <c:axId val="580089192"/>
        <c:axId val="580097424"/>
      </c:areaChart>
      <c:catAx>
        <c:axId val="580089192"/>
        <c:scaling>
          <c:orientation val="minMax"/>
        </c:scaling>
        <c:delete val="0"/>
        <c:axPos val="b"/>
        <c:numFmt formatCode="General" sourceLinked="1"/>
        <c:majorTickMark val="none"/>
        <c:minorTickMark val="none"/>
        <c:tickLblPos val="nextTo"/>
        <c:spPr>
          <a:noFill/>
          <a:ln w="12700" cap="flat" cmpd="sng" algn="ctr">
            <a:solidFill>
              <a:schemeClr val="lt1"/>
            </a:solidFill>
            <a:round/>
          </a:ln>
          <a:effectLst/>
        </c:spPr>
        <c:txPr>
          <a:bodyPr rot="-60000000" spcFirstLastPara="1" vertOverflow="ellipsis" vert="horz" wrap="square" anchor="ctr" anchorCtr="1"/>
          <a:lstStyle/>
          <a:p>
            <a:pPr>
              <a:defRPr sz="1197" b="0" i="0" u="none" strike="noStrike" kern="1200" spc="100" baseline="0">
                <a:gradFill>
                  <a:gsLst>
                    <a:gs pos="2917">
                      <a:schemeClr val="tx1"/>
                    </a:gs>
                    <a:gs pos="30000">
                      <a:schemeClr val="tx1"/>
                    </a:gs>
                  </a:gsLst>
                  <a:lin ang="5400000" scaled="0"/>
                </a:gradFill>
                <a:latin typeface="+mn-lt"/>
                <a:ea typeface="+mn-ea"/>
                <a:cs typeface="+mn-cs"/>
              </a:defRPr>
            </a:pPr>
            <a:endParaRPr lang="en-US"/>
          </a:p>
        </c:txPr>
        <c:crossAx val="580097424"/>
        <c:crosses val="autoZero"/>
        <c:auto val="1"/>
        <c:lblAlgn val="ctr"/>
        <c:lblOffset val="100"/>
        <c:noMultiLvlLbl val="0"/>
      </c:catAx>
      <c:valAx>
        <c:axId val="580097424"/>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gradFill>
                  <a:gsLst>
                    <a:gs pos="2917">
                      <a:schemeClr val="tx1"/>
                    </a:gs>
                    <a:gs pos="30000">
                      <a:schemeClr val="tx1"/>
                    </a:gs>
                  </a:gsLst>
                  <a:lin ang="5400000" scaled="0"/>
                </a:gradFill>
                <a:latin typeface="+mn-lt"/>
                <a:ea typeface="+mn-ea"/>
                <a:cs typeface="+mn-cs"/>
              </a:defRPr>
            </a:pPr>
            <a:endParaRPr lang="en-US"/>
          </a:p>
        </c:txPr>
        <c:crossAx val="580089192"/>
        <c:crosses val="autoZero"/>
        <c:crossBetween val="midCat"/>
      </c:valAx>
      <c:spPr>
        <a:noFill/>
        <a:ln>
          <a:noFill/>
        </a:ln>
        <a:effectLst/>
      </c:spPr>
    </c:plotArea>
    <c:plotVisOnly val="1"/>
    <c:dispBlanksAs val="gap"/>
    <c:showDLblsOverMax val="0"/>
  </c:chart>
  <c:spPr>
    <a:no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9">
  <cs:axisTitle>
    <cs:lnRef idx="0"/>
    <cs:fillRef idx="0"/>
    <cs:effectRef idx="0"/>
    <cs:fontRef idx="minor">
      <a:schemeClr val="lt1"/>
    </cs:fontRef>
    <cs:defRPr sz="1197" b="1" kern="1200"/>
  </cs:axisTitle>
  <cs:categoryAxis>
    <cs:lnRef idx="0">
      <cs:styleClr val="0"/>
    </cs:lnRef>
    <cs:fillRef idx="0"/>
    <cs:effectRef idx="0"/>
    <cs:fontRef idx="minor">
      <a:schemeClr val="lt1"/>
    </cs:fontRef>
    <cs:spPr>
      <a:ln w="12700" cap="flat" cmpd="sng" algn="ctr">
        <a:solidFill>
          <a:schemeClr val="lt1"/>
        </a:solidFill>
        <a:round/>
      </a:ln>
    </cs:spPr>
    <cs:defRPr sz="1197" kern="1200" spc="100" baseline="0"/>
  </cs:categoryAxis>
  <cs:chartArea>
    <cs:lnRef idx="0">
      <cs:styleClr val="0"/>
    </cs:lnRef>
    <cs:fillRef idx="0">
      <cs:styleClr val="0"/>
    </cs:fillRef>
    <cs:effectRef idx="0"/>
    <cs:fontRef idx="minor">
      <a:schemeClr val="dk1"/>
    </cs:fontRef>
    <cs:spPr>
      <a:solidFill>
        <a:schemeClr val="phClr"/>
      </a:solidFill>
      <a:ln w="9525" cap="flat" cmpd="sng" algn="ctr">
        <a:solidFill>
          <a:schemeClr val="phClr"/>
        </a:solidFill>
        <a:round/>
      </a:ln>
    </cs:spPr>
    <cs:defRPr sz="1330" kern="1200"/>
  </cs:chartArea>
  <cs:dataLabel>
    <cs:lnRef idx="0"/>
    <cs:fillRef idx="0"/>
    <cs:effectRef idx="0"/>
    <cs:fontRef idx="minor">
      <a:schemeClr val="lt1"/>
    </cs:fontRef>
    <cs:defRPr sz="1197" b="1" kern="1200"/>
  </cs:dataLabel>
  <cs:dataLabelCallout>
    <cs:lnRef idx="0">
      <cs:styleClr val="auto"/>
    </cs:lnRef>
    <cs:fillRef idx="0"/>
    <cs:effectRef idx="0"/>
    <cs:fontRef idx="minor">
      <cs:styleClr val="auto"/>
    </cs:fontRef>
    <cs:spPr>
      <a:solidFill>
        <a:schemeClr val="lt1"/>
      </a:solidFill>
      <a:ln>
        <a:solidFill>
          <a:schemeClr val="ph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pattFill prst="ltUpDiag">
        <a:fgClr>
          <a:schemeClr val="phClr"/>
        </a:fgClr>
        <a:bgClr>
          <a:schemeClr val="lt1"/>
        </a:bgClr>
      </a:pattFill>
    </cs:spPr>
  </cs:dataPoint>
  <cs:dataPoint3D>
    <cs:lnRef idx="0"/>
    <cs:fillRef idx="0">
      <cs:styleClr val="auto"/>
    </cs:fillRef>
    <cs:effectRef idx="0"/>
    <cs:fontRef idx="minor">
      <a:schemeClr val="dk1"/>
    </cs:fontRef>
    <cs:spPr>
      <a:pattFill prst="ltUpDiag">
        <a:fgClr>
          <a:schemeClr val="phClr"/>
        </a:fgClr>
        <a:bgClr>
          <a:schemeClr val="lt1"/>
        </a:bgClr>
      </a:pattFill>
    </cs:spPr>
  </cs:dataPoint3D>
  <cs:dataPointLine>
    <cs:lnRef idx="0">
      <cs:styleClr val="auto"/>
    </cs:lnRef>
    <cs:fillRef idx="0"/>
    <cs:effectRef idx="0">
      <cs:styleClr val="auto"/>
    </cs:effectRef>
    <cs:fontRef idx="minor">
      <a:schemeClr val="dk1"/>
    </cs:fontRef>
    <cs:spPr>
      <a:ln w="34925" cap="rnd">
        <a:solidFill>
          <a:schemeClr val="lt1"/>
        </a:solidFill>
        <a:round/>
      </a:ln>
      <a:effectLst>
        <a:outerShdw dist="25400" dir="2700000" algn="tl" rotWithShape="0">
          <a:schemeClr val="phClr"/>
        </a:outerShdw>
      </a:effectLst>
    </cs:spPr>
  </cs:dataPointLine>
  <cs:dataPointMarker>
    <cs:lnRef idx="0"/>
    <cs:fillRef idx="0">
      <cs:styleClr val="auto"/>
    </cs:fillRef>
    <cs:effectRef idx="0"/>
    <cs:fontRef idx="minor">
      <a:schemeClr val="dk1"/>
    </cs:fontRef>
    <cs:spPr>
      <a:solidFill>
        <a:schemeClr val="phClr"/>
      </a:solidFill>
      <a:ln w="22225">
        <a:solidFill>
          <a:schemeClr val="lt1"/>
        </a:solidFill>
        <a:round/>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styleClr val="0"/>
    </cs:lnRef>
    <cs:fillRef idx="0"/>
    <cs:effectRef idx="0"/>
    <cs:fontRef idx="minor">
      <a:schemeClr val="lt1"/>
    </cs:fontRef>
    <cs:spPr>
      <a:ln w="9525">
        <a:solidFill>
          <a:schemeClr val="phClr">
            <a:lumMod val="60000"/>
            <a:lumOff val="40000"/>
          </a:schemeClr>
        </a:solidFill>
      </a:ln>
    </cs:spPr>
    <cs:defRPr sz="1197" kern="1200"/>
  </cs:dataTable>
  <cs:downBar>
    <cs:lnRef idx="0">
      <cs:styleClr val="0"/>
    </cs:lnRef>
    <cs:fillRef idx="0"/>
    <cs:effectRef idx="0"/>
    <cs:fontRef idx="minor">
      <a:schemeClr val="dk1"/>
    </cs:fontRef>
    <cs:spPr>
      <a:solidFill>
        <a:schemeClr val="dk1">
          <a:lumMod val="35000"/>
          <a:lumOff val="65000"/>
        </a:schemeClr>
      </a:solidFill>
      <a:ln w="9525">
        <a:solidFill>
          <a:schemeClr val="phClr">
            <a:lumMod val="60000"/>
            <a:lumOff val="40000"/>
          </a:schemeClr>
        </a:solidFill>
      </a:ln>
    </cs:spPr>
  </cs:downBar>
  <cs:dropLine>
    <cs:lnRef idx="0"/>
    <cs:fillRef idx="0"/>
    <cs:effectRef idx="0"/>
    <cs:fontRef idx="minor">
      <a:schemeClr val="dk1"/>
    </cs:fontRef>
    <cs:spPr>
      <a:ln w="9525" cap="flat" cmpd="sng" algn="ctr">
        <a:gradFill>
          <a:gsLst>
            <a:gs pos="0">
              <a:schemeClr val="lt1"/>
            </a:gs>
            <a:gs pos="100000">
              <a:schemeClr val="lt1">
                <a:alpha val="0"/>
              </a:schemeClr>
            </a:gs>
          </a:gsLst>
          <a:lin ang="5400000" scaled="0"/>
        </a:gradFill>
        <a:round/>
      </a:ln>
    </cs:spPr>
  </cs:dropLine>
  <cs:errorBar>
    <cs:lnRef idx="0">
      <cs:styleClr val="0"/>
    </cs:lnRef>
    <cs:fillRef idx="0"/>
    <cs:effectRef idx="0"/>
    <cs:fontRef idx="minor">
      <a:schemeClr val="dk1"/>
    </cs:fontRef>
    <cs:spPr>
      <a:ln w="9525">
        <a:solidFill>
          <a:schemeClr val="phClr">
            <a:lumMod val="60000"/>
            <a:lumOff val="40000"/>
          </a:schemeClr>
        </a:solidFill>
        <a:round/>
      </a:ln>
      <a:effectLst>
        <a:glow rad="25400">
          <a:schemeClr val="lt1"/>
        </a:glow>
      </a:effectLst>
    </cs:spPr>
  </cs:errorBar>
  <cs:floor>
    <cs:lnRef idx="0"/>
    <cs:fillRef idx="0"/>
    <cs:effectRef idx="0"/>
    <cs:fontRef idx="minor">
      <a:schemeClr val="dk1"/>
    </cs:fontRef>
  </cs:floor>
  <cs:gridlineMajor>
    <cs:lnRef idx="0">
      <cs:styleClr val="0"/>
    </cs:lnRef>
    <cs:fillRef idx="0"/>
    <cs:effectRef idx="0"/>
    <cs:fontRef idx="minor">
      <a:schemeClr val="dk1"/>
    </cs:fontRef>
    <cs:spPr>
      <a:ln w="9525" cap="flat" cmpd="sng" algn="ctr">
        <a:solidFill>
          <a:schemeClr val="lt1">
            <a:alpha val="25000"/>
          </a:schemeClr>
        </a:solidFill>
        <a:round/>
      </a:ln>
    </cs:spPr>
  </cs:gridlineMajor>
  <cs:gridlineMinor>
    <cs:lnRef idx="0">
      <cs:styleClr val="0"/>
    </cs:lnRef>
    <cs:fillRef idx="0"/>
    <cs:effectRef idx="0"/>
    <cs:fontRef idx="minor">
      <a:schemeClr val="dk1"/>
    </cs:fontRef>
    <cs:spPr>
      <a:ln>
        <a:solidFill>
          <a:schemeClr val="lt1">
            <a:alpha val="10000"/>
          </a:schemeClr>
        </a:solidFill>
      </a:ln>
    </cs:spPr>
  </cs:gridlineMinor>
  <cs:hiLoLine>
    <cs:lnRef idx="0">
      <cs:styleClr val="0"/>
    </cs:lnRef>
    <cs:fillRef idx="0"/>
    <cs:effectRef idx="0"/>
    <cs:fontRef idx="minor">
      <a:schemeClr val="dk1"/>
    </cs:fontRef>
    <cs:spPr>
      <a:ln w="9525">
        <a:solidFill>
          <a:schemeClr val="phClr">
            <a:lumMod val="60000"/>
            <a:lumOff val="40000"/>
          </a:schemeClr>
        </a:solidFill>
        <a:prstDash val="dash"/>
      </a:ln>
    </cs:spPr>
  </cs:hiLoLine>
  <cs:leaderLine>
    <cs:lnRef idx="0">
      <cs:styleClr val="0"/>
    </cs:lnRef>
    <cs:fillRef idx="0"/>
    <cs:effectRef idx="0"/>
    <cs:fontRef idx="minor">
      <a:schemeClr val="dk1"/>
    </cs:fontRef>
    <cs:spPr>
      <a:ln w="9525">
        <a:solidFill>
          <a:schemeClr val="phClr">
            <a:lumMod val="60000"/>
            <a:lumOff val="40000"/>
          </a:schemeClr>
        </a:solidFill>
      </a:ln>
    </cs:spPr>
  </cs:leaderLine>
  <cs:legend>
    <cs:lnRef idx="0"/>
    <cs:fillRef idx="0"/>
    <cs:effectRef idx="0"/>
    <cs:fontRef idx="minor">
      <a:schemeClr val="lt1"/>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styleClr val="0"/>
    </cs:lnRef>
    <cs:fillRef idx="0"/>
    <cs:effectRef idx="0"/>
    <cs:fontRef idx="minor">
      <a:schemeClr val="lt1"/>
    </cs:fontRef>
    <cs:spPr>
      <a:ln w="3175" cap="flat" cmpd="sng" algn="ctr">
        <a:solidFill>
          <a:schemeClr val="phClr">
            <a:lumMod val="60000"/>
            <a:lumOff val="40000"/>
          </a:schemeClr>
        </a:solidFill>
        <a:round/>
      </a:ln>
    </cs:spPr>
    <cs:defRPr sz="1197" kern="1200"/>
  </cs:seriesAxis>
  <cs:seriesLine>
    <cs:lnRef idx="0">
      <cs:styleClr val="0"/>
    </cs:lnRef>
    <cs:fillRef idx="0"/>
    <cs:effectRef idx="0"/>
    <cs:fontRef idx="minor">
      <a:schemeClr val="dk1"/>
    </cs:fontRef>
    <cs:spPr>
      <a:ln w="9525">
        <a:solidFill>
          <a:schemeClr val="phClr">
            <a:lumMod val="60000"/>
            <a:lumOff val="40000"/>
            <a:tint val="50000"/>
          </a:schemeClr>
        </a:solidFill>
        <a:prstDash val="dash"/>
      </a:ln>
    </cs:spPr>
  </cs:seriesLine>
  <cs:title>
    <cs:lnRef idx="0"/>
    <cs:fillRef idx="0"/>
    <cs:effectRef idx="0"/>
    <cs:fontRef idx="minor">
      <a:schemeClr val="lt1"/>
    </cs:fontRef>
    <cs:defRPr sz="1995" b="1" kern="1200" cap="all" spc="100" normalizeH="0" baseline="0"/>
  </cs:title>
  <cs:trendline>
    <cs:lnRef idx="0"/>
    <cs:fillRef idx="0"/>
    <cs:effectRef idx="0"/>
    <cs:fontRef idx="minor">
      <a:schemeClr val="dk1"/>
    </cs:fontRef>
    <cs:spPr>
      <a:ln w="28575" cap="rnd">
        <a:solidFill>
          <a:schemeClr val="lt1">
            <a:alpha val="50000"/>
          </a:schemeClr>
        </a:solidFill>
        <a:round/>
      </a:ln>
    </cs:spPr>
  </cs:trendline>
  <cs:trendlineLabel>
    <cs:lnRef idx="0"/>
    <cs:fillRef idx="0"/>
    <cs:effectRef idx="0"/>
    <cs:fontRef idx="minor">
      <a:schemeClr val="lt1"/>
    </cs:fontRef>
    <cs:defRPr sz="1197" kern="1200"/>
  </cs:trendlineLabel>
  <cs:upBar>
    <cs:lnRef idx="0">
      <cs:styleClr val="0"/>
    </cs:lnRef>
    <cs:fillRef idx="0"/>
    <cs:effectRef idx="0"/>
    <cs:fontRef idx="minor">
      <a:schemeClr val="dk1"/>
    </cs:fontRef>
    <cs:spPr>
      <a:solidFill>
        <a:schemeClr val="lt1">
          <a:lumMod val="95000"/>
        </a:schemeClr>
      </a:solidFill>
      <a:ln w="9525">
        <a:solidFill>
          <a:schemeClr val="phClr">
            <a:lumMod val="60000"/>
            <a:lumOff val="40000"/>
          </a:schemeClr>
        </a:solidFill>
      </a:ln>
    </cs:spPr>
  </cs:upBar>
  <cs:valueAxis>
    <cs:lnRef idx="0"/>
    <cs:fillRef idx="0"/>
    <cs:effectRef idx="0"/>
    <cs:fontRef idx="minor">
      <a:schemeClr val="lt1"/>
    </cs:fontRef>
    <cs:defRPr sz="1197" kern="1200"/>
  </cs:valueAxis>
  <cs:wall>
    <cs:lnRef idx="0"/>
    <cs:fillRef idx="0"/>
    <cs:effectRef idx="0"/>
    <cs:fontRef idx="minor">
      <a:schemeClr val="dk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3/6/2017 2:16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3/6/2017 2:16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azure.microsoft.com/en-us/documentation/articles/hdinsight-hadoop-develop-deploy-streaming-jobs/" TargetMode="External"/><Relationship Id="rId7" Type="http://schemas.openxmlformats.org/officeDocument/2006/relationships/hyperlink" Target="https://go.microsoft.com/fwlink/?linkid=525005&amp;clcid=0x409" TargetMode="External"/><Relationship Id="rId2" Type="http://schemas.openxmlformats.org/officeDocument/2006/relationships/slide" Target="../slides/slide21.xml"/><Relationship Id="rId1" Type="http://schemas.openxmlformats.org/officeDocument/2006/relationships/notesMaster" Target="../notesMasters/notesMaster1.xml"/><Relationship Id="rId6" Type="http://schemas.openxmlformats.org/officeDocument/2006/relationships/hyperlink" Target="http://hortonworks.com/hdp/" TargetMode="External"/><Relationship Id="rId5" Type="http://schemas.openxmlformats.org/officeDocument/2006/relationships/hyperlink" Target="https://go.microsoft.com/fwlink/?linkid=619287&amp;clcid=0x409" TargetMode="External"/><Relationship Id="rId4" Type="http://schemas.openxmlformats.org/officeDocument/2006/relationships/hyperlink" Target="https://azure.microsoft.com/en-us/documentation/articles/hdinsight-develop-deploy-java-mapreduce/" TargetMode="Externa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www.how-old.net/"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www.how-old.net/"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youtu.be/x1XARd8Xo7M" TargetMode="External"/><Relationship Id="rId2" Type="http://schemas.openxmlformats.org/officeDocument/2006/relationships/slide" Target="../slides/slide37.xml"/><Relationship Id="rId1" Type="http://schemas.openxmlformats.org/officeDocument/2006/relationships/notesMaster" Target="../notesMasters/notesMaster1.xml"/><Relationship Id="rId4" Type="http://schemas.openxmlformats.org/officeDocument/2006/relationships/hyperlink" Target="http://infopedia/SMSG/Pages/MDWHadoop.aspx?ebookNode=Hadoop&amp;SourceURL=http://infopedia/Pages/SQL-Server-ModernDataWarehouse.aspx" TargetMode="External"/></Relationships>
</file>

<file path=ppt/notesSlides/_rels/notesSlide37.xml.rels><?xml version="1.0" encoding="UTF-8" standalone="yes"?>
<Relationships xmlns="http://schemas.openxmlformats.org/package/2006/relationships"><Relationship Id="rId3" Type="http://schemas.openxmlformats.org/officeDocument/2006/relationships/hyperlink" Target="https://customers.microsoft.com/Pages/CustomerStory.aspx?recid=18352" TargetMode="External"/><Relationship Id="rId2" Type="http://schemas.openxmlformats.org/officeDocument/2006/relationships/slide" Target="../slides/slide38.xml"/><Relationship Id="rId1" Type="http://schemas.openxmlformats.org/officeDocument/2006/relationships/notesMaster" Target="../notesMasters/notesMaster1.xml"/><Relationship Id="rId4" Type="http://schemas.openxmlformats.org/officeDocument/2006/relationships/hyperlink" Target="http://customers.microsoft.com/Pages/CustomerStory.aspx?recid=10760" TargetMode="Externa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s://www.youtube.com/watch?v=q2Ebn9TSK-I" TargetMode="External"/><Relationship Id="rId2" Type="http://schemas.openxmlformats.org/officeDocument/2006/relationships/slide" Target="../slides/slide39.xml"/><Relationship Id="rId1" Type="http://schemas.openxmlformats.org/officeDocument/2006/relationships/notesMaster" Target="../notesMasters/notesMaster1.xml"/><Relationship Id="rId4" Type="http://schemas.openxmlformats.org/officeDocument/2006/relationships/hyperlink" Target="https://www.youtube.com/watch?v=p5LvCgpqOkY" TargetMode="Externa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s://customers.microsoft.com/Pages/CustomerStory.aspx?recid=18945"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3" Type="http://schemas.openxmlformats.org/officeDocument/2006/relationships/hyperlink" Target="https://microsoft.sharepoint.com/sites/academy/media/Catalog/AEVD-3-99448" TargetMode="External"/><Relationship Id="rId2" Type="http://schemas.openxmlformats.org/officeDocument/2006/relationships/slide" Target="../slides/slide44.xml"/><Relationship Id="rId1" Type="http://schemas.openxmlformats.org/officeDocument/2006/relationships/notesMaster" Target="../notesMasters/notesMaster1.xml"/><Relationship Id="rId4" Type="http://schemas.openxmlformats.org/officeDocument/2006/relationships/hyperlink" Target="https://readytogo.microsoft.com/global/_layouts/RTG/AssetViewer.aspx?AssetUrl=https://readytogo.microsoft.com/global/Asset/Pages/TKE%20Demo.aspx" TargetMode="Externa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customers.microsoft.com/Pages/CustomerStory.aspx?recid=18352" TargetMode="External"/><Relationship Id="rId7" Type="http://schemas.openxmlformats.org/officeDocument/2006/relationships/hyperlink" Target="https://youtu.be/x1XARd8Xo7M" TargetMode="External"/><Relationship Id="rId2" Type="http://schemas.openxmlformats.org/officeDocument/2006/relationships/slide" Target="../slides/slide6.xml"/><Relationship Id="rId1" Type="http://schemas.openxmlformats.org/officeDocument/2006/relationships/notesMaster" Target="../notesMasters/notesMaster1.xml"/><Relationship Id="rId6" Type="http://schemas.openxmlformats.org/officeDocument/2006/relationships/hyperlink" Target="https://microsoft.sharepoint.com/sites/academy/media/Catalog/AEVD-3-99448" TargetMode="External"/><Relationship Id="rId5" Type="http://schemas.openxmlformats.org/officeDocument/2006/relationships/hyperlink" Target="https://customers.microsoft.com/Pages/CustomerStory.aspx?recid=18945" TargetMode="External"/><Relationship Id="rId4" Type="http://schemas.openxmlformats.org/officeDocument/2006/relationships/hyperlink" Target="http://customers.microsoft.com/Pages/CustomerStory.aspx?recid=10760" TargetMode="External"/></Relationships>
</file>

<file path=ppt/notesSlides/_rels/notesSlide7.xml.rels><?xml version="1.0" encoding="UTF-8" standalone="yes"?>
<Relationships xmlns="http://schemas.openxmlformats.org/package/2006/relationships"><Relationship Id="rId8" Type="http://schemas.openxmlformats.org/officeDocument/2006/relationships/hyperlink" Target="https://customers.microsoft.com/Pages/CustomerStory.aspx?recid=11768" TargetMode="External"/><Relationship Id="rId3" Type="http://schemas.openxmlformats.org/officeDocument/2006/relationships/hyperlink" Target="https://youtu.be/x1XARd8Xo7M" TargetMode="External"/><Relationship Id="rId7" Type="http://schemas.openxmlformats.org/officeDocument/2006/relationships/hyperlink" Target="https://customers.microsoft.com/Pages/CustomerStory.aspx?recid=8576" TargetMode="External"/><Relationship Id="rId2" Type="http://schemas.openxmlformats.org/officeDocument/2006/relationships/slide" Target="../slides/slide7.xml"/><Relationship Id="rId1" Type="http://schemas.openxmlformats.org/officeDocument/2006/relationships/notesMaster" Target="../notesMasters/notesMaster1.xml"/><Relationship Id="rId6" Type="http://schemas.openxmlformats.org/officeDocument/2006/relationships/hyperlink" Target="https://customers.microsoft.com/Pages/CustomerStory.aspx?recid=11257" TargetMode="External"/><Relationship Id="rId11" Type="http://schemas.openxmlformats.org/officeDocument/2006/relationships/hyperlink" Target="https://customers.microsoft.com/Pages/CustomerStory.aspx?recid=21394" TargetMode="External"/><Relationship Id="rId5" Type="http://schemas.openxmlformats.org/officeDocument/2006/relationships/hyperlink" Target="http://infopedia/SMSG/Pages/MDWHadoop.aspx?ebookNode=Hadoop&amp;SourceURL=http://infopedia/Pages/SQL-Server-ModernDataWarehouse.aspx" TargetMode="External"/><Relationship Id="rId10" Type="http://schemas.openxmlformats.org/officeDocument/2006/relationships/hyperlink" Target="http://news.microsoft.com/features/tabletop-tablets-provide-a-better-experience-for-diners-and-valuable-data-for-restaurants/" TargetMode="External"/><Relationship Id="rId4" Type="http://schemas.openxmlformats.org/officeDocument/2006/relationships/hyperlink" Target="https://www.youtube.com/watch?v=-wVeHZNn8aU" TargetMode="External"/><Relationship Id="rId9" Type="http://schemas.openxmlformats.org/officeDocument/2006/relationships/hyperlink" Target="https://news.microsoft.com/features/from-atoms-to-quarks-to-the-cosmos-internet-of-things-helps-lab-explore-the-origins-of-the-universe/"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gradFill>
                  <a:gsLst>
                    <a:gs pos="0">
                      <a:srgbClr val="FFFFFF"/>
                    </a:gs>
                    <a:gs pos="100000">
                      <a:srgbClr val="FFFFFF"/>
                    </a:gs>
                  </a:gsLst>
                  <a:lin ang="5400000" scaled="0"/>
                </a:gradFill>
                <a:ea typeface="Segoe UI" pitchFamily="34" charset="0"/>
                <a:cs typeface="Segoe UI" pitchFamily="34" charset="0"/>
              </a:rPr>
              <a:t>Hi,</a:t>
            </a:r>
            <a:r>
              <a:rPr lang="en-US" sz="1200" baseline="0" dirty="0">
                <a:gradFill>
                  <a:gsLst>
                    <a:gs pos="0">
                      <a:srgbClr val="FFFFFF"/>
                    </a:gs>
                    <a:gs pos="100000">
                      <a:srgbClr val="FFFFFF"/>
                    </a:gs>
                  </a:gsLst>
                  <a:lin ang="5400000" scaled="0"/>
                </a:gradFill>
                <a:ea typeface="Segoe UI" pitchFamily="34" charset="0"/>
                <a:cs typeface="Segoe UI" pitchFamily="34" charset="0"/>
              </a:rPr>
              <a:t> I’m ___, and I’m excited to discuss Microsoft’s Cortana Intelligence Suite, and the value it can deliver to your organization. </a:t>
            </a:r>
            <a:endParaRPr lang="en-US" sz="1200" dirty="0">
              <a:gradFill>
                <a:gsLst>
                  <a:gs pos="0">
                    <a:srgbClr val="FFFFFF"/>
                  </a:gs>
                  <a:gs pos="100000">
                    <a:srgbClr val="FFFFFF"/>
                  </a:gs>
                </a:gsLst>
                <a:lin ang="5400000" scaled="0"/>
              </a:gradFill>
              <a:ea typeface="Segoe UI" pitchFamily="34" charset="0"/>
              <a:cs typeface="Segoe UI" pitchFamily="34" charset="0"/>
            </a:endParaRPr>
          </a:p>
          <a:p>
            <a:endParaRPr lang="en-US" dirty="0"/>
          </a:p>
        </p:txBody>
      </p:sp>
      <p:sp>
        <p:nvSpPr>
          <p:cNvPr id="4" name="Slide Number Placeholder 3"/>
          <p:cNvSpPr>
            <a:spLocks noGrp="1"/>
          </p:cNvSpPr>
          <p:nvPr>
            <p:ph type="sldNum" sz="quarter" idx="10"/>
          </p:nvPr>
        </p:nvSpPr>
        <p:spPr/>
        <p:txBody>
          <a:bodyPr/>
          <a:lstStyle/>
          <a:p>
            <a:fld id="{96CD5F8F-46C9-46A5-9E1B-00B0A72B40BF}" type="slidenum">
              <a:rPr lang="en-US" smtClean="0"/>
              <a:t>1</a:t>
            </a:fld>
            <a:endParaRPr lang="en-US"/>
          </a:p>
        </p:txBody>
      </p:sp>
    </p:spTree>
    <p:extLst>
      <p:ext uri="{BB962C8B-B14F-4D97-AF65-F5344CB8AC3E}">
        <p14:creationId xmlns:p14="http://schemas.microsoft.com/office/powerpoint/2010/main" val="20760897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a:t>
            </a:r>
            <a:r>
              <a:rPr lang="en-US" b="1" baseline="0" dirty="0"/>
              <a:t> Cortana Intelligence provides everything you need to transform your organization’s data into intelligent action. Next, let’s take a look at another demo. </a:t>
            </a:r>
            <a:endParaRPr lang="en-US" dirty="0"/>
          </a:p>
        </p:txBody>
      </p:sp>
      <p:sp>
        <p:nvSpPr>
          <p:cNvPr id="4" name="Slide Number Placeholder 3"/>
          <p:cNvSpPr>
            <a:spLocks noGrp="1"/>
          </p:cNvSpPr>
          <p:nvPr>
            <p:ph type="sldNum" sz="quarter" idx="10"/>
          </p:nvPr>
        </p:nvSpPr>
        <p:spPr/>
        <p:txBody>
          <a:bodyPr/>
          <a:lstStyle/>
          <a:p>
            <a:fld id="{96CD5F8F-46C9-46A5-9E1B-00B0A72B40BF}" type="slidenum">
              <a:rPr lang="en-US" smtClean="0"/>
              <a:t>10</a:t>
            </a:fld>
            <a:endParaRPr lang="en-US"/>
          </a:p>
        </p:txBody>
      </p:sp>
    </p:spTree>
    <p:extLst>
      <p:ext uri="{BB962C8B-B14F-4D97-AF65-F5344CB8AC3E}">
        <p14:creationId xmlns:p14="http://schemas.microsoft.com/office/powerpoint/2010/main" val="8031891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 Information Management includes Data Factory, Data Catalog,</a:t>
            </a:r>
            <a:r>
              <a:rPr lang="en-US" b="1" baseline="0" dirty="0"/>
              <a:t> and Event Hubs.</a:t>
            </a:r>
            <a:endParaRPr lang="en-US" b="1" dirty="0"/>
          </a:p>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6/2017 2:1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3415771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lt;click&gt; </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t>Data Factory is a </a:t>
            </a:r>
            <a:r>
              <a:rPr lang="en-US" sz="900" b="0" i="0" kern="1200" dirty="0">
                <a:solidFill>
                  <a:schemeClr val="tx1"/>
                </a:solidFill>
                <a:effectLst/>
                <a:latin typeface="Segoe UI Light" pitchFamily="34" charset="0"/>
                <a:ea typeface="+mn-ea"/>
                <a:cs typeface="+mn-cs"/>
              </a:rPr>
              <a:t>globally deployed,</a:t>
            </a:r>
            <a:r>
              <a:rPr lang="en-US" sz="900" b="0" i="0" kern="1200" baseline="0" dirty="0">
                <a:solidFill>
                  <a:schemeClr val="tx1"/>
                </a:solidFill>
                <a:effectLst/>
                <a:latin typeface="Segoe UI Light" pitchFamily="34" charset="0"/>
                <a:ea typeface="+mn-ea"/>
                <a:cs typeface="+mn-cs"/>
              </a:rPr>
              <a:t> </a:t>
            </a:r>
            <a:r>
              <a:rPr lang="en-US" dirty="0"/>
              <a:t>fully managed </a:t>
            </a:r>
            <a:r>
              <a:rPr lang="en-US" sz="900" b="0" i="0" kern="1200" dirty="0">
                <a:solidFill>
                  <a:schemeClr val="tx1"/>
                </a:solidFill>
                <a:effectLst/>
                <a:latin typeface="Segoe UI Light" pitchFamily="34" charset="0"/>
                <a:ea typeface="+mn-ea"/>
                <a:cs typeface="+mn-cs"/>
              </a:rPr>
              <a:t>data movement</a:t>
            </a:r>
            <a:r>
              <a:rPr lang="en-US" sz="900" b="0" i="0" kern="1200" baseline="0" dirty="0">
                <a:solidFill>
                  <a:schemeClr val="tx1"/>
                </a:solidFill>
                <a:effectLst/>
                <a:latin typeface="Segoe UI Light" pitchFamily="34" charset="0"/>
                <a:ea typeface="+mn-ea"/>
                <a:cs typeface="+mn-cs"/>
              </a:rPr>
              <a:t> </a:t>
            </a:r>
            <a:r>
              <a:rPr lang="en-US" dirty="0"/>
              <a:t>service </a:t>
            </a:r>
            <a:r>
              <a:rPr lang="en-US" sz="900" b="0" i="0" kern="1200" dirty="0">
                <a:solidFill>
                  <a:schemeClr val="tx1"/>
                </a:solidFill>
                <a:effectLst/>
                <a:latin typeface="Segoe UI Light" pitchFamily="34" charset="0"/>
                <a:ea typeface="+mn-ea"/>
                <a:cs typeface="+mn-cs"/>
              </a:rPr>
              <a:t>in the cloud. It enables enterprises to ingest data from multiple on-premises and cloud sources easily,</a:t>
            </a:r>
            <a:r>
              <a:rPr lang="en-US" sz="900" b="0" i="0" kern="1200" baseline="0" dirty="0">
                <a:solidFill>
                  <a:schemeClr val="tx1"/>
                </a:solidFill>
                <a:effectLst/>
                <a:latin typeface="Segoe UI Light" pitchFamily="34" charset="0"/>
                <a:ea typeface="+mn-ea"/>
                <a:cs typeface="+mn-cs"/>
              </a:rPr>
              <a:t> and gets your data where it needs to go. </a:t>
            </a:r>
            <a:r>
              <a:rPr lang="en-US" sz="900" b="0" i="0" kern="1200" dirty="0">
                <a:solidFill>
                  <a:schemeClr val="tx1"/>
                </a:solidFill>
                <a:effectLst/>
                <a:latin typeface="Segoe UI Light" pitchFamily="34" charset="0"/>
                <a:ea typeface="+mn-ea"/>
                <a:cs typeface="+mn-cs"/>
              </a:rPr>
              <a:t>Prepare and partition your data as you ingest it, or apply pre-processing steps.</a:t>
            </a:r>
            <a:endParaRPr lang="en-US" baseline="0" dirty="0"/>
          </a:p>
          <a:p>
            <a:endParaRPr lang="en-US" sz="900" b="0" i="0" kern="1200" baseline="0" dirty="0">
              <a:solidFill>
                <a:schemeClr val="tx1"/>
              </a:solidFill>
              <a:effectLst/>
              <a:latin typeface="Segoe UI Light" pitchFamily="34" charset="0"/>
              <a:ea typeface="+mn-ea"/>
              <a:cs typeface="+mn-cs"/>
            </a:endParaRPr>
          </a:p>
          <a:p>
            <a:r>
              <a:rPr lang="en-US" sz="900" b="0" i="0" kern="1200" baseline="0" dirty="0">
                <a:solidFill>
                  <a:schemeClr val="tx1"/>
                </a:solidFill>
                <a:effectLst/>
                <a:latin typeface="Segoe UI Light" pitchFamily="34" charset="0"/>
                <a:ea typeface="+mn-ea"/>
                <a:cs typeface="+mn-cs"/>
              </a:rPr>
              <a:t>Data Factory </a:t>
            </a:r>
            <a:r>
              <a:rPr lang="en-US" dirty="0"/>
              <a:t>allows enterprises</a:t>
            </a:r>
            <a:r>
              <a:rPr lang="en-US" baseline="0" dirty="0"/>
              <a:t> to produce trusted data by easily composing, orchestrating, and monitoring diverse data, transformation and processing services at scale. </a:t>
            </a:r>
          </a:p>
          <a:p>
            <a:endParaRPr lang="en-US" baseline="0" dirty="0"/>
          </a:p>
          <a:p>
            <a:r>
              <a:rPr lang="en-US" baseline="0" dirty="0"/>
              <a:t>You can compose multiple data sources, on premises or in the cloud into highly available, fault tolerant, and streamlined data pipelines. You can process traditional relational data alongside data of different forms and velocities.</a:t>
            </a:r>
          </a:p>
          <a:p>
            <a:endParaRPr lang="en-US" baseline="0" dirty="0"/>
          </a:p>
          <a:p>
            <a:r>
              <a:rPr lang="en-US" baseline="0" dirty="0"/>
              <a:t>Data pipelines operate over the Hadoop ecosystem for transformations with Hive, Pig, and custom code, tying together your traditional relational data with features like automatic cluster management, retries for transient failures, configurable timeout policies, and alerting.</a:t>
            </a:r>
          </a:p>
          <a:p>
            <a:endParaRPr lang="en-US" baseline="0" dirty="0"/>
          </a:p>
          <a:p>
            <a:r>
              <a:rPr lang="en-US" b="1" baseline="0" dirty="0"/>
              <a:t>T: Lets look at the next service, Data Catalog</a:t>
            </a:r>
            <a:endParaRPr lang="en-US" baseline="0" dirty="0"/>
          </a:p>
          <a:p>
            <a:r>
              <a:rPr lang="en-US" baseline="0" dirty="0"/>
              <a:t>----</a:t>
            </a:r>
          </a:p>
          <a:p>
            <a:r>
              <a:rPr lang="en-US" sz="900" b="0" i="0" kern="1200" dirty="0">
                <a:solidFill>
                  <a:schemeClr val="tx1"/>
                </a:solidFill>
                <a:effectLst/>
                <a:latin typeface="Segoe UI Light" pitchFamily="34" charset="0"/>
                <a:ea typeface="+mn-ea"/>
                <a:cs typeface="+mn-cs"/>
              </a:rPr>
              <a:t>The </a:t>
            </a:r>
            <a:r>
              <a:rPr lang="en-US" sz="900" b="1" i="0" kern="1200" dirty="0">
                <a:solidFill>
                  <a:schemeClr val="tx1"/>
                </a:solidFill>
                <a:effectLst/>
                <a:latin typeface="Segoe UI Light" pitchFamily="34" charset="0"/>
                <a:ea typeface="+mn-ea"/>
                <a:cs typeface="+mn-cs"/>
              </a:rPr>
              <a:t>Azure Data Factory</a:t>
            </a:r>
            <a:r>
              <a:rPr lang="en-US" sz="900" b="0" i="0" kern="1200" dirty="0">
                <a:solidFill>
                  <a:schemeClr val="tx1"/>
                </a:solidFill>
                <a:effectLst/>
                <a:latin typeface="Segoe UI Light" pitchFamily="34" charset="0"/>
                <a:ea typeface="+mn-ea"/>
                <a:cs typeface="+mn-cs"/>
              </a:rPr>
              <a:t> service is a fully managed service for composing data storage, processing, and movement services into streamlined, scalable, and reliable data production pipelines. Developers can use Data Factory to transform semi-structured, unstructured and structured data from on-premises and cloud sources into trusted information. Developers build data-driven workflows (pipelines) that join, aggregate and transform data sourced from their on-premises, cloud-based and internet services, and set up complex data processing through simple JSON scripting. The Azure Data Factory service provides monitoring and management of these pipelines at a glance with a rich visual experience offered through the Azure Preview Portal. The information produced by pipelines can be easily consumed using BI and analytics tools, and other applications to reliably drive key business insights and decisions.</a:t>
            </a:r>
            <a:endParaRPr lang="en-US"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2017 2: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654142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In the new world of data, consumers of enterprise data spend more time looking for data than they do analyzing it. Azure Data Catalog is an enterprise-wide metadata catalog that makes data asset discovery trivial. It’s a fully managed service that lets any user—from analyst to data scientist to data developer—register, enrich, discover, understand, and consume data source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Azure Data Catalog is a fully managed service that serves as a system of registration and system of discovery for enterprise data sources. Azure Data Catalog provides capabilities that enable any user – from analysts to data scientists to developers – to register, discover, understand, and consume data source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Data Catalog brings</a:t>
            </a:r>
            <a:r>
              <a:rPr lang="en-US" sz="900" b="0" i="0" kern="1200" baseline="0" dirty="0">
                <a:solidFill>
                  <a:schemeClr val="tx1"/>
                </a:solidFill>
                <a:effectLst/>
                <a:latin typeface="Segoe UI Light" pitchFamily="34" charset="0"/>
                <a:ea typeface="+mn-ea"/>
                <a:cs typeface="+mn-cs"/>
              </a:rPr>
              <a:t> huge value to data enrichment by allowing all users within an organization to add context to data. Not just the data scientists, anyone can use this system.</a:t>
            </a: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Let’s talk about Azure Event Hubs, an innovative data ingestion service. </a:t>
            </a:r>
            <a:endParaRPr lang="en-US" b="1"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6/2017 2:1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1271333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Azure Event Hubs is a highly scalable publish-subscribe service </a:t>
            </a:r>
            <a:r>
              <a:rPr lang="en-US" dirty="0"/>
              <a:t>optimized for reliably</a:t>
            </a:r>
            <a:r>
              <a:rPr lang="en-US" baseline="0" dirty="0"/>
              <a:t> ingesting h</a:t>
            </a:r>
            <a:r>
              <a:rPr lang="en-US" dirty="0"/>
              <a:t>igh volumes of </a:t>
            </a:r>
            <a:r>
              <a:rPr lang="en-US" b="0" baseline="0" dirty="0"/>
              <a:t>data</a:t>
            </a:r>
            <a:r>
              <a:rPr lang="en-US" dirty="0"/>
              <a:t>.</a:t>
            </a:r>
            <a:r>
              <a:rPr lang="en-US" baseline="0" dirty="0"/>
              <a:t> </a:t>
            </a:r>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Event</a:t>
            </a:r>
            <a:r>
              <a:rPr lang="en-US" sz="900" b="0" i="0" kern="1200" baseline="0" dirty="0">
                <a:solidFill>
                  <a:schemeClr val="tx1"/>
                </a:solidFill>
                <a:effectLst/>
                <a:latin typeface="Segoe UI Light" pitchFamily="34" charset="0"/>
                <a:ea typeface="+mn-ea"/>
                <a:cs typeface="+mn-cs"/>
              </a:rPr>
              <a:t> Hubs can process </a:t>
            </a:r>
            <a:r>
              <a:rPr lang="en-US" sz="900" b="0" i="0" kern="1200" dirty="0">
                <a:solidFill>
                  <a:schemeClr val="tx1"/>
                </a:solidFill>
                <a:effectLst/>
                <a:latin typeface="Segoe UI Light" pitchFamily="34" charset="0"/>
                <a:ea typeface="+mn-ea"/>
                <a:cs typeface="+mn-cs"/>
              </a:rPr>
              <a:t>millions of events per second and stream them into multiple applications. This lets you analyze the massive amounts of data produced by your connected devices and applications. Once Event Hubs has collected the data, transform and store it by using any real-time analytics provider or with batching/storage adapters.</a:t>
            </a:r>
            <a:endParaRPr lang="en-US" dirty="0"/>
          </a:p>
          <a:p>
            <a:endParaRPr lang="en-US" baseline="0" dirty="0"/>
          </a:p>
          <a:p>
            <a:r>
              <a:rPr lang="en-US" b="1" baseline="0" dirty="0"/>
              <a:t>T: Cortana Intelligence take all of this data and stores it using Big Data storage technologies. </a:t>
            </a:r>
          </a:p>
          <a:p>
            <a:endParaRPr lang="en-US" baseline="0" dirty="0"/>
          </a:p>
          <a:p>
            <a:endParaRPr lang="en-US" baseline="0" dirty="0"/>
          </a:p>
          <a:p>
            <a:endParaRPr lang="en-US" baseline="0" dirty="0"/>
          </a:p>
          <a:p>
            <a:r>
              <a:rPr lang="en-US" baseline="0" dirty="0"/>
              <a:t>---</a:t>
            </a:r>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An application can benefit from Event hub when you have a large amount of data coming in, and at the same time, you need to process that large amount of data without risking any loss.</a:t>
            </a:r>
          </a:p>
          <a:p>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dirty="0"/>
              <a:t>For example, you have a voice dictation application, and you collect the audio,</a:t>
            </a:r>
            <a:r>
              <a:rPr lang="en-US" baseline="0" dirty="0"/>
              <a:t> and use a service bus to send it to windows, but have a lot of users. You would be better off using event hub and processing that data through stream analytics to sort the data, and from there route into whatever processing pipe you have set up. Because you need your user input and the feedback to be as quick as possible, while running analytics on the data, event hub will allow you to scale at the pace needed.</a:t>
            </a:r>
          </a:p>
          <a:p>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6/2017 2:1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974959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 Azure provides a variety of storage options, including Blobs.</a:t>
            </a:r>
            <a:r>
              <a:rPr lang="en-US" b="1" baseline="0" dirty="0"/>
              <a:t> Here we’ll dive into the two main storage options with Cortana Intelligence, starting with Data Lake Store. </a:t>
            </a:r>
            <a:endParaRPr lang="en-US" b="1" dirty="0"/>
          </a:p>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6/2017 2:1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2092862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Your data are valuable assets to your organization and have both present and future value. Because of this, all data should be stored for future analysis. Today this is often not done because of the restrictions of traditional analytics infrastructure, like the pre-definition of schemas, the cost of storing large datasets, and the propagation of different data silos. </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To address this challenge, the data lake concept was introduced as an enterprise-wide repository to store every type of data collected in a single place. For the purpose of operational and exploratory analytics, data of all types can be stored in a data lake prior to defining requirements or schema.</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Microsoft Azure Data Lake Store is a Hadoop file system that’s compatible with Hadoop Distributed File System (HDFS) and works with the Hadoop ecosystem. Data Lake Store is integrated with Azure Data Lake Analytics and Azure HDInsight and will be integrated with Microsoft offerings like Revolution-R Enterprise; industry-standard distributions like Hortonworks, Cloudera, and </a:t>
            </a:r>
            <a:r>
              <a:rPr lang="en-US" sz="900" b="0" i="0" kern="1200" dirty="0" err="1">
                <a:solidFill>
                  <a:schemeClr val="tx1"/>
                </a:solidFill>
                <a:effectLst/>
                <a:latin typeface="Segoe UI Light" pitchFamily="34" charset="0"/>
                <a:ea typeface="+mn-ea"/>
                <a:cs typeface="+mn-cs"/>
              </a:rPr>
              <a:t>MapR</a:t>
            </a:r>
            <a:r>
              <a:rPr lang="en-US" sz="900" b="0" i="0" kern="1200" dirty="0">
                <a:solidFill>
                  <a:schemeClr val="tx1"/>
                </a:solidFill>
                <a:effectLst/>
                <a:latin typeface="Segoe UI Light" pitchFamily="34" charset="0"/>
                <a:ea typeface="+mn-ea"/>
                <a:cs typeface="+mn-cs"/>
              </a:rPr>
              <a:t>; and individual Hadoop projects like Spark, Storm, Flume, </a:t>
            </a:r>
            <a:r>
              <a:rPr lang="en-US" sz="900" b="0" i="0" kern="1200" dirty="0" err="1">
                <a:solidFill>
                  <a:schemeClr val="tx1"/>
                </a:solidFill>
                <a:effectLst/>
                <a:latin typeface="Segoe UI Light" pitchFamily="34" charset="0"/>
                <a:ea typeface="+mn-ea"/>
                <a:cs typeface="+mn-cs"/>
              </a:rPr>
              <a:t>Sqoop</a:t>
            </a:r>
            <a:r>
              <a:rPr lang="en-US" sz="900" b="0" i="0" kern="1200" dirty="0">
                <a:solidFill>
                  <a:schemeClr val="tx1"/>
                </a:solidFill>
                <a:effectLst/>
                <a:latin typeface="Segoe UI Light" pitchFamily="34" charset="0"/>
                <a:ea typeface="+mn-ea"/>
                <a:cs typeface="+mn-cs"/>
              </a:rPr>
              <a:t>, and Kafka.</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Data Lake Store is a very open</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massive scale data store designed for extremely high throughput and low latency for analytics workloads.</a:t>
            </a:r>
          </a:p>
          <a:p>
            <a:r>
              <a:rPr lang="en-US" sz="900" b="0" i="0" kern="1200" dirty="0">
                <a:solidFill>
                  <a:schemeClr val="tx1"/>
                </a:solidFill>
                <a:effectLst/>
                <a:latin typeface="Segoe UI Light" pitchFamily="34" charset="0"/>
                <a:ea typeface="+mn-ea"/>
                <a:cs typeface="+mn-cs"/>
              </a:rPr>
              <a:t>At the same time, its built-in security ensures you can include even your most critical workloads on it.</a:t>
            </a: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You may have noticed we are emphasizing these services are all built to scale, and SQL Data Warehouse is no different.</a:t>
            </a:r>
            <a:endParaRPr lang="en-US" b="1"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6/2017 2:1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21997884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Historically, data warehouses have required fixed combinations of storage and compute, often underutilizing expensive resources. With Azure SQL Data Warehouse, storage and compute scale independently. You can dynamically deploy, grow, shrink, and even pause compute, taking advantage of best-in-class price/performance. Also, SQL Data Warehouse uses the power and familiarity of T-SQL to let you easily integrate query results across relational data in your data warehouse and non-relational data in Azure blob storage.</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SQL Data Warehouse uses Microsoft’s massively parallel processing (MPP) architecture. You pay for time-to-insight, not hardware, based on performance objectives for fundamental data warehousing operations like scanning, loading, and query processing. SQL Data Warehouse uses SQL Server in-memory </a:t>
            </a:r>
            <a:r>
              <a:rPr lang="en-US" sz="900" b="0" i="0" kern="1200" dirty="0" err="1">
                <a:solidFill>
                  <a:schemeClr val="tx1"/>
                </a:solidFill>
                <a:effectLst/>
                <a:latin typeface="Segoe UI Light" pitchFamily="34" charset="0"/>
                <a:ea typeface="+mn-ea"/>
                <a:cs typeface="+mn-cs"/>
              </a:rPr>
              <a:t>columnstore</a:t>
            </a:r>
            <a:r>
              <a:rPr lang="en-US" sz="900" b="0" i="0" kern="1200" dirty="0">
                <a:solidFill>
                  <a:schemeClr val="tx1"/>
                </a:solidFill>
                <a:effectLst/>
                <a:latin typeface="Segoe UI Light" pitchFamily="34" charset="0"/>
                <a:ea typeface="+mn-ea"/>
                <a:cs typeface="+mn-cs"/>
              </a:rPr>
              <a:t> indexes and an advanced cost-based query optimizer to deliver optimal price/performance.</a:t>
            </a:r>
          </a:p>
          <a:p>
            <a:endParaRPr lang="en-US" sz="900" b="0"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T:</a:t>
            </a:r>
            <a:r>
              <a:rPr lang="en-US" sz="900" b="1" i="0" kern="1200" baseline="0" dirty="0">
                <a:solidFill>
                  <a:schemeClr val="tx1"/>
                </a:solidFill>
                <a:effectLst/>
                <a:latin typeface="Segoe UI Light" pitchFamily="34" charset="0"/>
                <a:ea typeface="+mn-ea"/>
                <a:cs typeface="+mn-cs"/>
              </a:rPr>
              <a:t> Next let’s look at Machine Learning and Analytics</a:t>
            </a:r>
            <a:endParaRPr lang="en-US" sz="900" b="1"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6/2017 2:1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21204324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 Advanced analytics services are where data starts turning into insight that drives intelligent action. </a:t>
            </a:r>
          </a:p>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6/2017 2:1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27907983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Machine</a:t>
            </a:r>
            <a:r>
              <a:rPr lang="en-US" baseline="0" dirty="0"/>
              <a:t> Learning is </a:t>
            </a:r>
            <a:r>
              <a:rPr lang="en-US" sz="900" b="0" i="0" kern="1200" baseline="0" dirty="0">
                <a:solidFill>
                  <a:schemeClr val="tx1"/>
                </a:solidFill>
                <a:effectLst/>
                <a:latin typeface="Segoe UI Light" pitchFamily="34" charset="0"/>
                <a:ea typeface="+mn-ea"/>
                <a:cs typeface="+mn-cs"/>
              </a:rPr>
              <a:t>a</a:t>
            </a:r>
            <a:r>
              <a:rPr lang="en-US" sz="900" b="0" i="0" kern="1200" dirty="0">
                <a:solidFill>
                  <a:schemeClr val="tx1"/>
                </a:solidFill>
                <a:effectLst/>
                <a:latin typeface="Segoe UI Light" pitchFamily="34" charset="0"/>
                <a:ea typeface="+mn-ea"/>
                <a:cs typeface="+mn-cs"/>
              </a:rPr>
              <a:t> fully managed cloud service that enables you to easily build, deploy, and share predictive analytics solution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You can deploy your model into production as a web service in minutes—a web service that can be called from any device, anywhere and that can use any data source.</a:t>
            </a:r>
          </a:p>
          <a:p>
            <a:r>
              <a:rPr lang="en-US" sz="900" b="0" i="0" kern="1200" dirty="0">
                <a:solidFill>
                  <a:schemeClr val="tx1"/>
                </a:solidFill>
                <a:effectLst/>
                <a:latin typeface="Segoe UI Light" pitchFamily="34" charset="0"/>
                <a:ea typeface="+mn-ea"/>
                <a:cs typeface="+mn-cs"/>
              </a:rPr>
              <a:t>You can also Share your solution with the world in the Gallery or on the Azure Marketplace.</a:t>
            </a:r>
          </a:p>
          <a:p>
            <a:r>
              <a:rPr lang="en-US" sz="900" b="0" i="0" kern="1200" dirty="0">
                <a:solidFill>
                  <a:schemeClr val="tx1"/>
                </a:solidFill>
                <a:effectLst/>
                <a:latin typeface="Segoe UI Light" pitchFamily="34" charset="0"/>
                <a:ea typeface="+mn-ea"/>
                <a:cs typeface="+mn-cs"/>
              </a:rPr>
              <a:t>We’ll get into more details about what Machine</a:t>
            </a:r>
            <a:r>
              <a:rPr lang="en-US" sz="900" b="0" i="0" kern="1200" baseline="0" dirty="0">
                <a:solidFill>
                  <a:schemeClr val="tx1"/>
                </a:solidFill>
                <a:effectLst/>
                <a:latin typeface="Segoe UI Light" pitchFamily="34" charset="0"/>
                <a:ea typeface="+mn-ea"/>
                <a:cs typeface="+mn-cs"/>
              </a:rPr>
              <a:t> Learning can do in our demo later on. </a:t>
            </a:r>
            <a:endParaRPr lang="en-US" sz="900" b="0" i="0" kern="1200" dirty="0">
              <a:solidFill>
                <a:schemeClr val="tx1"/>
              </a:solidFill>
              <a:effectLst/>
              <a:latin typeface="Segoe UI Light" pitchFamily="34" charset="0"/>
              <a:ea typeface="+mn-ea"/>
              <a:cs typeface="+mn-cs"/>
            </a:endParaRPr>
          </a:p>
          <a:p>
            <a:endParaRPr lang="en-US" sz="900" b="0"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T: Next is Data Lake Analytics.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6/2017 2:1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38622651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Light" pitchFamily="34" charset="0"/>
                <a:ea typeface="+mn-ea"/>
                <a:cs typeface="+mn-cs"/>
              </a:rPr>
              <a:t>Today, </a:t>
            </a:r>
            <a:r>
              <a:rPr lang="en-US" sz="1200" kern="1200" baseline="0" dirty="0">
                <a:solidFill>
                  <a:schemeClr val="tx1"/>
                </a:solidFill>
                <a:effectLst/>
                <a:latin typeface="Segoe UI Light" pitchFamily="34" charset="0"/>
                <a:ea typeface="+mn-ea"/>
                <a:cs typeface="+mn-cs"/>
              </a:rPr>
              <a:t>t</a:t>
            </a:r>
            <a:r>
              <a:rPr lang="en-US" sz="1200" kern="1200" dirty="0">
                <a:solidFill>
                  <a:schemeClr val="tx1"/>
                </a:solidFill>
                <a:effectLst/>
                <a:latin typeface="Segoe UI Light" pitchFamily="34" charset="0"/>
                <a:ea typeface="+mn-ea"/>
                <a:cs typeface="+mn-cs"/>
              </a:rPr>
              <a:t>he world around us is rapidly changing, faster than at any other point in history. This is an</a:t>
            </a:r>
            <a:r>
              <a:rPr lang="en-US" sz="1200" kern="1200" baseline="0" dirty="0">
                <a:solidFill>
                  <a:schemeClr val="tx1"/>
                </a:solidFill>
                <a:effectLst/>
                <a:latin typeface="Segoe UI Light" pitchFamily="34" charset="0"/>
                <a:ea typeface="+mn-ea"/>
                <a:cs typeface="+mn-cs"/>
              </a:rPr>
              <a:t> indicator </a:t>
            </a:r>
            <a:r>
              <a:rPr lang="en-US" sz="1200" kern="1200" dirty="0">
                <a:solidFill>
                  <a:schemeClr val="tx1"/>
                </a:solidFill>
                <a:effectLst/>
                <a:latin typeface="Segoe UI Light" pitchFamily="34" charset="0"/>
                <a:ea typeface="+mn-ea"/>
                <a:cs typeface="+mn-cs"/>
              </a:rPr>
              <a:t>of the</a:t>
            </a:r>
            <a:r>
              <a:rPr lang="en-US" sz="1200" dirty="0"/>
              <a:t> </a:t>
            </a:r>
            <a:r>
              <a:rPr lang="en-US" sz="1200" b="1" dirty="0"/>
              <a:t>fourth industrial revolution</a:t>
            </a:r>
            <a:r>
              <a:rPr lang="en-US" sz="1200" baseline="0" dirty="0"/>
              <a:t> that is </a:t>
            </a:r>
            <a:r>
              <a:rPr lang="en-US" sz="1200" dirty="0"/>
              <a:t>emerging, largely driven by the </a:t>
            </a:r>
            <a:r>
              <a:rPr lang="en-US" sz="1200" baseline="0" dirty="0"/>
              <a:t>rise of Big Data, the growth of the cloud</a:t>
            </a:r>
            <a:r>
              <a:rPr lang="en-US" sz="1200" dirty="0"/>
              <a:t>,</a:t>
            </a:r>
            <a:r>
              <a:rPr lang="en-US" sz="1200" baseline="0" dirty="0"/>
              <a:t> and a new </a:t>
            </a:r>
            <a:r>
              <a:rPr lang="en-US" sz="1200" dirty="0"/>
              <a:t>era </a:t>
            </a:r>
            <a:r>
              <a:rPr lang="en-US" sz="1200" baseline="0" dirty="0"/>
              <a:t>of intelligence capabilitie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Light" pitchFamily="34" charset="0"/>
                <a:ea typeface="+mn-ea"/>
                <a:cs typeface="+mn-cs"/>
              </a:rPr>
              <a:t>Thanks to the exponential proliferation of small, inexpensive chips and processors, computers are as ubiquitous as the people who use them – from traditional computers, tablets and phones to sensors and wearables.  Machines are everywhere,</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constantly creating, collecting and making sense of the data in our midst. With the magic of machine learning and the limitless computing power of the cloud, this data is giving rise to intelligence that is augmenting human capabilities in exciting new ways.</a:t>
            </a:r>
            <a:r>
              <a:rPr lang="en-US" sz="1200" kern="1200" baseline="0" dirty="0">
                <a:solidFill>
                  <a:schemeClr val="tx1"/>
                </a:solidFill>
                <a:effectLst/>
                <a:latin typeface="Segoe UI Light" pitchFamily="34" charset="0"/>
                <a:ea typeface="+mn-ea"/>
                <a:cs typeface="+mn-cs"/>
              </a:rPr>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Light" pitchFamily="34" charset="0"/>
                <a:ea typeface="+mn-ea"/>
                <a:cs typeface="+mn-cs"/>
              </a:rPr>
              <a:t>Together, these technologies have the power to disrupt almost every industry, which</a:t>
            </a:r>
            <a:r>
              <a:rPr lang="en-US" sz="1200" kern="1200" baseline="0" dirty="0">
                <a:solidFill>
                  <a:schemeClr val="tx1"/>
                </a:solidFill>
                <a:effectLst/>
                <a:latin typeface="Segoe UI Light" pitchFamily="34" charset="0"/>
                <a:ea typeface="+mn-ea"/>
                <a:cs typeface="+mn-cs"/>
              </a:rPr>
              <a:t> is</a:t>
            </a:r>
            <a:r>
              <a:rPr lang="en-US" sz="1200" kern="1200" dirty="0">
                <a:solidFill>
                  <a:schemeClr val="tx1"/>
                </a:solidFill>
                <a:effectLst/>
                <a:latin typeface="Segoe UI Light" pitchFamily="34" charset="0"/>
                <a:ea typeface="+mn-ea"/>
                <a:cs typeface="+mn-cs"/>
              </a:rPr>
              <a:t> why this</a:t>
            </a:r>
            <a:r>
              <a:rPr lang="en-US" sz="1200" kern="1200" baseline="0" dirty="0">
                <a:solidFill>
                  <a:schemeClr val="tx1"/>
                </a:solidFill>
                <a:effectLst/>
                <a:latin typeface="Segoe UI Light" pitchFamily="34" charset="0"/>
                <a:ea typeface="+mn-ea"/>
                <a:cs typeface="+mn-cs"/>
              </a:rPr>
              <a:t> era is being heralded as the </a:t>
            </a:r>
            <a:r>
              <a:rPr lang="en-US" sz="1200" kern="1200" dirty="0">
                <a:solidFill>
                  <a:schemeClr val="tx1"/>
                </a:solidFill>
                <a:effectLst/>
                <a:latin typeface="Segoe UI Light" pitchFamily="34" charset="0"/>
                <a:ea typeface="+mn-ea"/>
                <a:cs typeface="+mn-cs"/>
              </a:rPr>
              <a:t>fourth industrial revolution.</a:t>
            </a:r>
            <a:r>
              <a:rPr lang="en-US" sz="1200" kern="1200" baseline="0" dirty="0">
                <a:solidFill>
                  <a:schemeClr val="tx1"/>
                </a:solidFill>
                <a:effectLst/>
                <a:latin typeface="Segoe UI Light" pitchFamily="34" charset="0"/>
                <a:ea typeface="+mn-ea"/>
                <a:cs typeface="+mn-cs"/>
              </a:rPr>
              <a:t> The </a:t>
            </a:r>
            <a:r>
              <a:rPr lang="en-US" sz="1200" kern="1200" dirty="0">
                <a:solidFill>
                  <a:schemeClr val="tx1"/>
                </a:solidFill>
                <a:effectLst/>
                <a:latin typeface="Segoe UI Light" pitchFamily="34" charset="0"/>
                <a:ea typeface="+mn-ea"/>
                <a:cs typeface="+mn-cs"/>
              </a:rPr>
              <a:t>breadth and depth of these changes is resulting in the transformation of entire systems of production, management, and governance.</a:t>
            </a:r>
            <a:r>
              <a:rPr lang="en-US" sz="1200" kern="1200" baseline="0" dirty="0">
                <a:solidFill>
                  <a:schemeClr val="tx1"/>
                </a:solidFill>
                <a:effectLst/>
                <a:latin typeface="Segoe UI Light" pitchFamily="34" charset="0"/>
                <a:ea typeface="+mn-ea"/>
                <a:cs typeface="+mn-cs"/>
              </a:rPr>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Segoe UI Light" pitchFamily="34" charset="0"/>
                <a:ea typeface="+mn-ea"/>
                <a:cs typeface="+mn-cs"/>
              </a:rPr>
              <a:t>At Microsoft, our ambition is to democratize the fourth industrial revolution </a:t>
            </a:r>
            <a:r>
              <a:rPr lang="en-US" sz="1200" kern="1200" dirty="0">
                <a:solidFill>
                  <a:schemeClr val="tx1"/>
                </a:solidFill>
                <a:effectLst/>
                <a:latin typeface="Segoe UI Light" pitchFamily="34" charset="0"/>
                <a:ea typeface="+mn-ea"/>
                <a:cs typeface="+mn-cs"/>
              </a:rPr>
              <a:t>by providing the building blocks to empower organizations</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large &amp; small – enabling them to build, innovate and transform, and allowing them to get started quickly and see real business impact</a:t>
            </a:r>
            <a:r>
              <a:rPr lang="en-US" sz="1200" kern="1200" baseline="0" dirty="0">
                <a:solidFill>
                  <a:schemeClr val="tx1"/>
                </a:solidFill>
                <a:effectLst/>
                <a:latin typeface="Segoe UI Light" pitchFamily="34" charset="0"/>
                <a:ea typeface="+mn-ea"/>
                <a:cs typeface="+mn-cs"/>
              </a:rPr>
              <a:t> and </a:t>
            </a:r>
            <a:r>
              <a:rPr lang="en-US" sz="1200" kern="1200" dirty="0">
                <a:solidFill>
                  <a:schemeClr val="tx1"/>
                </a:solidFill>
                <a:effectLst/>
                <a:latin typeface="Segoe UI Light" pitchFamily="34" charset="0"/>
                <a:ea typeface="+mn-ea"/>
                <a:cs typeface="+mn-cs"/>
              </a:rPr>
              <a:t>results fast.</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We believe an organization’s </a:t>
            </a:r>
            <a:r>
              <a:rPr lang="en-US" sz="1200" b="1" kern="1200" dirty="0">
                <a:solidFill>
                  <a:schemeClr val="tx1"/>
                </a:solidFill>
                <a:effectLst/>
                <a:latin typeface="Segoe UI Light" pitchFamily="34" charset="0"/>
                <a:ea typeface="+mn-ea"/>
                <a:cs typeface="+mn-cs"/>
              </a:rPr>
              <a:t>data is a key strategic asset</a:t>
            </a:r>
            <a:r>
              <a:rPr lang="en-US" sz="1200" kern="1200" dirty="0">
                <a:solidFill>
                  <a:schemeClr val="tx1"/>
                </a:solidFill>
                <a:effectLst/>
                <a:latin typeface="Segoe UI Light" pitchFamily="34" charset="0"/>
                <a:ea typeface="+mn-ea"/>
                <a:cs typeface="+mn-cs"/>
              </a:rPr>
              <a:t> which, when </a:t>
            </a:r>
            <a:r>
              <a:rPr lang="en-US" sz="1200" b="1" kern="1200" dirty="0">
                <a:solidFill>
                  <a:schemeClr val="tx1"/>
                </a:solidFill>
                <a:effectLst/>
                <a:latin typeface="Segoe UI Light" pitchFamily="34" charset="0"/>
                <a:ea typeface="+mn-ea"/>
                <a:cs typeface="+mn-cs"/>
              </a:rPr>
              <a:t>combined with the</a:t>
            </a:r>
            <a:r>
              <a:rPr lang="en-US" sz="1200" b="1" kern="1200" baseline="0" dirty="0">
                <a:solidFill>
                  <a:schemeClr val="tx1"/>
                </a:solidFill>
                <a:effectLst/>
                <a:latin typeface="Segoe UI Light" pitchFamily="34" charset="0"/>
                <a:ea typeface="+mn-ea"/>
                <a:cs typeface="+mn-cs"/>
              </a:rPr>
              <a:t> </a:t>
            </a:r>
            <a:r>
              <a:rPr lang="en-US" sz="1200" b="1" kern="1200" dirty="0">
                <a:solidFill>
                  <a:schemeClr val="tx1"/>
                </a:solidFill>
                <a:effectLst/>
                <a:latin typeface="Segoe UI Light" pitchFamily="34" charset="0"/>
                <a:ea typeface="+mn-ea"/>
                <a:cs typeface="+mn-cs"/>
              </a:rPr>
              <a:t>cloud </a:t>
            </a:r>
            <a:r>
              <a:rPr lang="en-US" sz="1200" b="0" kern="1200" dirty="0">
                <a:solidFill>
                  <a:schemeClr val="tx1"/>
                </a:solidFill>
                <a:effectLst/>
                <a:latin typeface="Segoe UI Light" pitchFamily="34" charset="0"/>
                <a:ea typeface="+mn-ea"/>
                <a:cs typeface="+mn-cs"/>
              </a:rPr>
              <a:t>and the potential </a:t>
            </a:r>
            <a:r>
              <a:rPr lang="en-US" sz="1200" b="0" kern="1200" baseline="0" dirty="0">
                <a:solidFill>
                  <a:schemeClr val="tx1"/>
                </a:solidFill>
                <a:effectLst/>
                <a:latin typeface="Segoe UI Light" pitchFamily="34" charset="0"/>
                <a:ea typeface="+mn-ea"/>
                <a:cs typeface="+mn-cs"/>
              </a:rPr>
              <a:t>of </a:t>
            </a:r>
            <a:r>
              <a:rPr lang="en-US" sz="1200" b="1" kern="1200" dirty="0">
                <a:solidFill>
                  <a:schemeClr val="tx1"/>
                </a:solidFill>
                <a:effectLst/>
                <a:latin typeface="Segoe UI Light" pitchFamily="34" charset="0"/>
                <a:ea typeface="+mn-ea"/>
                <a:cs typeface="+mn-cs"/>
              </a:rPr>
              <a:t>intelligence capabilities</a:t>
            </a:r>
            <a:r>
              <a:rPr lang="en-US" sz="1200" kern="1200" dirty="0">
                <a:solidFill>
                  <a:schemeClr val="tx1"/>
                </a:solidFill>
                <a:effectLst/>
                <a:latin typeface="Segoe UI Light" pitchFamily="34" charset="0"/>
                <a:ea typeface="+mn-ea"/>
                <a:cs typeface="+mn-cs"/>
              </a:rPr>
              <a:t>, provides the opportunity to</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automate</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innovate and increase the speed of business. </a:t>
            </a:r>
            <a:endParaRPr lang="en-US" sz="1200" kern="1200" baseline="0" dirty="0">
              <a:solidFill>
                <a:schemeClr val="tx1"/>
              </a:solidFill>
              <a:effectLst/>
              <a:latin typeface="Segoe UI Light" pitchFamily="34" charset="0"/>
              <a:ea typeface="+mn-ea"/>
              <a:cs typeface="+mn-cs"/>
            </a:endParaRPr>
          </a:p>
          <a:p>
            <a:endParaRPr lang="en-US" sz="1200" b="1"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t>&lt;Transition&gt;:</a:t>
            </a:r>
            <a:r>
              <a:rPr lang="en-US" sz="1200" b="1" baseline="0" dirty="0"/>
              <a:t> Our Cortana Intelligence Suite is designed to help you capitalize on these trends. </a:t>
            </a:r>
            <a:endParaRPr lang="en-US" sz="1200" b="1" dirty="0"/>
          </a:p>
        </p:txBody>
      </p:sp>
      <p:sp>
        <p:nvSpPr>
          <p:cNvPr id="4" name="Slide Number Placeholder 3"/>
          <p:cNvSpPr>
            <a:spLocks noGrp="1"/>
          </p:cNvSpPr>
          <p:nvPr>
            <p:ph type="sldNum" sz="quarter" idx="10"/>
          </p:nvPr>
        </p:nvSpPr>
        <p:spPr/>
        <p:txBody>
          <a:bodyPr/>
          <a:lstStyle/>
          <a:p>
            <a:fld id="{96CD5F8F-46C9-46A5-9E1B-00B0A72B40BF}" type="slidenum">
              <a:rPr lang="en-US" smtClean="0"/>
              <a:t>2</a:t>
            </a:fld>
            <a:endParaRPr lang="en-US"/>
          </a:p>
        </p:txBody>
      </p:sp>
    </p:spTree>
    <p:extLst>
      <p:ext uri="{BB962C8B-B14F-4D97-AF65-F5344CB8AC3E}">
        <p14:creationId xmlns:p14="http://schemas.microsoft.com/office/powerpoint/2010/main" val="30949597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Azure Data Lake Analytics is a new distributed service in the Azure Data Lake. </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We built Azure Data Lake Analytics from the ground up for cloud scale and performance. Data Lake Analytics makes the complex task of managing distributed infrastructure and complex code easy. It dynamically provisions resources and lets you do analytics on </a:t>
            </a:r>
            <a:r>
              <a:rPr lang="en-US" sz="900" b="0" i="0" kern="1200" dirty="0" err="1">
                <a:solidFill>
                  <a:schemeClr val="tx1"/>
                </a:solidFill>
                <a:effectLst/>
                <a:latin typeface="Segoe UI Light" pitchFamily="34" charset="0"/>
                <a:ea typeface="+mn-ea"/>
                <a:cs typeface="+mn-cs"/>
              </a:rPr>
              <a:t>exabytes</a:t>
            </a:r>
            <a:r>
              <a:rPr lang="en-US" sz="900" b="0" i="0" kern="1200" dirty="0">
                <a:solidFill>
                  <a:schemeClr val="tx1"/>
                </a:solidFill>
                <a:effectLst/>
                <a:latin typeface="Segoe UI Light" pitchFamily="34" charset="0"/>
                <a:ea typeface="+mn-ea"/>
                <a:cs typeface="+mn-cs"/>
              </a:rPr>
              <a:t> of data. When the job completes, it winds down resources automatically, and you pay only for the processing power used. As you increase or decrease the size of data stored or the amount of compute used, you don’t have to rewrite code. This lets you focus on your business logic only and not on how to process and store large datasets. It also takes away the complexities normally associated with big data in the cloud and ensures that Data Lake will meet your current and future business needs.</a:t>
            </a:r>
            <a:endParaRPr lang="en-US" sz="900" b="0" i="0" kern="1200" baseline="0" dirty="0">
              <a:solidFill>
                <a:schemeClr val="tx1"/>
              </a:solidFill>
              <a:effectLst/>
              <a:latin typeface="Segoe UI Light" pitchFamily="34" charset="0"/>
              <a:ea typeface="+mn-ea"/>
              <a:cs typeface="+mn-cs"/>
            </a:endParaRPr>
          </a:p>
          <a:p>
            <a:endParaRPr lang="en-US" sz="900" b="0" i="0" kern="1200" baseline="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b="0" i="0" kern="1200" baseline="0" dirty="0">
                <a:solidFill>
                  <a:schemeClr val="tx1"/>
                </a:solidFill>
                <a:effectLst/>
                <a:latin typeface="Segoe UI Light" pitchFamily="34" charset="0"/>
                <a:ea typeface="+mn-ea"/>
                <a:cs typeface="+mn-cs"/>
              </a:rPr>
              <a:t>Azure Data Lake is the only solution that uses U-SQL, A powerful new language that brings the best of SQL and C# together with open source capabilities like Hive or Spark. </a:t>
            </a:r>
          </a:p>
          <a:p>
            <a:r>
              <a:rPr lang="en-US" sz="900" b="0" i="0" kern="1200" baseline="0" dirty="0">
                <a:solidFill>
                  <a:schemeClr val="tx1"/>
                </a:solidFill>
                <a:effectLst/>
                <a:latin typeface="Segoe UI Light" pitchFamily="34" charset="0"/>
                <a:ea typeface="+mn-ea"/>
                <a:cs typeface="+mn-cs"/>
              </a:rPr>
              <a:t>It is built for cloud scale and performance, it’s managed and it’s easy to set up. It seamlessly integrates with existing systems to make you productive from day one.</a:t>
            </a: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Next, let’s discuss HDInsight. </a:t>
            </a:r>
            <a:endParaRPr lang="en-US" sz="900" b="0" i="0" kern="1200" baseline="0" dirty="0">
              <a:solidFill>
                <a:schemeClr val="tx1"/>
              </a:solidFill>
              <a:effectLst/>
              <a:latin typeface="Segoe UI Light" pitchFamily="34" charset="0"/>
              <a:ea typeface="+mn-ea"/>
              <a:cs typeface="+mn-cs"/>
            </a:endParaRPr>
          </a:p>
          <a:p>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6/2017 2:1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11592231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Azure HDInsight is an Apache Hadoop distribution powered by the cloud. This means that it handles any amount of data, scaling from terabytes to petabytes on demand. Spin up any number of nodes at any time. We charge only for the compute and storage that you use.</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Because it's 100 percent Apache Hadoop, HDInsight can process unstructured or semi-structured data from web clickstreams, social media, server logs, devices and sensors, and more. This lets you analyze new sets of data and uncover new business possibilities that drive your organization forward.</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HDInsight has powerful programming extensions for languages including </a:t>
            </a:r>
            <a:r>
              <a:rPr lang="en-US" sz="900" b="0" i="0" u="none" strike="noStrike" kern="1200" dirty="0">
                <a:solidFill>
                  <a:schemeClr val="tx1"/>
                </a:solidFill>
                <a:effectLst/>
                <a:latin typeface="Segoe UI Light" pitchFamily="34" charset="0"/>
                <a:ea typeface="+mn-ea"/>
                <a:cs typeface="+mn-cs"/>
                <a:hlinkClick r:id="rId3"/>
              </a:rPr>
              <a:t>C#</a:t>
            </a:r>
            <a:r>
              <a:rPr lang="en-US" sz="900" b="0" i="0" kern="120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hlinkClick r:id="rId4"/>
              </a:rPr>
              <a:t>Java</a:t>
            </a:r>
            <a:r>
              <a:rPr lang="en-US" sz="900" b="0" i="0" kern="1200" dirty="0">
                <a:solidFill>
                  <a:schemeClr val="tx1"/>
                </a:solidFill>
                <a:effectLst/>
                <a:latin typeface="Segoe UI Light" pitchFamily="34" charset="0"/>
                <a:ea typeface="+mn-ea"/>
                <a:cs typeface="+mn-cs"/>
              </a:rPr>
              <a:t>, and</a:t>
            </a:r>
            <a:r>
              <a:rPr lang="en-US" sz="900" b="0" i="0" u="none" strike="noStrike" kern="1200" dirty="0">
                <a:solidFill>
                  <a:schemeClr val="tx1"/>
                </a:solidFill>
                <a:effectLst/>
                <a:latin typeface="Segoe UI Light" pitchFamily="34" charset="0"/>
                <a:ea typeface="+mn-ea"/>
                <a:cs typeface="+mn-cs"/>
                <a:hlinkClick r:id="rId5"/>
              </a:rPr>
              <a:t>.NET</a:t>
            </a:r>
            <a:r>
              <a:rPr lang="en-US" sz="900" b="0" i="0" kern="1200" dirty="0">
                <a:solidFill>
                  <a:schemeClr val="tx1"/>
                </a:solidFill>
                <a:effectLst/>
                <a:latin typeface="Segoe UI Light" pitchFamily="34" charset="0"/>
                <a:ea typeface="+mn-ea"/>
                <a:cs typeface="+mn-cs"/>
              </a:rPr>
              <a:t>. Use your programming language of choice on Hadoop to create, configure, submit, and monitor Hadoop jobs. With HDInsight, deploy Hadoop in the cloud without buying new hardware or incurring other up-front costs. There’s also no time-consuming installation or set up. Azure does it for you. Launch your first cluster in minutes. </a:t>
            </a:r>
          </a:p>
          <a:p>
            <a:r>
              <a:rPr lang="en-US" sz="900" b="0" i="0" kern="1200" dirty="0">
                <a:solidFill>
                  <a:schemeClr val="tx1"/>
                </a:solidFill>
                <a:effectLst/>
                <a:latin typeface="Segoe UI Light" pitchFamily="34" charset="0"/>
                <a:ea typeface="+mn-ea"/>
                <a:cs typeface="+mn-cs"/>
              </a:rPr>
              <a:t>Because it's integrated with Excel, HDInsight lets you visualize and analyze your Hadoop data in compelling new ways using a tool that's familiar to your business users. From Excel, users can select HDInsight as a data source. HDInsight is also integrated with </a:t>
            </a:r>
            <a:r>
              <a:rPr lang="en-US" sz="900" b="0" i="0" u="none" strike="noStrike" kern="1200" dirty="0">
                <a:solidFill>
                  <a:schemeClr val="tx1"/>
                </a:solidFill>
                <a:effectLst/>
                <a:latin typeface="Segoe UI Light" pitchFamily="34" charset="0"/>
                <a:ea typeface="+mn-ea"/>
                <a:cs typeface="+mn-cs"/>
                <a:hlinkClick r:id="rId6"/>
              </a:rPr>
              <a:t>Hortonworks Data Platform</a:t>
            </a:r>
            <a:r>
              <a:rPr lang="en-US" sz="900" b="0" i="0" kern="1200" dirty="0">
                <a:solidFill>
                  <a:schemeClr val="tx1"/>
                </a:solidFill>
                <a:effectLst/>
                <a:latin typeface="Segoe UI Light" pitchFamily="34" charset="0"/>
                <a:ea typeface="+mn-ea"/>
                <a:cs typeface="+mn-cs"/>
              </a:rPr>
              <a:t>, letting you move Hadoop data from an on-site datacenter to the Azure cloud for backup, Dev/Test, and cloud-bursting scenarios. Using the </a:t>
            </a:r>
            <a:r>
              <a:rPr lang="en-US" sz="900" b="0" i="0" u="none" strike="noStrike" kern="1200" dirty="0">
                <a:solidFill>
                  <a:schemeClr val="tx1"/>
                </a:solidFill>
                <a:effectLst/>
                <a:latin typeface="Segoe UI Light" pitchFamily="34" charset="0"/>
                <a:ea typeface="+mn-ea"/>
                <a:cs typeface="+mn-cs"/>
                <a:hlinkClick r:id="rId7"/>
              </a:rPr>
              <a:t>Microsoft Analytics Platform System</a:t>
            </a:r>
            <a:r>
              <a:rPr lang="en-US" sz="900" b="0" i="0" kern="1200" dirty="0">
                <a:solidFill>
                  <a:schemeClr val="tx1"/>
                </a:solidFill>
                <a:effectLst/>
                <a:latin typeface="Segoe UI Light" pitchFamily="34" charset="0"/>
                <a:ea typeface="+mn-ea"/>
                <a:cs typeface="+mn-cs"/>
              </a:rPr>
              <a:t>, you can even query your on-premises and cloud-based Hadoop clusters at the same time.</a:t>
            </a:r>
          </a:p>
          <a:p>
            <a:endParaRPr lang="en-US" sz="900" b="0"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T: Next up is Azure Stream Analytics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6/2017 2:1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29279248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Azure Stream Analytics lets you rapidly develop and deploy low-cost solutions to gain real-time insights from streaming data from devices, sensors, infrastructure, and applications. Use it for Internet of Things (IoT) scenarios, such as real-time remote management and monitoring or gaining insights from devices like mobile phones and connected car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With</a:t>
            </a:r>
            <a:r>
              <a:rPr lang="en-US" sz="900" b="0" i="0" kern="1200" baseline="0" dirty="0">
                <a:solidFill>
                  <a:schemeClr val="tx1"/>
                </a:solidFill>
                <a:effectLst/>
                <a:latin typeface="Segoe UI Light" pitchFamily="34" charset="0"/>
                <a:ea typeface="+mn-ea"/>
                <a:cs typeface="+mn-cs"/>
              </a:rPr>
              <a:t> every device, service, and process becoming a data point, the problem can often be analyzing and acting on data fast enough. Stream Analytics is easy to deploy, and simple to develop for, a low cost end to end event stream processing solution, that scales on demand.</a:t>
            </a:r>
          </a:p>
          <a:p>
            <a:endParaRPr lang="en-US" sz="900" b="0" i="0" kern="1200" baseline="0" dirty="0">
              <a:solidFill>
                <a:schemeClr val="tx1"/>
              </a:solidFill>
              <a:effectLst/>
              <a:latin typeface="Segoe UI Light" pitchFamily="34" charset="0"/>
              <a:ea typeface="+mn-ea"/>
              <a:cs typeface="+mn-cs"/>
            </a:endParaRPr>
          </a:p>
          <a:p>
            <a:r>
              <a:rPr lang="en-US" sz="900" b="0" i="0" kern="1200" baseline="0" dirty="0">
                <a:solidFill>
                  <a:schemeClr val="tx1"/>
                </a:solidFill>
                <a:effectLst/>
                <a:latin typeface="Segoe UI Light" pitchFamily="34" charset="0"/>
                <a:ea typeface="+mn-ea"/>
                <a:cs typeface="+mn-cs"/>
              </a:rPr>
              <a:t>Use fewer lines of code with built in analysis processes. Combine Stream Analytics with Event Hubs to analyze millions of points of data in a reliable environment. </a:t>
            </a: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Next, we’ll take a look at a demo that illustrates the value of the intelligence capabilities that Cortana Intelligence offers. </a:t>
            </a:r>
            <a:endParaRPr lang="en-US" sz="900" b="1"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6/2017 2:1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16635234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u="sng" kern="1200" dirty="0">
                <a:solidFill>
                  <a:schemeClr val="tx1"/>
                </a:solidFill>
                <a:effectLst/>
                <a:latin typeface="Segoe UI Light" pitchFamily="34" charset="0"/>
                <a:ea typeface="+mn-ea"/>
                <a:cs typeface="+mn-cs"/>
                <a:hlinkClick r:id="rId3"/>
              </a:rPr>
              <a:t>www.how-old.net</a:t>
            </a:r>
            <a:endParaRPr lang="en-US" sz="900" u="sng" kern="120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b="1" i="0" kern="1200" baseline="0" dirty="0">
                <a:solidFill>
                  <a:schemeClr val="tx1"/>
                </a:solidFill>
                <a:effectLst/>
                <a:latin typeface="Segoe UI Light" pitchFamily="34" charset="0"/>
                <a:ea typeface="+mn-ea"/>
                <a:cs typeface="+mn-cs"/>
              </a:rPr>
              <a:t>T: Now we’ll dive deeper into the intelligence capabilities that truly set Cortana Intelligence apart. </a:t>
            </a:r>
            <a:endParaRPr lang="en-US" sz="900" b="1" i="0" kern="120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6/2017 2:1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1620544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 Our intellige</a:t>
            </a:r>
            <a:r>
              <a:rPr lang="en-US" b="1" baseline="0" dirty="0"/>
              <a:t>nce capabilities fall into three areas – Cognitive Services, Bot Framework and Cortana. </a:t>
            </a:r>
            <a:endParaRPr lang="en-US" b="1" dirty="0"/>
          </a:p>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6/2017 2:1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314302772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sz="800" kern="1200" baseline="0" dirty="0">
                <a:solidFill>
                  <a:schemeClr val="tx1"/>
                </a:solidFill>
                <a:effectLst/>
                <a:latin typeface="Segoe UI Light" pitchFamily="34" charset="0"/>
                <a:ea typeface="+mn-ea"/>
                <a:cs typeface="+mn-cs"/>
              </a:rPr>
              <a:t>What’s incredibly unique is the intelligence capabilities Cortana Intelligence offers, </a:t>
            </a:r>
            <a:r>
              <a:rPr lang="en-US" sz="800" kern="1200" dirty="0">
                <a:solidFill>
                  <a:schemeClr val="tx1"/>
                </a:solidFill>
                <a:effectLst/>
                <a:latin typeface="Segoe UI Light" pitchFamily="34" charset="0"/>
                <a:ea typeface="+mn-ea"/>
                <a:cs typeface="+mn-cs"/>
              </a:rPr>
              <a:t>building on years of Microsoft</a:t>
            </a:r>
            <a:r>
              <a:rPr lang="en-US" sz="800" kern="1200" baseline="0" dirty="0">
                <a:solidFill>
                  <a:schemeClr val="tx1"/>
                </a:solidFill>
                <a:effectLst/>
                <a:latin typeface="Segoe UI Light" pitchFamily="34" charset="0"/>
                <a:ea typeface="+mn-ea"/>
                <a:cs typeface="+mn-cs"/>
              </a:rPr>
              <a:t> </a:t>
            </a:r>
            <a:r>
              <a:rPr lang="en-US" sz="800" kern="1200" dirty="0">
                <a:solidFill>
                  <a:schemeClr val="tx1"/>
                </a:solidFill>
                <a:effectLst/>
                <a:latin typeface="Segoe UI Light" pitchFamily="34" charset="0"/>
                <a:ea typeface="+mn-ea"/>
                <a:cs typeface="+mn-cs"/>
              </a:rPr>
              <a:t>research and innovation.</a:t>
            </a:r>
            <a:r>
              <a:rPr lang="en-US" sz="800" kern="1200" baseline="0" dirty="0">
                <a:solidFill>
                  <a:schemeClr val="tx1"/>
                </a:solidFill>
                <a:effectLst/>
                <a:latin typeface="Segoe UI Light" pitchFamily="34" charset="0"/>
                <a:ea typeface="+mn-ea"/>
                <a:cs typeface="+mn-cs"/>
              </a:rPr>
              <a:t> These capabilities enable </a:t>
            </a:r>
            <a:r>
              <a:rPr lang="en-US" sz="900" kern="1200" dirty="0">
                <a:solidFill>
                  <a:schemeClr val="tx1"/>
                </a:solidFill>
                <a:effectLst/>
                <a:latin typeface="Segoe UI Light" pitchFamily="34" charset="0"/>
                <a:ea typeface="+mn-ea"/>
                <a:cs typeface="+mn-cs"/>
              </a:rPr>
              <a:t>our customers to build intelligent systems and agents that can augment their organizational capabilities.</a:t>
            </a:r>
            <a:r>
              <a:rPr lang="en-US" sz="900" kern="1200" baseline="0" dirty="0">
                <a:solidFill>
                  <a:schemeClr val="tx1"/>
                </a:solidFill>
                <a:effectLst/>
                <a:latin typeface="Segoe UI Light" pitchFamily="34" charset="0"/>
                <a:ea typeface="+mn-ea"/>
                <a:cs typeface="+mn-cs"/>
              </a:rPr>
              <a:t> For example, organizations </a:t>
            </a:r>
            <a:r>
              <a:rPr lang="en-US" sz="900" kern="1200" dirty="0">
                <a:solidFill>
                  <a:schemeClr val="tx1"/>
                </a:solidFill>
                <a:effectLst/>
                <a:latin typeface="Segoe UI Light" pitchFamily="34" charset="0"/>
                <a:ea typeface="+mn-ea"/>
                <a:cs typeface="+mn-cs"/>
              </a:rPr>
              <a:t>can interact with customers and stakeholders in new ways and infer intent with vision, face, speech, text and sentiment analysis to customize responses and drive appropriate actions.</a:t>
            </a:r>
            <a:r>
              <a:rPr lang="en-US" sz="900" kern="1200" baseline="0" dirty="0">
                <a:solidFill>
                  <a:schemeClr val="tx1"/>
                </a:solidFill>
                <a:effectLst/>
                <a:latin typeface="Segoe UI Light" pitchFamily="34" charset="0"/>
                <a:ea typeface="+mn-ea"/>
                <a:cs typeface="+mn-cs"/>
              </a:rPr>
              <a:t> </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sz="900" b="1" kern="1200" dirty="0">
                <a:solidFill>
                  <a:schemeClr val="tx1"/>
                </a:solidFill>
                <a:effectLst/>
                <a:latin typeface="Segoe UI Light" pitchFamily="34" charset="0"/>
                <a:ea typeface="+mn-ea"/>
                <a:cs typeface="+mn-cs"/>
              </a:rPr>
              <a:t>Microsoft Cognitive Services,</a:t>
            </a:r>
            <a:r>
              <a:rPr lang="en-US" sz="900" b="1"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a set of cloud services, APIs and SDKs that enable</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organizations to build intelligent systems that can see, hear, interpret and understand the world around you and makes all applications more intelligent, engaging and discoverable. Cognitive Services expands the existing perceptual intelligence capabilities like Vision, Speech, Text and Face detection to include new cognitive capabilities such as Emotion and customized Language Understanding.  What we showcased with </a:t>
            </a:r>
            <a:r>
              <a:rPr lang="en-US" sz="900" u="sng" kern="1200" dirty="0">
                <a:solidFill>
                  <a:schemeClr val="tx1"/>
                </a:solidFill>
                <a:effectLst/>
                <a:latin typeface="Segoe UI Light" pitchFamily="34" charset="0"/>
                <a:ea typeface="+mn-ea"/>
                <a:cs typeface="+mn-cs"/>
                <a:hlinkClick r:id="rId3"/>
              </a:rPr>
              <a:t>www.how-old.net</a:t>
            </a:r>
            <a:r>
              <a:rPr lang="en-US" sz="900" kern="1200" dirty="0">
                <a:solidFill>
                  <a:schemeClr val="tx1"/>
                </a:solidFill>
                <a:effectLst/>
                <a:latin typeface="Segoe UI Light" pitchFamily="34" charset="0"/>
                <a:ea typeface="+mn-ea"/>
                <a:cs typeface="+mn-cs"/>
              </a:rPr>
              <a:t> is one example of what is possible. </a:t>
            </a:r>
          </a:p>
          <a:p>
            <a:endParaRPr lang="en-US" dirty="0"/>
          </a:p>
          <a:p>
            <a:r>
              <a:rPr lang="en-US" b="1" dirty="0"/>
              <a:t>T: Next, Bot Frameworks.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6/2017 2:1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274224404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r>
              <a:rPr lang="en-US" sz="900" b="1" kern="1200" dirty="0">
                <a:solidFill>
                  <a:schemeClr val="tx1"/>
                </a:solidFill>
                <a:effectLst/>
                <a:latin typeface="Segoe UI Light" pitchFamily="34" charset="0"/>
                <a:ea typeface="+mn-ea"/>
                <a:cs typeface="+mn-cs"/>
              </a:rPr>
              <a:t>Microsoft Bot Framework</a:t>
            </a:r>
            <a:r>
              <a:rPr lang="en-US" sz="900" b="1"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enables organizations to build intelligent agents (Bots) that allow your intelligent systems to interact with your users in more contextual and natural ways, from text/</a:t>
            </a:r>
            <a:r>
              <a:rPr lang="en-US" sz="900" kern="1200" dirty="0" err="1">
                <a:solidFill>
                  <a:schemeClr val="tx1"/>
                </a:solidFill>
                <a:effectLst/>
                <a:latin typeface="Segoe UI Light" pitchFamily="34" charset="0"/>
                <a:ea typeface="+mn-ea"/>
                <a:cs typeface="+mn-cs"/>
              </a:rPr>
              <a:t>sms</a:t>
            </a:r>
            <a:r>
              <a:rPr lang="en-US" sz="900" kern="1200" dirty="0">
                <a:solidFill>
                  <a:schemeClr val="tx1"/>
                </a:solidFill>
                <a:effectLst/>
                <a:latin typeface="Segoe UI Light" pitchFamily="34" charset="0"/>
                <a:ea typeface="+mn-ea"/>
                <a:cs typeface="+mn-cs"/>
              </a:rPr>
              <a:t> to Office365 mail to Skype, Slack and other services. The Bot Framework provides developers with a developer portal &amp; SDK to build your bot, a bot connector service to connect to social channels such as Twitter, Slack etc. and a bot directory to discover and use existing bots. </a:t>
            </a:r>
            <a:endParaRPr lang="en-US" sz="800" kern="1200" dirty="0">
              <a:solidFill>
                <a:schemeClr val="tx1"/>
              </a:solidFill>
              <a:effectLst/>
              <a:latin typeface="Segoe UI Light" pitchFamily="34" charset="0"/>
              <a:ea typeface="+mn-ea"/>
              <a:cs typeface="+mn-cs"/>
            </a:endParaRPr>
          </a:p>
          <a:p>
            <a:endParaRPr lang="en-US" baseline="0" dirty="0"/>
          </a:p>
          <a:p>
            <a:r>
              <a:rPr lang="en-US" b="1" baseline="0" dirty="0"/>
              <a:t>T: Next, Cortana. </a:t>
            </a:r>
            <a:endParaRPr lang="en-US" b="1"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6/2017 2:1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72288636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effectLst/>
                <a:latin typeface="Segoe UI Light" pitchFamily="34" charset="0"/>
                <a:ea typeface="+mn-ea"/>
                <a:cs typeface="+mn-cs"/>
              </a:rPr>
              <a:t>The Cortana Intelligence Suite integrates with Cortana, Microsoft’s digital personal assistant.  Cortana works with the suite to enable your business, and or your customers business, to get things done in more helpful, proactive, and natural ways.   Building on years of Microsoft’s research and innovation in perceptual intelligence including speech recognition, natural user interaction, predictive and advanced analytics, Cortana brings the capabilities of a personal digital assistant to business.</a:t>
            </a:r>
          </a:p>
          <a:p>
            <a:endParaRPr lang="en-US" baseline="0" dirty="0"/>
          </a:p>
          <a:p>
            <a:r>
              <a:rPr lang="en-US" b="1" baseline="0" dirty="0"/>
              <a:t>T: Next, we’ll look at how all of this information can be surfaced to those in your business who need it, and to your customers. </a:t>
            </a:r>
            <a:endParaRPr lang="en-US" b="1"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2017 2: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16375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800" b="0" i="0" kern="1200" dirty="0">
                <a:solidFill>
                  <a:schemeClr val="tx1"/>
                </a:solidFill>
                <a:effectLst/>
                <a:latin typeface="Segoe UI Light" pitchFamily="34" charset="0"/>
                <a:ea typeface="+mn-ea"/>
                <a:cs typeface="+mn-cs"/>
              </a:rPr>
              <a:t>Many of the services we’ve been talking about today are on the back-end. But your data</a:t>
            </a:r>
            <a:r>
              <a:rPr lang="en-US" sz="800" b="0" i="0" kern="1200" baseline="0" dirty="0">
                <a:solidFill>
                  <a:schemeClr val="tx1"/>
                </a:solidFill>
                <a:effectLst/>
                <a:latin typeface="Segoe UI Light" pitchFamily="34" charset="0"/>
                <a:ea typeface="+mn-ea"/>
                <a:cs typeface="+mn-cs"/>
              </a:rPr>
              <a:t> and the results of analytics are only useful if they can be provided to those who need them – often people without deep data expertise.  </a:t>
            </a:r>
          </a:p>
          <a:p>
            <a:pPr marL="0" marR="0" indent="0" algn="l" defTabSz="914367" rtl="0" eaLnBrk="1" fontAlgn="auto" latinLnBrk="0" hangingPunct="1">
              <a:lnSpc>
                <a:spcPct val="100000"/>
              </a:lnSpc>
              <a:spcBef>
                <a:spcPts val="0"/>
              </a:spcBef>
              <a:spcAft>
                <a:spcPts val="0"/>
              </a:spcAft>
              <a:buClrTx/>
              <a:buSzTx/>
              <a:buFontTx/>
              <a:buNone/>
              <a:tabLst/>
              <a:defRPr/>
            </a:pPr>
            <a:r>
              <a:rPr lang="en-US" sz="800" b="0" i="0" kern="1200" baseline="0" dirty="0">
                <a:solidFill>
                  <a:schemeClr val="tx1"/>
                </a:solidFill>
                <a:effectLst/>
                <a:latin typeface="Segoe UI Light" pitchFamily="34" charset="0"/>
                <a:ea typeface="+mn-ea"/>
                <a:cs typeface="+mn-cs"/>
              </a:rPr>
              <a:t>That’s where Power BI comes in. </a:t>
            </a:r>
            <a:r>
              <a:rPr lang="en-US" sz="800" kern="1200" dirty="0">
                <a:gradFill>
                  <a:gsLst>
                    <a:gs pos="1250">
                      <a:srgbClr val="000000"/>
                    </a:gs>
                    <a:gs pos="99000">
                      <a:srgbClr val="000000"/>
                    </a:gs>
                  </a:gsLst>
                  <a:lin ang="5400000" scaled="0"/>
                </a:gradFill>
                <a:latin typeface="Segoe UI Light" pitchFamily="34" charset="0"/>
                <a:ea typeface="+mn-ea"/>
                <a:cs typeface="+mn-cs"/>
              </a:rPr>
              <a:t>Power BI is a cloud-based dashboard and visualization service that provides faster time to insight. It is used for visualizing, exploring and extracting insights from data. It brings together data from diverse sources to deliver rich, comprehensive views of your</a:t>
            </a:r>
            <a:r>
              <a:rPr lang="en-US" sz="800" kern="1200" baseline="0" dirty="0">
                <a:gradFill>
                  <a:gsLst>
                    <a:gs pos="1250">
                      <a:srgbClr val="000000"/>
                    </a:gs>
                    <a:gs pos="99000">
                      <a:srgbClr val="000000"/>
                    </a:gs>
                  </a:gsLst>
                  <a:lin ang="5400000" scaled="0"/>
                </a:gradFill>
                <a:latin typeface="Segoe UI Light" pitchFamily="34" charset="0"/>
                <a:ea typeface="+mn-ea"/>
                <a:cs typeface="+mn-cs"/>
              </a:rPr>
              <a:t> business</a:t>
            </a:r>
            <a:r>
              <a:rPr lang="en-US" sz="800" kern="1200" dirty="0">
                <a:gradFill>
                  <a:gsLst>
                    <a:gs pos="1250">
                      <a:srgbClr val="000000"/>
                    </a:gs>
                    <a:gs pos="99000">
                      <a:srgbClr val="000000"/>
                    </a:gs>
                  </a:gsLst>
                  <a:lin ang="5400000" scaled="0"/>
                </a:gradFill>
                <a:latin typeface="Segoe UI Light" pitchFamily="34" charset="0"/>
                <a:ea typeface="+mn-ea"/>
                <a:cs typeface="+mn-cs"/>
              </a:rPr>
              <a:t>. With Power BI, you can see all of your data in one place</a:t>
            </a:r>
            <a:r>
              <a:rPr lang="en-US" sz="800" kern="1200" baseline="0" dirty="0">
                <a:gradFill>
                  <a:gsLst>
                    <a:gs pos="1250">
                      <a:srgbClr val="000000"/>
                    </a:gs>
                    <a:gs pos="99000">
                      <a:srgbClr val="000000"/>
                    </a:gs>
                  </a:gsLst>
                  <a:lin ang="5400000" scaled="0"/>
                </a:gradFill>
                <a:latin typeface="Segoe UI Light" pitchFamily="34" charset="0"/>
                <a:ea typeface="+mn-ea"/>
                <a:cs typeface="+mn-cs"/>
              </a:rPr>
              <a:t> </a:t>
            </a:r>
            <a:r>
              <a:rPr lang="en-US" sz="800" kern="1200" dirty="0">
                <a:gradFill>
                  <a:gsLst>
                    <a:gs pos="1250">
                      <a:srgbClr val="000000"/>
                    </a:gs>
                    <a:gs pos="99000">
                      <a:srgbClr val="000000"/>
                    </a:gs>
                  </a:gsLst>
                  <a:lin ang="5400000" scaled="0"/>
                </a:gradFill>
                <a:latin typeface="Segoe UI Light" pitchFamily="34" charset="0"/>
                <a:ea typeface="+mn-ea"/>
                <a:cs typeface="+mn-cs"/>
              </a:rPr>
              <a:t>and share reports. Live dashboards and reports show visualizations and KPIs from data that reside both on-premises and in the cloud, providing a consolidated view across your business regardless of where your data lives. </a:t>
            </a:r>
            <a:endParaRPr lang="en-US" sz="1800" kern="1200" baseline="0" dirty="0">
              <a:solidFill>
                <a:schemeClr val="tx1"/>
              </a:solidFill>
              <a:latin typeface="Segoe UI Light" pitchFamily="34" charset="0"/>
              <a:ea typeface="+mn-ea"/>
              <a:cs typeface="+mn-cs"/>
            </a:endParaRP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Now that we’ve walked through everything, let’s take a look at the whole picture. </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6/2017 2:1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353872904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800" b="0" i="0" kern="1200" dirty="0">
                <a:solidFill>
                  <a:schemeClr val="tx1"/>
                </a:solidFill>
                <a:effectLst/>
                <a:latin typeface="Segoe UI Light" pitchFamily="34" charset="0"/>
                <a:ea typeface="+mn-ea"/>
                <a:cs typeface="+mn-cs"/>
              </a:rPr>
              <a:t>Many of the services we’ve been talking about today are on the back-end. But your data</a:t>
            </a:r>
            <a:r>
              <a:rPr lang="en-US" sz="800" b="0" i="0" kern="1200" baseline="0" dirty="0">
                <a:solidFill>
                  <a:schemeClr val="tx1"/>
                </a:solidFill>
                <a:effectLst/>
                <a:latin typeface="Segoe UI Light" pitchFamily="34" charset="0"/>
                <a:ea typeface="+mn-ea"/>
                <a:cs typeface="+mn-cs"/>
              </a:rPr>
              <a:t> and the results of analytics are only useful if they can be provided to those who need them – often people without deep data expertise.  </a:t>
            </a:r>
          </a:p>
          <a:p>
            <a:pPr marL="0" marR="0" indent="0" algn="l" defTabSz="914367" rtl="0" eaLnBrk="1" fontAlgn="auto" latinLnBrk="0" hangingPunct="1">
              <a:lnSpc>
                <a:spcPct val="100000"/>
              </a:lnSpc>
              <a:spcBef>
                <a:spcPts val="0"/>
              </a:spcBef>
              <a:spcAft>
                <a:spcPts val="0"/>
              </a:spcAft>
              <a:buClrTx/>
              <a:buSzTx/>
              <a:buFontTx/>
              <a:buNone/>
              <a:tabLst/>
              <a:defRPr/>
            </a:pPr>
            <a:r>
              <a:rPr lang="en-US" sz="800" b="0" i="0" kern="1200" baseline="0" dirty="0">
                <a:solidFill>
                  <a:schemeClr val="tx1"/>
                </a:solidFill>
                <a:effectLst/>
                <a:latin typeface="Segoe UI Light" pitchFamily="34" charset="0"/>
                <a:ea typeface="+mn-ea"/>
                <a:cs typeface="+mn-cs"/>
              </a:rPr>
              <a:t>That’s where Power BI comes in. </a:t>
            </a:r>
            <a:r>
              <a:rPr lang="en-US" sz="800" kern="1200" dirty="0">
                <a:gradFill>
                  <a:gsLst>
                    <a:gs pos="1250">
                      <a:srgbClr val="000000"/>
                    </a:gs>
                    <a:gs pos="99000">
                      <a:srgbClr val="000000"/>
                    </a:gs>
                  </a:gsLst>
                  <a:lin ang="5400000" scaled="0"/>
                </a:gradFill>
                <a:latin typeface="Segoe UI Light" pitchFamily="34" charset="0"/>
                <a:ea typeface="+mn-ea"/>
                <a:cs typeface="+mn-cs"/>
              </a:rPr>
              <a:t>Power BI is a cloud-based dashboard and visualization service that provides faster time to insight. It is used for visualizing, exploring and extracting insights from data. It brings together data from diverse sources to deliver rich, comprehensive views of your</a:t>
            </a:r>
            <a:r>
              <a:rPr lang="en-US" sz="800" kern="1200" baseline="0" dirty="0">
                <a:gradFill>
                  <a:gsLst>
                    <a:gs pos="1250">
                      <a:srgbClr val="000000"/>
                    </a:gs>
                    <a:gs pos="99000">
                      <a:srgbClr val="000000"/>
                    </a:gs>
                  </a:gsLst>
                  <a:lin ang="5400000" scaled="0"/>
                </a:gradFill>
                <a:latin typeface="Segoe UI Light" pitchFamily="34" charset="0"/>
                <a:ea typeface="+mn-ea"/>
                <a:cs typeface="+mn-cs"/>
              </a:rPr>
              <a:t> business</a:t>
            </a:r>
            <a:r>
              <a:rPr lang="en-US" sz="800" kern="1200" dirty="0">
                <a:gradFill>
                  <a:gsLst>
                    <a:gs pos="1250">
                      <a:srgbClr val="000000"/>
                    </a:gs>
                    <a:gs pos="99000">
                      <a:srgbClr val="000000"/>
                    </a:gs>
                  </a:gsLst>
                  <a:lin ang="5400000" scaled="0"/>
                </a:gradFill>
                <a:latin typeface="Segoe UI Light" pitchFamily="34" charset="0"/>
                <a:ea typeface="+mn-ea"/>
                <a:cs typeface="+mn-cs"/>
              </a:rPr>
              <a:t>. With Power BI, you can see all of your data in one place</a:t>
            </a:r>
            <a:r>
              <a:rPr lang="en-US" sz="800" kern="1200" baseline="0" dirty="0">
                <a:gradFill>
                  <a:gsLst>
                    <a:gs pos="1250">
                      <a:srgbClr val="000000"/>
                    </a:gs>
                    <a:gs pos="99000">
                      <a:srgbClr val="000000"/>
                    </a:gs>
                  </a:gsLst>
                  <a:lin ang="5400000" scaled="0"/>
                </a:gradFill>
                <a:latin typeface="Segoe UI Light" pitchFamily="34" charset="0"/>
                <a:ea typeface="+mn-ea"/>
                <a:cs typeface="+mn-cs"/>
              </a:rPr>
              <a:t> </a:t>
            </a:r>
            <a:r>
              <a:rPr lang="en-US" sz="800" kern="1200" dirty="0">
                <a:gradFill>
                  <a:gsLst>
                    <a:gs pos="1250">
                      <a:srgbClr val="000000"/>
                    </a:gs>
                    <a:gs pos="99000">
                      <a:srgbClr val="000000"/>
                    </a:gs>
                  </a:gsLst>
                  <a:lin ang="5400000" scaled="0"/>
                </a:gradFill>
                <a:latin typeface="Segoe UI Light" pitchFamily="34" charset="0"/>
                <a:ea typeface="+mn-ea"/>
                <a:cs typeface="+mn-cs"/>
              </a:rPr>
              <a:t>and share reports. Live dashboards and reports show visualizations and KPIs from data that reside both on-premises and in the cloud, providing a consolidated view across your business regardless of where your data lives. </a:t>
            </a:r>
            <a:endParaRPr lang="en-US" sz="1800" kern="1200" baseline="0" dirty="0">
              <a:solidFill>
                <a:schemeClr val="tx1"/>
              </a:solidFill>
              <a:latin typeface="Segoe UI Light" pitchFamily="34" charset="0"/>
              <a:ea typeface="+mn-ea"/>
              <a:cs typeface="+mn-cs"/>
            </a:endParaRP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Now that we’ve walked through everything, let’s take a look at the whole picture. </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6/2017 2:1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16025442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Cortana Intelligence is Microsoft’s fully managed </a:t>
            </a:r>
            <a:r>
              <a:rPr lang="en-US" sz="900" b="1" kern="1200" dirty="0">
                <a:solidFill>
                  <a:schemeClr val="tx1"/>
                </a:solidFill>
                <a:effectLst/>
                <a:latin typeface="Segoe UI Light" pitchFamily="34" charset="0"/>
                <a:ea typeface="+mn-ea"/>
                <a:cs typeface="+mn-cs"/>
              </a:rPr>
              <a:t>intelligent, big data and advanced analytics</a:t>
            </a:r>
            <a:r>
              <a:rPr lang="en-US" sz="900" kern="1200" dirty="0">
                <a:solidFill>
                  <a:schemeClr val="tx1"/>
                </a:solidFill>
                <a:effectLst/>
                <a:latin typeface="Segoe UI Light" pitchFamily="34" charset="0"/>
                <a:ea typeface="+mn-ea"/>
                <a:cs typeface="+mn-cs"/>
              </a:rPr>
              <a:t> offering in the cloud,</a:t>
            </a:r>
            <a:r>
              <a:rPr lang="en-US" sz="900" kern="1200" baseline="0" dirty="0">
                <a:solidFill>
                  <a:schemeClr val="tx1"/>
                </a:solidFill>
                <a:effectLst/>
                <a:latin typeface="Segoe UI Light" pitchFamily="34" charset="0"/>
                <a:ea typeface="+mn-ea"/>
                <a:cs typeface="+mn-cs"/>
              </a:rPr>
              <a:t> designed to help </a:t>
            </a:r>
            <a:r>
              <a:rPr lang="en-US" sz="900" dirty="0">
                <a:gradFill>
                  <a:gsLst>
                    <a:gs pos="0">
                      <a:srgbClr val="FFFFFF"/>
                    </a:gs>
                    <a:gs pos="100000">
                      <a:srgbClr val="FFFFFF"/>
                    </a:gs>
                  </a:gsLst>
                  <a:lin ang="5400000" scaled="0"/>
                </a:gradFill>
              </a:rPr>
              <a:t>you </a:t>
            </a:r>
            <a:r>
              <a:rPr lang="en-US" sz="900" b="1" dirty="0">
                <a:gradFill>
                  <a:gsLst>
                    <a:gs pos="0">
                      <a:srgbClr val="FFFFFF"/>
                    </a:gs>
                    <a:gs pos="100000">
                      <a:srgbClr val="FFFFFF"/>
                    </a:gs>
                  </a:gsLst>
                  <a:lin ang="5400000" scaled="0"/>
                </a:gradFill>
              </a:rPr>
              <a:t>transform your data into intelligent action.</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It is a comprehensive suite that brings together technologies throughout Microsoft.</a:t>
            </a:r>
            <a:r>
              <a:rPr lang="en-US" sz="900" kern="1200" baseline="0" dirty="0">
                <a:solidFill>
                  <a:schemeClr val="tx1"/>
                </a:solidFill>
                <a:effectLst/>
                <a:latin typeface="Segoe UI Light" pitchFamily="34" charset="0"/>
                <a:ea typeface="+mn-ea"/>
                <a:cs typeface="+mn-cs"/>
              </a:rPr>
              <a:t> It </a:t>
            </a:r>
            <a:r>
              <a:rPr lang="en-US" sz="900" kern="1200" dirty="0">
                <a:solidFill>
                  <a:schemeClr val="tx1"/>
                </a:solidFill>
                <a:effectLst/>
                <a:latin typeface="Segoe UI Light" pitchFamily="34" charset="0"/>
                <a:ea typeface="+mn-ea"/>
                <a:cs typeface="+mn-cs"/>
              </a:rPr>
              <a:t>provides fast and flexible deployment,</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with a simple monthly subscription to reduce time and cost</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challenges</a:t>
            </a:r>
            <a:r>
              <a:rPr lang="en-US" sz="900" kern="1200" baseline="0" dirty="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Cortana Intelligence enables customers to benefit from Microsoft’s investment in the intelligent cloud and advanced analytics, spanning our leading cloud</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platform with easy to use tools and services that integrate with existing infrastructure and enable enterprises to extend business solutions as their needs grow over time.</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With Cortana Intelligence, we are taking years of research and innovation – spanning technology &amp; infrastructure for advanced analytics, including capabilities such as machine learning, big data storage and processing in the cloud, intelligence capabilities like vision, face and speech recognition,</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and integration with Cortana, Microsoft’s personal digital assistant,</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with the goal of helping enterprise customers make better, faster decisions to accelerate their speed of business.</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lt;Transition&gt;: Let’s talk </a:t>
            </a:r>
            <a:r>
              <a:rPr lang="en-US" sz="900" b="1" kern="1200" baseline="0" dirty="0">
                <a:solidFill>
                  <a:schemeClr val="tx1"/>
                </a:solidFill>
                <a:effectLst/>
                <a:latin typeface="Segoe UI Light" pitchFamily="34" charset="0"/>
                <a:ea typeface="+mn-ea"/>
                <a:cs typeface="+mn-cs"/>
              </a:rPr>
              <a:t>about how some of our customers are benefiting from Cortana Intelligence. </a:t>
            </a:r>
            <a:endParaRPr lang="en-US" sz="900" b="1"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6/2017 2:1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7365835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a:t>
            </a:r>
            <a:r>
              <a:rPr lang="en-US" b="1" baseline="0" dirty="0"/>
              <a:t> Cortana Intelligence provides everything you need to transform your organization’s data into intelligent action. Next, let’s take a look at another demo. </a:t>
            </a:r>
            <a:endParaRPr lang="en-US" dirty="0"/>
          </a:p>
        </p:txBody>
      </p:sp>
      <p:sp>
        <p:nvSpPr>
          <p:cNvPr id="4" name="Slide Number Placeholder 3"/>
          <p:cNvSpPr>
            <a:spLocks noGrp="1"/>
          </p:cNvSpPr>
          <p:nvPr>
            <p:ph type="sldNum" sz="quarter" idx="10"/>
          </p:nvPr>
        </p:nvSpPr>
        <p:spPr/>
        <p:txBody>
          <a:bodyPr/>
          <a:lstStyle/>
          <a:p>
            <a:fld id="{96CD5F8F-46C9-46A5-9E1B-00B0A72B40BF}" type="slidenum">
              <a:rPr lang="en-US" smtClean="0"/>
              <a:t>30</a:t>
            </a:fld>
            <a:endParaRPr lang="en-US"/>
          </a:p>
        </p:txBody>
      </p:sp>
    </p:spTree>
    <p:extLst>
      <p:ext uri="{BB962C8B-B14F-4D97-AF65-F5344CB8AC3E}">
        <p14:creationId xmlns:p14="http://schemas.microsoft.com/office/powerpoint/2010/main" val="123772677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baseline="0" dirty="0"/>
              <a:t>Connected Cars </a:t>
            </a:r>
            <a:r>
              <a:rPr lang="en-US" baseline="0" dirty="0"/>
              <a:t>– Auto industry, TDM audience, Vehicle Telemetry scenario</a:t>
            </a:r>
            <a:br>
              <a:rPr lang="en-US" baseline="0" dirty="0"/>
            </a:br>
            <a:r>
              <a:rPr lang="en-US" baseline="0" dirty="0"/>
              <a:t>http://infopedia/docstore/pages/kcdoc.aspx?k=KC02-23-79559</a:t>
            </a:r>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6/2017 2:1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11902284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75% </a:t>
            </a:r>
            <a:r>
              <a:rPr lang="en-US" sz="900" kern="0" dirty="0">
                <a:gradFill>
                  <a:gsLst>
                    <a:gs pos="1250">
                      <a:srgbClr val="505050"/>
                    </a:gs>
                    <a:gs pos="76000">
                      <a:srgbClr val="505050"/>
                    </a:gs>
                  </a:gsLst>
                  <a:lin ang="5400000" scaled="0"/>
                </a:gradFill>
              </a:rPr>
              <a:t>of the cars shipped globally by </a:t>
            </a:r>
            <a:r>
              <a:rPr lang="en-US" sz="900" b="1" kern="0" dirty="0">
                <a:gradFill>
                  <a:gsLst>
                    <a:gs pos="1250">
                      <a:srgbClr val="505050"/>
                    </a:gs>
                    <a:gs pos="76000">
                      <a:srgbClr val="505050"/>
                    </a:gs>
                  </a:gsLst>
                  <a:lin ang="5400000" scaled="0"/>
                </a:gradFill>
              </a:rPr>
              <a:t>2020</a:t>
            </a:r>
            <a:r>
              <a:rPr lang="en-US" sz="900" kern="0" dirty="0">
                <a:gradFill>
                  <a:gsLst>
                    <a:gs pos="1250">
                      <a:srgbClr val="505050"/>
                    </a:gs>
                    <a:gs pos="76000">
                      <a:srgbClr val="505050"/>
                    </a:gs>
                  </a:gsLst>
                  <a:lin ang="5400000" scaled="0"/>
                </a:gradFill>
              </a:rPr>
              <a:t> will be built with the necessary hardware to connect to the Internet.</a:t>
            </a:r>
            <a:r>
              <a:rPr lang="en-US" sz="900" kern="0" baseline="0" dirty="0">
                <a:gradFill>
                  <a:gsLst>
                    <a:gs pos="1250">
                      <a:srgbClr val="505050"/>
                    </a:gs>
                    <a:gs pos="76000">
                      <a:srgbClr val="505050"/>
                    </a:gs>
                  </a:gsLst>
                  <a:lin ang="5400000" scaled="0"/>
                </a:gradFill>
              </a:rPr>
              <a:t> </a:t>
            </a:r>
            <a:endParaRPr lang="en-US" sz="900" kern="0" dirty="0">
              <a:gradFill>
                <a:gsLst>
                  <a:gs pos="1250">
                    <a:srgbClr val="505050"/>
                  </a:gs>
                  <a:gs pos="76000">
                    <a:srgbClr val="505050"/>
                  </a:gs>
                </a:gsLst>
                <a:lin ang="5400000" scaled="0"/>
              </a:gradFill>
            </a:endParaRPr>
          </a:p>
          <a:p>
            <a:pPr algn="l"/>
            <a:endParaRPr lang="en-US" dirty="0"/>
          </a:p>
          <a:p>
            <a:pPr algn="l"/>
            <a:r>
              <a:rPr lang="en-US" dirty="0"/>
              <a:t>What does this mean?</a:t>
            </a:r>
            <a:r>
              <a:rPr lang="en-US" baseline="0" dirty="0"/>
              <a:t> What can </a:t>
            </a:r>
            <a:r>
              <a:rPr lang="en-US" dirty="0"/>
              <a:t>we</a:t>
            </a:r>
            <a:r>
              <a:rPr lang="en-US" baseline="0" dirty="0"/>
              <a:t> can do with that data? How can this business leverage the huge amounts of data now available?</a:t>
            </a:r>
          </a:p>
          <a:p>
            <a:pPr algn="l"/>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There are some questions on this slide, such as “</a:t>
            </a:r>
            <a:r>
              <a:rPr lang="en-US" sz="900" i="1" dirty="0">
                <a:solidFill>
                  <a:schemeClr val="accent1"/>
                </a:solidFill>
              </a:rPr>
              <a:t>What parts need maintenance first on all Ford F-150’s sold?”</a:t>
            </a:r>
            <a:r>
              <a:rPr lang="en-US" sz="900" i="0" dirty="0">
                <a:solidFill>
                  <a:schemeClr val="accent1"/>
                </a:solidFill>
              </a:rPr>
              <a:t> that Cortana Intelligence</a:t>
            </a:r>
            <a:r>
              <a:rPr lang="en-US" sz="900" i="0" baseline="0" dirty="0">
                <a:solidFill>
                  <a:schemeClr val="accent1"/>
                </a:solidFill>
              </a:rPr>
              <a:t> </a:t>
            </a:r>
            <a:r>
              <a:rPr lang="en-US" sz="900" i="0" dirty="0">
                <a:solidFill>
                  <a:schemeClr val="accent1"/>
                </a:solidFill>
              </a:rPr>
              <a:t>can answer using streaming data</a:t>
            </a:r>
            <a:r>
              <a:rPr lang="en-US" sz="900" i="0" baseline="0" dirty="0">
                <a:solidFill>
                  <a:schemeClr val="accent1"/>
                </a:solidFill>
              </a:rPr>
              <a:t> from cars strategically. </a:t>
            </a:r>
          </a:p>
        </p:txBody>
      </p:sp>
      <p:sp>
        <p:nvSpPr>
          <p:cNvPr id="4" name="Header Placeholder 3"/>
          <p:cNvSpPr>
            <a:spLocks noGrp="1"/>
          </p:cNvSpPr>
          <p:nvPr>
            <p:ph type="hdr" sz="quarter" idx="10"/>
          </p:nvPr>
        </p:nvSpPr>
        <p:spPr/>
        <p:txBody>
          <a:bodyPr/>
          <a:lstStyle/>
          <a:p>
            <a:r>
              <a:rPr lang="en-US" dirty="0">
                <a:solidFill>
                  <a:prstClr val="black"/>
                </a:solidFill>
              </a:rPr>
              <a:t>Microsoft </a:t>
            </a:r>
            <a:r>
              <a:rPr lang="en-US" dirty="0" err="1">
                <a:solidFill>
                  <a:prstClr val="black"/>
                </a:solidFill>
              </a:rPr>
              <a:t>AzureCon</a:t>
            </a:r>
            <a:r>
              <a:rPr lang="en-US" dirty="0">
                <a:solidFill>
                  <a:prstClr val="black"/>
                </a:solidFill>
              </a:rPr>
              <a:t> 2015</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6/2017 2:1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58529720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Note that this is an example with cars,</a:t>
            </a:r>
            <a:r>
              <a:rPr lang="en-US" baseline="0" dirty="0"/>
              <a:t> </a:t>
            </a:r>
            <a:r>
              <a:rPr lang="en-US" dirty="0"/>
              <a:t>but it </a:t>
            </a:r>
            <a:r>
              <a:rPr lang="en-US" baseline="0" dirty="0"/>
              <a:t>can be insights on any connected devices.</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Event Hubs is used to ingest millions of events in real-time. Sensor data from engines, brakes, emissions are ingested and then made accessible for processing.</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Stream Analytics is then applied in two key function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first to process real-time aggregations on the data and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spool data into long term storage for batch</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Machine Learning is used </a:t>
            </a:r>
            <a:r>
              <a:rPr lang="en-US" b="0" baseline="0" dirty="0"/>
              <a:t>in real-time </a:t>
            </a:r>
            <a:r>
              <a:rPr lang="en-US" baseline="0" dirty="0"/>
              <a:t>for anomaly detection on tire pressure, oil level, engine temp, </a:t>
            </a:r>
            <a:r>
              <a:rPr lang="en-US" baseline="0" dirty="0" err="1"/>
              <a:t>etc</a:t>
            </a:r>
            <a:r>
              <a:rPr lang="en-US" baseline="0" dirty="0"/>
              <a:t> to predict vehicles requiring maintenance</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Data in BLOB storage is used for rich analytics using HDInsight, orchestrated by Data Factory – allowing us to determine trends like aggressive driving analysis over the past year.</a:t>
            </a:r>
            <a:endParaRPr lang="en-US" b="1" baseline="0"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b="1"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1" baseline="0" dirty="0"/>
              <a:t>T: Questions like those we looked at can be answered just as simply.</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6/2017 2:1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216390892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r>
              <a:rPr lang="en-US" dirty="0">
                <a:gradFill>
                  <a:gsLst>
                    <a:gs pos="2917">
                      <a:srgbClr val="505050"/>
                    </a:gs>
                    <a:gs pos="30000">
                      <a:srgbClr val="505050"/>
                    </a:gs>
                  </a:gsLst>
                  <a:lin ang="5400000" scaled="0"/>
                </a:gradFill>
              </a:rPr>
              <a:t>Cortana Intelligence can provide answers in</a:t>
            </a:r>
            <a:r>
              <a:rPr lang="en-US" baseline="0" dirty="0">
                <a:gradFill>
                  <a:gsLst>
                    <a:gs pos="2917">
                      <a:srgbClr val="505050"/>
                    </a:gs>
                    <a:gs pos="30000">
                      <a:srgbClr val="505050"/>
                    </a:gs>
                  </a:gsLst>
                  <a:lin ang="5400000" scaled="0"/>
                </a:gradFill>
              </a:rPr>
              <a:t> real time to complex questions that previously took much longer to answer. Some examples are:</a:t>
            </a:r>
            <a:endParaRPr lang="en-US" dirty="0">
              <a:gradFill>
                <a:gsLst>
                  <a:gs pos="2917">
                    <a:srgbClr val="505050"/>
                  </a:gs>
                  <a:gs pos="30000">
                    <a:srgbClr val="505050"/>
                  </a:gs>
                </a:gsLst>
                <a:lin ang="5400000" scaled="0"/>
              </a:gradFill>
            </a:endParaRPr>
          </a:p>
          <a:p>
            <a:pPr>
              <a:lnSpc>
                <a:spcPct val="90000"/>
              </a:lnSpc>
              <a:spcAft>
                <a:spcPts val="600"/>
              </a:spcAft>
            </a:pPr>
            <a:endParaRPr lang="en-US" dirty="0">
              <a:gradFill>
                <a:gsLst>
                  <a:gs pos="2917">
                    <a:srgbClr val="505050"/>
                  </a:gs>
                  <a:gs pos="30000">
                    <a:srgbClr val="505050"/>
                  </a:gs>
                </a:gsLst>
                <a:lin ang="5400000" scaled="0"/>
              </a:gradFill>
            </a:endParaRPr>
          </a:p>
          <a:p>
            <a:pPr>
              <a:lnSpc>
                <a:spcPct val="90000"/>
              </a:lnSpc>
              <a:spcAft>
                <a:spcPts val="600"/>
              </a:spcAft>
            </a:pPr>
            <a:r>
              <a:rPr lang="en-US" dirty="0">
                <a:gradFill>
                  <a:gsLst>
                    <a:gs pos="2917">
                      <a:srgbClr val="505050"/>
                    </a:gs>
                    <a:gs pos="30000">
                      <a:srgbClr val="505050"/>
                    </a:gs>
                  </a:gsLst>
                  <a:lin ang="5400000" scaled="0"/>
                </a:gradFill>
              </a:rPr>
              <a:t>Vehicle diagnostic</a:t>
            </a:r>
          </a:p>
          <a:p>
            <a:pPr>
              <a:lnSpc>
                <a:spcPct val="90000"/>
              </a:lnSpc>
              <a:spcAft>
                <a:spcPts val="600"/>
              </a:spcAft>
            </a:pPr>
            <a:r>
              <a:rPr lang="en-US" baseline="0" dirty="0"/>
              <a:t>“</a:t>
            </a:r>
            <a:r>
              <a:rPr lang="en-US" sz="900" i="1" dirty="0">
                <a:solidFill>
                  <a:schemeClr val="accent1"/>
                </a:solidFill>
              </a:rPr>
              <a:t>What parts need maintenance first on all Ford F-150’s sold?”</a:t>
            </a:r>
            <a:r>
              <a:rPr lang="en-US" sz="900" i="0" dirty="0">
                <a:solidFill>
                  <a:schemeClr val="accent1"/>
                </a:solidFill>
              </a:rPr>
              <a:t> </a:t>
            </a:r>
            <a:endParaRPr lang="en-US" dirty="0">
              <a:gradFill>
                <a:gsLst>
                  <a:gs pos="2917">
                    <a:srgbClr val="505050"/>
                  </a:gs>
                  <a:gs pos="30000">
                    <a:srgbClr val="505050"/>
                  </a:gs>
                </a:gsLst>
                <a:lin ang="5400000" scaled="0"/>
              </a:gradFill>
            </a:endParaRPr>
          </a:p>
          <a:p>
            <a:pPr>
              <a:lnSpc>
                <a:spcPct val="90000"/>
              </a:lnSpc>
              <a:spcAft>
                <a:spcPts val="600"/>
              </a:spcAft>
            </a:pPr>
            <a:r>
              <a:rPr lang="en-US" sz="900" i="1" dirty="0">
                <a:solidFill>
                  <a:schemeClr val="accent1"/>
                </a:solidFill>
              </a:rPr>
              <a:t>The front brakes are needing to be serviced sooner than expected</a:t>
            </a:r>
          </a:p>
          <a:p>
            <a:pPr>
              <a:lnSpc>
                <a:spcPct val="90000"/>
              </a:lnSpc>
              <a:spcAft>
                <a:spcPts val="600"/>
              </a:spcAft>
            </a:pPr>
            <a:endParaRPr lang="en-US" dirty="0">
              <a:gradFill>
                <a:gsLst>
                  <a:gs pos="2917">
                    <a:srgbClr val="505050"/>
                  </a:gs>
                  <a:gs pos="30000">
                    <a:srgbClr val="505050"/>
                  </a:gs>
                </a:gsLst>
                <a:lin ang="5400000" scaled="0"/>
              </a:gradFill>
            </a:endParaRPr>
          </a:p>
          <a:p>
            <a:pPr>
              <a:lnSpc>
                <a:spcPct val="90000"/>
              </a:lnSpc>
              <a:spcAft>
                <a:spcPts val="600"/>
              </a:spcAft>
            </a:pPr>
            <a:r>
              <a:rPr lang="en-US" dirty="0">
                <a:gradFill>
                  <a:gsLst>
                    <a:gs pos="2917">
                      <a:srgbClr val="505050"/>
                    </a:gs>
                    <a:gs pos="30000">
                      <a:srgbClr val="505050"/>
                    </a:gs>
                  </a:gsLst>
                  <a:lin ang="5400000" scaled="0"/>
                </a:gradFill>
              </a:rPr>
              <a:t>Fleet management</a:t>
            </a:r>
          </a:p>
          <a:p>
            <a:pPr>
              <a:lnSpc>
                <a:spcPct val="90000"/>
              </a:lnSpc>
              <a:spcAft>
                <a:spcPts val="600"/>
              </a:spcAft>
            </a:pPr>
            <a:r>
              <a:rPr lang="en-US" sz="900" i="1" dirty="0">
                <a:solidFill>
                  <a:schemeClr val="accent1"/>
                </a:solidFill>
              </a:rPr>
              <a:t>“Show me the location of all vehicles within 50mi of my location”</a:t>
            </a:r>
          </a:p>
          <a:p>
            <a:pPr marL="0" marR="0" indent="0" algn="l" defTabSz="932742" rtl="0" eaLnBrk="1" fontAlgn="auto" latinLnBrk="0" hangingPunct="1">
              <a:lnSpc>
                <a:spcPct val="90000"/>
              </a:lnSpc>
              <a:spcBef>
                <a:spcPts val="0"/>
              </a:spcBef>
              <a:spcAft>
                <a:spcPts val="600"/>
              </a:spcAft>
              <a:buClrTx/>
              <a:buSzTx/>
              <a:buFontTx/>
              <a:buNone/>
              <a:tabLst/>
              <a:defRPr/>
            </a:pPr>
            <a:r>
              <a:rPr lang="en-US" sz="900" i="1" dirty="0">
                <a:solidFill>
                  <a:schemeClr val="accent1"/>
                </a:solidFill>
              </a:rPr>
              <a:t>24 vehicles are shown on a map, showing status</a:t>
            </a:r>
          </a:p>
        </p:txBody>
      </p:sp>
      <p:sp>
        <p:nvSpPr>
          <p:cNvPr id="4" name="Header Placeholder 3"/>
          <p:cNvSpPr>
            <a:spLocks noGrp="1"/>
          </p:cNvSpPr>
          <p:nvPr>
            <p:ph type="hdr" sz="quarter" idx="10"/>
          </p:nvPr>
        </p:nvSpPr>
        <p:spPr/>
        <p:txBody>
          <a:bodyPr/>
          <a:lstStyle/>
          <a:p>
            <a:r>
              <a:rPr lang="en-US" dirty="0">
                <a:solidFill>
                  <a:prstClr val="black"/>
                </a:solidFill>
              </a:rPr>
              <a:t>Microsoft </a:t>
            </a:r>
            <a:r>
              <a:rPr lang="en-US" dirty="0" err="1">
                <a:solidFill>
                  <a:prstClr val="black"/>
                </a:solidFill>
              </a:rPr>
              <a:t>AzureCon</a:t>
            </a:r>
            <a:r>
              <a:rPr lang="en-US" dirty="0">
                <a:solidFill>
                  <a:prstClr val="black"/>
                </a:solidFill>
              </a:rPr>
              <a:t> 2015</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6/2017 2:1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36957291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Segoe UI Light" pitchFamily="34" charset="0"/>
                <a:ea typeface="+mn-ea"/>
                <a:cs typeface="+mn-cs"/>
              </a:rPr>
              <a:t>We are working with Dartmouth-Hitchcock Medical Center</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to develop a remote monitoring and predictive analytics solution to lower re-admittance</a:t>
            </a:r>
            <a:r>
              <a:rPr lang="en-US" sz="1200" kern="1200" baseline="0" dirty="0">
                <a:solidFill>
                  <a:schemeClr val="tx1"/>
                </a:solidFill>
                <a:effectLst/>
                <a:latin typeface="Segoe UI Light" pitchFamily="34" charset="0"/>
                <a:ea typeface="+mn-ea"/>
                <a:cs typeface="+mn-cs"/>
              </a:rPr>
              <a:t> rates </a:t>
            </a:r>
            <a:r>
              <a:rPr lang="en-US" sz="1200" kern="1200" dirty="0">
                <a:solidFill>
                  <a:schemeClr val="tx1"/>
                </a:solidFill>
                <a:effectLst/>
                <a:latin typeface="Segoe UI Light" pitchFamily="34" charset="0"/>
                <a:ea typeface="+mn-ea"/>
                <a:cs typeface="+mn-cs"/>
              </a:rPr>
              <a:t>called “</a:t>
            </a:r>
            <a:r>
              <a:rPr lang="en-US" sz="1200" kern="1200" dirty="0" err="1">
                <a:solidFill>
                  <a:schemeClr val="tx1"/>
                </a:solidFill>
                <a:effectLst/>
                <a:latin typeface="Segoe UI Light" pitchFamily="34" charset="0"/>
                <a:ea typeface="+mn-ea"/>
                <a:cs typeface="+mn-cs"/>
              </a:rPr>
              <a:t>ImagineCare</a:t>
            </a:r>
            <a:r>
              <a:rPr lang="en-US" sz="1200" kern="1200" dirty="0">
                <a:solidFill>
                  <a:schemeClr val="tx1"/>
                </a:solidFill>
                <a:effectLst/>
                <a:latin typeface="Segoe UI Light" pitchFamily="34" charset="0"/>
                <a:ea typeface="+mn-ea"/>
                <a:cs typeface="+mn-cs"/>
              </a:rPr>
              <a:t>.”  </a:t>
            </a:r>
          </a:p>
          <a:p>
            <a:r>
              <a:rPr lang="en-US" sz="1200" kern="1200" dirty="0">
                <a:solidFill>
                  <a:schemeClr val="tx1"/>
                </a:solidFill>
                <a:effectLst/>
                <a:latin typeface="Segoe UI Light" pitchFamily="34" charset="0"/>
                <a:ea typeface="+mn-ea"/>
                <a:cs typeface="+mn-cs"/>
              </a:rPr>
              <a:t>The largest hospital in northern New England,</a:t>
            </a:r>
            <a:r>
              <a:rPr lang="en-US" sz="1200" kern="1200" baseline="0" dirty="0">
                <a:solidFill>
                  <a:schemeClr val="tx1"/>
                </a:solidFill>
                <a:effectLst/>
                <a:latin typeface="+mn-lt"/>
                <a:ea typeface="+mn-ea"/>
                <a:cs typeface="+mn-cs"/>
              </a:rPr>
              <a:t> </a:t>
            </a:r>
            <a:r>
              <a:rPr lang="en-US" dirty="0"/>
              <a:t>Dartmouth-Hitchcock had static treatment</a:t>
            </a:r>
            <a:r>
              <a:rPr lang="en-US" baseline="0" dirty="0"/>
              <a:t> plans and only access to historic and generic data.</a:t>
            </a:r>
          </a:p>
          <a:p>
            <a:endParaRPr lang="en-US" dirty="0"/>
          </a:p>
          <a:p>
            <a:r>
              <a:rPr lang="en-US" dirty="0"/>
              <a:t>To solve this, they are creating</a:t>
            </a:r>
            <a:r>
              <a:rPr lang="en-US" baseline="0" dirty="0"/>
              <a:t> </a:t>
            </a:r>
            <a:r>
              <a:rPr lang="en-US" dirty="0"/>
              <a:t>highly personalized care “pathways” or treatment plans. Dartmouth-Hitchcock Medical Center is implementing </a:t>
            </a:r>
            <a:r>
              <a:rPr lang="en-US" dirty="0" err="1"/>
              <a:t>ImagineCare</a:t>
            </a:r>
            <a:r>
              <a:rPr lang="en-US" dirty="0"/>
              <a:t>, a consumer-focused treatment model based on Cortana Intelligence Suite and Microsoft Dynamics CRM. </a:t>
            </a:r>
            <a:r>
              <a:rPr lang="en-US" dirty="0" err="1"/>
              <a:t>ImagineCare</a:t>
            </a:r>
            <a:r>
              <a:rPr lang="en-US" dirty="0"/>
              <a:t> connects cloud-based machine learning and analytics with real-time data from medical and health devices including blood pressure monitors, pulse OX devices, and Microsoft Band, along with historical information from sources like electronic health records systems. </a:t>
            </a:r>
          </a:p>
          <a:p>
            <a:pPr lvl="0"/>
            <a:endParaRPr lang="en-US" sz="2000" dirty="0"/>
          </a:p>
          <a:p>
            <a:r>
              <a:rPr lang="en-US" sz="2000" dirty="0"/>
              <a:t>The result is a dynamic and contextual care plan that is </a:t>
            </a:r>
            <a:r>
              <a:rPr lang="en-US" sz="2000" kern="1200" dirty="0">
                <a:solidFill>
                  <a:schemeClr val="tx1"/>
                </a:solidFill>
                <a:effectLst/>
                <a:latin typeface="Segoe UI Light" pitchFamily="34" charset="0"/>
                <a:ea typeface="+mn-ea"/>
                <a:cs typeface="+mn-cs"/>
              </a:rPr>
              <a:t>based on the individual patient’s history and profile.</a:t>
            </a:r>
            <a:r>
              <a:rPr lang="en-US" sz="2000" kern="1200" baseline="0" dirty="0">
                <a:solidFill>
                  <a:schemeClr val="tx1"/>
                </a:solidFill>
                <a:effectLst/>
                <a:latin typeface="Segoe UI Light" pitchFamily="34" charset="0"/>
                <a:ea typeface="+mn-ea"/>
                <a:cs typeface="+mn-cs"/>
              </a:rPr>
              <a:t> It is </a:t>
            </a:r>
            <a:r>
              <a:rPr lang="en-US" sz="2000" dirty="0"/>
              <a:t>infinitely more customized—and definitely more accurate—than traditional plans, which are often based on decades-old data and population averages.</a:t>
            </a:r>
          </a:p>
          <a:p>
            <a:endParaRPr lang="en-US" sz="2000" kern="1200" dirty="0">
              <a:solidFill>
                <a:schemeClr val="tx1"/>
              </a:solidFill>
              <a:effectLst/>
              <a:latin typeface="Segoe UI Light" pitchFamily="34" charset="0"/>
              <a:ea typeface="+mn-ea"/>
              <a:cs typeface="+mn-cs"/>
            </a:endParaRPr>
          </a:p>
          <a:p>
            <a:r>
              <a:rPr lang="en-US" sz="2000" kern="1200" dirty="0" err="1">
                <a:solidFill>
                  <a:schemeClr val="tx1"/>
                </a:solidFill>
                <a:effectLst/>
                <a:latin typeface="Segoe UI Light" pitchFamily="34" charset="0"/>
                <a:ea typeface="+mn-ea"/>
                <a:cs typeface="+mn-cs"/>
              </a:rPr>
              <a:t>ImagineCare</a:t>
            </a:r>
            <a:r>
              <a:rPr lang="en-US" sz="2000" kern="1200" dirty="0">
                <a:solidFill>
                  <a:schemeClr val="tx1"/>
                </a:solidFill>
                <a:effectLst/>
                <a:latin typeface="Segoe UI Light" pitchFamily="34" charset="0"/>
                <a:ea typeface="+mn-ea"/>
                <a:cs typeface="+mn-cs"/>
              </a:rPr>
              <a:t> aims to significantly enhance patient outcomes by predicting catastrophic events such as</a:t>
            </a:r>
            <a:r>
              <a:rPr lang="en-US" sz="2000" kern="1200" baseline="0" dirty="0">
                <a:solidFill>
                  <a:schemeClr val="tx1"/>
                </a:solidFill>
                <a:effectLst/>
                <a:latin typeface="Segoe UI Light" pitchFamily="34" charset="0"/>
                <a:ea typeface="+mn-ea"/>
                <a:cs typeface="+mn-cs"/>
              </a:rPr>
              <a:t> </a:t>
            </a:r>
            <a:r>
              <a:rPr lang="en-US" sz="2000" kern="1200" dirty="0">
                <a:solidFill>
                  <a:schemeClr val="tx1"/>
                </a:solidFill>
                <a:effectLst/>
                <a:latin typeface="Segoe UI Light" pitchFamily="34" charset="0"/>
                <a:ea typeface="+mn-ea"/>
                <a:cs typeface="+mn-cs"/>
              </a:rPr>
              <a:t>heart attacks before they happen. It will also reduce the number of “readmissions” because each patient will be proactively monitored and Dartmouth-Hitchcock can contact the patient with tweaks/recommendations to the individual’s pathway based on the data collected.</a:t>
            </a:r>
            <a:endParaRPr lang="en-US" sz="2000" dirty="0"/>
          </a:p>
          <a:p>
            <a:endParaRPr lang="en-US" dirty="0"/>
          </a:p>
          <a:p>
            <a:r>
              <a:rPr lang="en-US" dirty="0"/>
              <a:t>Benefits include:</a:t>
            </a:r>
          </a:p>
          <a:p>
            <a:pPr marL="177800" indent="-177800">
              <a:buFont typeface="Arial" panose="020B0604020202020204" pitchFamily="34" charset="0"/>
              <a:buChar char="•"/>
            </a:pPr>
            <a:r>
              <a:rPr lang="en-US" sz="2000" kern="0" dirty="0">
                <a:solidFill>
                  <a:schemeClr val="bg1"/>
                </a:solidFill>
                <a:latin typeface="+mn-lt"/>
                <a:ea typeface="+mn-ea"/>
                <a:cs typeface="+mn-cs"/>
              </a:rPr>
              <a:t>Empowered, healthier patients with personalized, evidence-based treatment plans </a:t>
            </a:r>
            <a:r>
              <a:rPr lang="en-US" sz="2000" dirty="0"/>
              <a:t>based on their data and data from similar health profiles. </a:t>
            </a:r>
            <a:endParaRPr lang="en-US" sz="2000" kern="0" dirty="0">
              <a:solidFill>
                <a:schemeClr val="bg1"/>
              </a:solidFill>
              <a:latin typeface="+mn-lt"/>
              <a:ea typeface="+mn-ea"/>
              <a:cs typeface="+mn-cs"/>
            </a:endParaRPr>
          </a:p>
          <a:p>
            <a:pPr marL="177800" indent="-177800">
              <a:buFont typeface="Arial" panose="020B0604020202020204" pitchFamily="34" charset="0"/>
              <a:buChar char="•"/>
            </a:pPr>
            <a:r>
              <a:rPr lang="en-US" sz="2000" kern="0" dirty="0">
                <a:solidFill>
                  <a:schemeClr val="bg1"/>
                </a:solidFill>
                <a:latin typeface="+mn-lt"/>
                <a:ea typeface="+mn-ea"/>
                <a:cs typeface="+mn-cs"/>
              </a:rPr>
              <a:t>Millions of dollars saved in readmission costs, unnecessary ER and doctor visits, and missed work</a:t>
            </a:r>
          </a:p>
          <a:p>
            <a:pPr marL="177800" indent="-177800">
              <a:buFont typeface="Arial" panose="020B0604020202020204" pitchFamily="34" charset="0"/>
              <a:buChar char="•"/>
            </a:pPr>
            <a:r>
              <a:rPr lang="en-US" sz="2000" kern="0" dirty="0">
                <a:solidFill>
                  <a:schemeClr val="bg1"/>
                </a:solidFill>
                <a:latin typeface="+mn-lt"/>
                <a:ea typeface="+mn-ea"/>
                <a:cs typeface="+mn-cs"/>
              </a:rPr>
              <a:t>Improved quality of life with 360-degree view of patient health, mood, and behavior</a:t>
            </a:r>
          </a:p>
          <a:p>
            <a:pPr marL="177800" indent="-177800">
              <a:buFont typeface="Arial" panose="020B0604020202020204" pitchFamily="34" charset="0"/>
              <a:buChar char="•"/>
            </a:pPr>
            <a:r>
              <a:rPr lang="en-US" sz="2000" kern="0" dirty="0">
                <a:solidFill>
                  <a:schemeClr val="bg1"/>
                </a:solidFill>
                <a:latin typeface="+mn-lt"/>
                <a:ea typeface="+mn-ea"/>
                <a:cs typeface="+mn-cs"/>
              </a:rPr>
              <a:t>More effective population health management</a:t>
            </a:r>
          </a:p>
        </p:txBody>
      </p:sp>
      <p:sp>
        <p:nvSpPr>
          <p:cNvPr id="4" name="Slide Number Placeholder 3"/>
          <p:cNvSpPr>
            <a:spLocks noGrp="1"/>
          </p:cNvSpPr>
          <p:nvPr>
            <p:ph type="sldNum" sz="quarter" idx="10"/>
          </p:nvPr>
        </p:nvSpPr>
        <p:spPr/>
        <p:txBody>
          <a:bodyPr/>
          <a:lstStyle/>
          <a:p>
            <a:fld id="{96CD5F8F-46C9-46A5-9E1B-00B0A72B40BF}" type="slidenum">
              <a:rPr lang="en-US" smtClean="0">
                <a:solidFill>
                  <a:prstClr val="black"/>
                </a:solidFill>
              </a:rPr>
              <a:pPr/>
              <a:t>36</a:t>
            </a:fld>
            <a:endParaRPr lang="en-US">
              <a:solidFill>
                <a:prstClr val="black"/>
              </a:solidFill>
            </a:endParaRPr>
          </a:p>
        </p:txBody>
      </p:sp>
    </p:spTree>
    <p:extLst>
      <p:ext uri="{BB962C8B-B14F-4D97-AF65-F5344CB8AC3E}">
        <p14:creationId xmlns:p14="http://schemas.microsoft.com/office/powerpoint/2010/main" val="301860722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Video:</a:t>
            </a:r>
            <a:r>
              <a:rPr lang="en-US" b="0" baseline="0" dirty="0"/>
              <a:t> </a:t>
            </a:r>
            <a:r>
              <a:rPr lang="en-US" sz="1200" u="sng" kern="1200" dirty="0">
                <a:solidFill>
                  <a:schemeClr val="tx1"/>
                </a:solidFill>
                <a:effectLst/>
                <a:latin typeface="+mn-lt"/>
                <a:ea typeface="+mn-ea"/>
                <a:cs typeface="+mn-cs"/>
                <a:hlinkClick r:id="rId3"/>
              </a:rPr>
              <a:t>https://youtu.be/x1XARd8Xo7M</a:t>
            </a:r>
            <a:endParaRPr lang="en-US" sz="1200" u="sng" kern="1200" dirty="0">
              <a:solidFill>
                <a:schemeClr val="tx1"/>
              </a:solidFill>
              <a:effectLst/>
              <a:latin typeface="+mn-lt"/>
              <a:ea typeface="+mn-ea"/>
              <a:cs typeface="+mn-cs"/>
            </a:endParaRPr>
          </a:p>
          <a:p>
            <a:endParaRPr lang="en-US" dirty="0"/>
          </a:p>
          <a:p>
            <a:r>
              <a:rPr lang="en-US" b="1" baseline="0" dirty="0"/>
              <a:t>Demo assets: </a:t>
            </a:r>
            <a:r>
              <a:rPr lang="en-US" sz="1200" u="sng" kern="1200" dirty="0">
                <a:solidFill>
                  <a:schemeClr val="tx1"/>
                </a:solidFill>
                <a:effectLst/>
                <a:latin typeface="+mn-lt"/>
                <a:ea typeface="+mn-ea"/>
                <a:cs typeface="+mn-cs"/>
                <a:hlinkClick r:id="rId4"/>
              </a:rPr>
              <a:t>http://infopedia/SMSG/Pages/MDWHadoop.aspx?ebookNode=Hadoop&amp;SourceURL=http://infopedia/Pages/SQL-Server-ModernDataWarehouse.aspx</a:t>
            </a:r>
            <a:endParaRPr lang="en-US" sz="1200" u="sng" kern="1200" baseline="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96CD5F8F-46C9-46A5-9E1B-00B0A72B40BF}" type="slidenum">
              <a:rPr lang="en-US" smtClean="0">
                <a:solidFill>
                  <a:prstClr val="black"/>
                </a:solidFill>
              </a:rPr>
              <a:pPr/>
              <a:t>37</a:t>
            </a:fld>
            <a:endParaRPr lang="en-US">
              <a:solidFill>
                <a:prstClr val="black"/>
              </a:solidFill>
            </a:endParaRPr>
          </a:p>
        </p:txBody>
      </p:sp>
    </p:spTree>
    <p:extLst>
      <p:ext uri="{BB962C8B-B14F-4D97-AF65-F5344CB8AC3E}">
        <p14:creationId xmlns:p14="http://schemas.microsoft.com/office/powerpoint/2010/main" val="92896365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a:t>JJ</a:t>
            </a:r>
            <a:r>
              <a:rPr lang="en-US" sz="1200" baseline="0" dirty="0"/>
              <a:t> Food Service’s business model has changed from one where they have a personal relationship by phone with their customers to one where they are ordering from a portal.</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baseline="0" dirty="0"/>
          </a:p>
          <a:p>
            <a:pPr marL="0" marR="0" indent="0" algn="l" defTabSz="457200" rtl="0" eaLnBrk="1" fontAlgn="auto" latinLnBrk="0" hangingPunct="1">
              <a:lnSpc>
                <a:spcPct val="100000"/>
              </a:lnSpc>
              <a:spcBef>
                <a:spcPts val="0"/>
              </a:spcBef>
              <a:spcAft>
                <a:spcPts val="0"/>
              </a:spcAft>
              <a:buClrTx/>
              <a:buSzTx/>
              <a:buFontTx/>
              <a:buNone/>
              <a:tabLst/>
              <a:defRPr/>
            </a:pPr>
            <a:r>
              <a:rPr lang="en-US" sz="1200" baseline="0" dirty="0"/>
              <a:t>With outdated systems, manual processes, and lack of supply chain visibility they were lacking the connectivity and ability to help customers find what they really wanted to buy.</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baseline="0" dirty="0"/>
          </a:p>
          <a:p>
            <a:pPr marL="0" marR="0" indent="0" algn="l" defTabSz="457200" rtl="0" eaLnBrk="1" fontAlgn="auto" latinLnBrk="0" hangingPunct="1">
              <a:lnSpc>
                <a:spcPct val="100000"/>
              </a:lnSpc>
              <a:spcBef>
                <a:spcPts val="0"/>
              </a:spcBef>
              <a:spcAft>
                <a:spcPts val="0"/>
              </a:spcAft>
              <a:buClrTx/>
              <a:buSzTx/>
              <a:buFontTx/>
              <a:buNone/>
              <a:tabLst/>
              <a:defRPr/>
            </a:pPr>
            <a:r>
              <a:rPr lang="en-US" dirty="0">
                <a:effectLst/>
              </a:rPr>
              <a:t>JJ Food Service Ltd. looked to technology to optimize their supply chain: Microsoft Dynamics AX + Azure + Azure Machine Learning + Devices.  With Machine Learning, customers’ preferences can be mashed up across multiple applications with any number of sources of data. That results in anticipating and fulfilling customers’ needs, even without an actual human interaction. </a:t>
            </a:r>
            <a:r>
              <a:rPr lang="en-US" sz="1200" baseline="0" dirty="0"/>
              <a:t>JJ is using Machine Learning to accurately predict what the customer is likely to buy next, and JJ say with just a little intelligence its amazing how helpful they can be to their customer bases through:</a:t>
            </a:r>
          </a:p>
          <a:p>
            <a:pPr marL="177800" indent="-177800">
              <a:buFont typeface="Arial" panose="020B0604020202020204" pitchFamily="34" charset="0"/>
              <a:buChar char="•"/>
            </a:pPr>
            <a:r>
              <a:rPr lang="en-US" sz="1200" kern="0" dirty="0">
                <a:solidFill>
                  <a:schemeClr val="bg1"/>
                </a:solidFill>
                <a:latin typeface="+mn-lt"/>
                <a:ea typeface="+mn-ea"/>
                <a:cs typeface="+mn-cs"/>
              </a:rPr>
              <a:t>Accurate predictions</a:t>
            </a:r>
            <a:r>
              <a:rPr lang="en-US" sz="1200" kern="0" baseline="0" dirty="0">
                <a:solidFill>
                  <a:schemeClr val="bg1"/>
                </a:solidFill>
                <a:latin typeface="+mn-lt"/>
                <a:ea typeface="+mn-ea"/>
                <a:cs typeface="+mn-cs"/>
              </a:rPr>
              <a:t> of customers’ needs</a:t>
            </a:r>
            <a:endParaRPr lang="en-US" sz="1200" kern="0" dirty="0">
              <a:solidFill>
                <a:schemeClr val="bg1"/>
              </a:solidFill>
              <a:latin typeface="+mn-lt"/>
              <a:ea typeface="+mn-ea"/>
              <a:cs typeface="+mn-cs"/>
            </a:endParaRPr>
          </a:p>
          <a:p>
            <a:pPr marL="177800" indent="-177800">
              <a:buFont typeface="Arial" panose="020B0604020202020204" pitchFamily="34" charset="0"/>
              <a:buChar char="•"/>
            </a:pPr>
            <a:r>
              <a:rPr lang="en-US" sz="1200" kern="0" dirty="0">
                <a:solidFill>
                  <a:schemeClr val="bg1"/>
                </a:solidFill>
                <a:latin typeface="+mn-lt"/>
                <a:ea typeface="+mn-ea"/>
                <a:cs typeface="+mn-cs"/>
              </a:rPr>
              <a:t>IOT-enabled cab sensors</a:t>
            </a:r>
          </a:p>
          <a:p>
            <a:pPr marL="177800" indent="-177800">
              <a:buFont typeface="Arial" panose="020B0604020202020204" pitchFamily="34" charset="0"/>
              <a:buChar char="•"/>
            </a:pPr>
            <a:r>
              <a:rPr lang="en-US" sz="1200" kern="0" dirty="0">
                <a:solidFill>
                  <a:schemeClr val="bg1"/>
                </a:solidFill>
                <a:latin typeface="+mn-lt"/>
                <a:ea typeface="+mn-ea"/>
                <a:cs typeface="+mn-cs"/>
              </a:rPr>
              <a:t>Arrival of foods in peak condition</a:t>
            </a:r>
          </a:p>
          <a:p>
            <a:pPr marL="177800" indent="-177800">
              <a:buFont typeface="Arial" panose="020B0604020202020204" pitchFamily="34" charset="0"/>
              <a:buChar char="•"/>
            </a:pPr>
            <a:r>
              <a:rPr lang="en-US" sz="1200" kern="0" dirty="0">
                <a:solidFill>
                  <a:schemeClr val="bg1"/>
                </a:solidFill>
                <a:latin typeface="+mn-lt"/>
                <a:ea typeface="+mn-ea"/>
                <a:cs typeface="+mn-cs"/>
              </a:rPr>
              <a:t>Increase in basket value through upsell with</a:t>
            </a:r>
            <a:r>
              <a:rPr lang="en-US" sz="1200" kern="0" baseline="0" dirty="0">
                <a:solidFill>
                  <a:schemeClr val="bg1"/>
                </a:solidFill>
                <a:latin typeface="+mn-lt"/>
                <a:ea typeface="+mn-ea"/>
                <a:cs typeface="+mn-cs"/>
              </a:rPr>
              <a:t> d</a:t>
            </a:r>
            <a:r>
              <a:rPr lang="en-US" sz="1200" kern="0" dirty="0">
                <a:solidFill>
                  <a:schemeClr val="bg1"/>
                </a:solidFill>
                <a:latin typeface="+mn-lt"/>
                <a:ea typeface="+mn-ea"/>
                <a:cs typeface="+mn-cs"/>
              </a:rPr>
              <a:t>ecreased checkout times</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baseline="0" dirty="0"/>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b="1" baseline="0" dirty="0">
                <a:latin typeface="Arial" pitchFamily="34" charset="0"/>
                <a:cs typeface="Arial" pitchFamily="34" charset="0"/>
              </a:rPr>
              <a:t>JJ Foods case study </a:t>
            </a:r>
            <a:r>
              <a:rPr lang="en-US" sz="700" b="0" baseline="0" dirty="0">
                <a:latin typeface="Arial" pitchFamily="34" charset="0"/>
                <a:cs typeface="Arial" pitchFamily="34" charset="0"/>
              </a:rPr>
              <a:t>(UK) – </a:t>
            </a:r>
            <a:r>
              <a:rPr lang="en-US" sz="1200" u="sng" kern="1200" dirty="0">
                <a:solidFill>
                  <a:schemeClr val="tx1"/>
                </a:solidFill>
                <a:effectLst/>
                <a:latin typeface="Segoe UI Light" pitchFamily="34" charset="0"/>
                <a:ea typeface="+mn-ea"/>
                <a:cs typeface="+mn-cs"/>
                <a:hlinkClick r:id="rId3"/>
              </a:rPr>
              <a:t>https://customers.microsoft.com/Pages/CustomerStory.aspx?recid=18352</a:t>
            </a:r>
            <a:r>
              <a:rPr lang="en-US" sz="1200" kern="1200" dirty="0">
                <a:solidFill>
                  <a:schemeClr val="tx1"/>
                </a:solidFill>
                <a:effectLst/>
                <a:latin typeface="Segoe UI Light" pitchFamily="34" charset="0"/>
                <a:ea typeface="+mn-ea"/>
                <a:cs typeface="+mn-cs"/>
              </a:rPr>
              <a:t> </a:t>
            </a:r>
            <a:endParaRPr lang="en-US" sz="1200" b="0" kern="1200" baseline="0" dirty="0">
              <a:solidFill>
                <a:srgbClr val="FF0000"/>
              </a:solidFill>
              <a:effectLst/>
              <a:latin typeface="Segoe UI" pitchFamily="34" charset="0"/>
              <a:ea typeface="+mn-ea"/>
              <a:cs typeface="Segoe UI" pitchFamily="34" charset="0"/>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t>Another good reference: </a:t>
            </a:r>
            <a:r>
              <a:rPr lang="en-US" sz="700" b="1" baseline="0" dirty="0" err="1">
                <a:latin typeface="Arial" pitchFamily="34" charset="0"/>
                <a:cs typeface="Arial" pitchFamily="34" charset="0"/>
              </a:rPr>
              <a:t>Wirtz</a:t>
            </a:r>
            <a:r>
              <a:rPr lang="en-US" sz="700" b="1" baseline="0" dirty="0">
                <a:latin typeface="Arial" pitchFamily="34" charset="0"/>
                <a:cs typeface="Arial" pitchFamily="34" charset="0"/>
              </a:rPr>
              <a:t> Beverage </a:t>
            </a:r>
            <a:r>
              <a:rPr lang="en-US" sz="700" b="0" baseline="0" dirty="0">
                <a:latin typeface="Arial" pitchFamily="34" charset="0"/>
                <a:cs typeface="Arial" pitchFamily="34" charset="0"/>
              </a:rPr>
              <a:t>(US) </a:t>
            </a:r>
            <a:r>
              <a:rPr lang="en-US" sz="700" b="1" baseline="0" dirty="0">
                <a:latin typeface="Arial" pitchFamily="34" charset="0"/>
                <a:cs typeface="Arial" pitchFamily="34" charset="0"/>
              </a:rPr>
              <a:t>- </a:t>
            </a:r>
            <a:r>
              <a:rPr lang="en-US" sz="1200" u="sng" kern="1200" dirty="0">
                <a:solidFill>
                  <a:schemeClr val="tx1"/>
                </a:solidFill>
                <a:effectLst/>
                <a:latin typeface="Segoe UI Light" pitchFamily="34" charset="0"/>
                <a:ea typeface="+mn-ea"/>
                <a:cs typeface="+mn-cs"/>
                <a:hlinkClick r:id="rId4"/>
              </a:rPr>
              <a:t>http://customers.microsoft.com/Pages/CustomerStory.aspx?recid=10760</a:t>
            </a:r>
            <a:r>
              <a:rPr lang="en-US" sz="1200" kern="1200" dirty="0">
                <a:solidFill>
                  <a:schemeClr val="tx1"/>
                </a:solidFill>
                <a:effectLst/>
                <a:latin typeface="Segoe UI Light" pitchFamily="34" charset="0"/>
                <a:ea typeface="+mn-ea"/>
                <a:cs typeface="+mn-cs"/>
              </a:rPr>
              <a:t> </a:t>
            </a:r>
            <a:endParaRPr lang="en-US" sz="700" b="1" baseline="0"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96CD5F8F-46C9-46A5-9E1B-00B0A72B40BF}" type="slidenum">
              <a:rPr lang="en-US" smtClean="0">
                <a:solidFill>
                  <a:prstClr val="black"/>
                </a:solidFill>
              </a:rPr>
              <a:pPr/>
              <a:t>38</a:t>
            </a:fld>
            <a:endParaRPr lang="en-US">
              <a:solidFill>
                <a:prstClr val="black"/>
              </a:solidFill>
            </a:endParaRPr>
          </a:p>
        </p:txBody>
      </p:sp>
    </p:spTree>
    <p:extLst>
      <p:ext uri="{BB962C8B-B14F-4D97-AF65-F5344CB8AC3E}">
        <p14:creationId xmlns:p14="http://schemas.microsoft.com/office/powerpoint/2010/main" val="408501184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Video:</a:t>
            </a:r>
            <a:r>
              <a:rPr lang="en-US" b="0" baseline="0" dirty="0"/>
              <a:t> </a:t>
            </a:r>
            <a:r>
              <a:rPr lang="en-US" dirty="0">
                <a:hlinkClick r:id="rId3"/>
              </a:rPr>
              <a:t>https://www.youtube.com/watch?v=q2Ebn9TSK-I</a:t>
            </a:r>
            <a:endParaRPr lang="en-US" dirty="0"/>
          </a:p>
          <a:p>
            <a:endParaRPr lang="en-US" dirty="0"/>
          </a:p>
          <a:p>
            <a:r>
              <a:rPr lang="en-US" b="1" dirty="0"/>
              <a:t>Dynamics version of the video: </a:t>
            </a:r>
            <a:r>
              <a:rPr lang="en-US" dirty="0">
                <a:hlinkClick r:id="rId4"/>
              </a:rPr>
              <a:t>https://www.youtube.com/watch?v=p5LvCgpqOkY</a:t>
            </a:r>
            <a:r>
              <a:rPr lang="en-US" dirty="0"/>
              <a:t> </a:t>
            </a:r>
          </a:p>
          <a:p>
            <a:endParaRPr lang="en-US" dirty="0"/>
          </a:p>
          <a:p>
            <a:endParaRPr lang="en-US" dirty="0"/>
          </a:p>
        </p:txBody>
      </p:sp>
      <p:sp>
        <p:nvSpPr>
          <p:cNvPr id="4" name="Slide Number Placeholder 3"/>
          <p:cNvSpPr>
            <a:spLocks noGrp="1"/>
          </p:cNvSpPr>
          <p:nvPr>
            <p:ph type="sldNum" sz="quarter" idx="10"/>
          </p:nvPr>
        </p:nvSpPr>
        <p:spPr/>
        <p:txBody>
          <a:bodyPr/>
          <a:lstStyle/>
          <a:p>
            <a:fld id="{96CD5F8F-46C9-46A5-9E1B-00B0A72B40BF}" type="slidenum">
              <a:rPr lang="en-US" smtClean="0">
                <a:solidFill>
                  <a:prstClr val="black"/>
                </a:solidFill>
              </a:rPr>
              <a:pPr/>
              <a:t>39</a:t>
            </a:fld>
            <a:endParaRPr lang="en-US">
              <a:solidFill>
                <a:prstClr val="black"/>
              </a:solidFill>
            </a:endParaRPr>
          </a:p>
        </p:txBody>
      </p:sp>
    </p:spTree>
    <p:extLst>
      <p:ext uri="{BB962C8B-B14F-4D97-AF65-F5344CB8AC3E}">
        <p14:creationId xmlns:p14="http://schemas.microsoft.com/office/powerpoint/2010/main" val="207301003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Segoe UI Light" pitchFamily="34" charset="0"/>
              </a:rPr>
              <a:t>&lt;Note: no video or demo associated with this case study yet&gt;</a:t>
            </a:r>
            <a:r>
              <a:rPr lang="en-US" b="1" baseline="0" dirty="0">
                <a:latin typeface="Segoe UI Light" pitchFamily="34" charset="0"/>
              </a:rPr>
              <a:t> </a:t>
            </a:r>
          </a:p>
          <a:p>
            <a:endParaRPr lang="en-US" b="1" dirty="0">
              <a:latin typeface="Segoe UI Light" pitchFamily="34" charset="0"/>
            </a:endParaRPr>
          </a:p>
          <a:p>
            <a:r>
              <a:rPr lang="en-US" dirty="0">
                <a:latin typeface="Segoe UI Light" pitchFamily="34" charset="0"/>
              </a:rPr>
              <a:t>Tangerine faced a lack of market differentiation, insight for targeted</a:t>
            </a:r>
            <a:r>
              <a:rPr lang="en-US" baseline="0" dirty="0">
                <a:latin typeface="Segoe UI Light" pitchFamily="34" charset="0"/>
              </a:rPr>
              <a:t> campaigns, and the ability to support their data growth.</a:t>
            </a:r>
          </a:p>
          <a:p>
            <a:endParaRPr lang="en-US" baseline="0" dirty="0">
              <a:latin typeface="Segoe UI Light" pitchFamily="34" charset="0"/>
            </a:endParaRPr>
          </a:p>
          <a:p>
            <a:r>
              <a:rPr lang="en-US" baseline="0" dirty="0">
                <a:latin typeface="Segoe UI Light" pitchFamily="34" charset="0"/>
              </a:rPr>
              <a:t>To address this issue, they decided to deploy </a:t>
            </a:r>
            <a:r>
              <a:rPr lang="en-US" dirty="0">
                <a:effectLst/>
              </a:rPr>
              <a:t>the Microsoft Analytics Platform System (APS), a turnkey big data analytics appliance,</a:t>
            </a:r>
            <a:r>
              <a:rPr lang="en-US" baseline="0" dirty="0">
                <a:effectLst/>
              </a:rPr>
              <a:t> along with </a:t>
            </a:r>
            <a:r>
              <a:rPr lang="en-US" dirty="0">
                <a:effectLst/>
              </a:rPr>
              <a:t>Microsoft Azure HDInsight, the Microsoft cloud Hadoop-as-a-service.</a:t>
            </a:r>
            <a:endParaRPr lang="en-US" baseline="0" dirty="0">
              <a:latin typeface="Segoe UI Light" pitchFamily="34" charset="0"/>
            </a:endParaRPr>
          </a:p>
          <a:p>
            <a:endParaRPr lang="en-US" dirty="0">
              <a:latin typeface="Segoe UI Light"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dirty="0">
                <a:effectLst/>
              </a:rPr>
              <a:t>For Tangerine, transforming customer data into insight is now much easier—and faster.</a:t>
            </a:r>
            <a:r>
              <a:rPr lang="en-US" baseline="0" dirty="0">
                <a:effectLst/>
              </a:rPr>
              <a:t> E</a:t>
            </a:r>
            <a:r>
              <a:rPr lang="en-US" dirty="0">
                <a:effectLst/>
              </a:rPr>
              <a:t>mployees can instantly access usable BI analysis and make better decisions</a:t>
            </a:r>
            <a:r>
              <a:rPr lang="en-US" baseline="0" dirty="0">
                <a:effectLst/>
              </a:rPr>
              <a:t> in order to offer customers what they want, when they want it, adjusting on the fly</a:t>
            </a:r>
            <a:r>
              <a:rPr lang="en-US" dirty="0">
                <a:effectLst/>
              </a:rPr>
              <a:t>.</a:t>
            </a:r>
            <a:r>
              <a:rPr lang="en-US" baseline="0" dirty="0">
                <a:effectLst/>
              </a:rPr>
              <a:t> </a:t>
            </a:r>
            <a:endParaRPr lang="en-US" sz="1200" kern="0" dirty="0">
              <a:solidFill>
                <a:schemeClr val="bg1"/>
              </a:solidFill>
              <a:latin typeface="+mn-lt"/>
              <a:ea typeface="+mn-ea"/>
              <a:cs typeface="+mn-cs"/>
            </a:endParaRPr>
          </a:p>
          <a:p>
            <a:endParaRPr lang="en-US" dirty="0">
              <a:latin typeface="Segoe UI Light" pitchFamily="34" charset="0"/>
            </a:endParaRPr>
          </a:p>
          <a:p>
            <a:r>
              <a:rPr lang="en-US" dirty="0">
                <a:effectLst/>
              </a:rPr>
              <a:t>With a better ability to learn what its customers are looking for, Tangerine can offer the incentives and new services it needs to be able to retain—and grow—its customer base</a:t>
            </a:r>
            <a:r>
              <a:rPr lang="en-US" baseline="0" dirty="0">
                <a:effectLst/>
              </a:rPr>
              <a:t> while creating </a:t>
            </a:r>
            <a:r>
              <a:rPr lang="en-US" dirty="0">
                <a:effectLst/>
              </a:rPr>
              <a:t>new services and campaigns based on social media data.</a:t>
            </a:r>
          </a:p>
          <a:p>
            <a:endParaRPr lang="en-US" dirty="0">
              <a:effectLst/>
            </a:endParaRPr>
          </a:p>
          <a:p>
            <a:r>
              <a:rPr lang="en-US" dirty="0">
                <a:effectLst/>
              </a:rPr>
              <a:t>Other benefits include: </a:t>
            </a:r>
          </a:p>
          <a:p>
            <a:pPr marL="177800" indent="-177800">
              <a:buFont typeface="Arial" panose="020B0604020202020204" pitchFamily="34" charset="0"/>
              <a:buChar char="•"/>
            </a:pPr>
            <a:r>
              <a:rPr lang="en-US" sz="1200" kern="0" dirty="0">
                <a:solidFill>
                  <a:schemeClr val="bg1"/>
                </a:solidFill>
                <a:latin typeface="+mn-lt"/>
                <a:ea typeface="+mn-ea"/>
                <a:cs typeface="+mn-cs"/>
              </a:rPr>
              <a:t>Reduced time to customer insight</a:t>
            </a:r>
          </a:p>
          <a:p>
            <a:pPr marL="177800" indent="-177800">
              <a:buFont typeface="Arial" panose="020B0604020202020204" pitchFamily="34" charset="0"/>
              <a:buChar char="•"/>
            </a:pPr>
            <a:r>
              <a:rPr lang="en-US" sz="1200" kern="0" dirty="0">
                <a:solidFill>
                  <a:schemeClr val="bg1"/>
                </a:solidFill>
                <a:latin typeface="+mn-lt"/>
                <a:ea typeface="+mn-ea"/>
                <a:cs typeface="+mn-cs"/>
              </a:rPr>
              <a:t>Ability to</a:t>
            </a:r>
            <a:r>
              <a:rPr lang="en-US" sz="1200" kern="0" baseline="0" dirty="0">
                <a:solidFill>
                  <a:schemeClr val="bg1"/>
                </a:solidFill>
                <a:latin typeface="+mn-lt"/>
                <a:ea typeface="+mn-ea"/>
                <a:cs typeface="+mn-cs"/>
              </a:rPr>
              <a:t> make </a:t>
            </a:r>
            <a:r>
              <a:rPr lang="en-US" sz="1200" kern="0" dirty="0">
                <a:solidFill>
                  <a:schemeClr val="bg1"/>
                </a:solidFill>
                <a:latin typeface="+mn-lt"/>
                <a:ea typeface="+mn-ea"/>
                <a:cs typeface="+mn-cs"/>
              </a:rPr>
              <a:t>changes to campaigns or adjust product rollouts based on real-time customer reactions</a:t>
            </a:r>
          </a:p>
          <a:p>
            <a:pPr marL="177800" indent="-177800">
              <a:buFont typeface="Arial" panose="020B0604020202020204" pitchFamily="34" charset="0"/>
              <a:buChar char="•"/>
            </a:pPr>
            <a:r>
              <a:rPr lang="en-US" sz="1200" kern="0" dirty="0">
                <a:solidFill>
                  <a:schemeClr val="bg1"/>
                </a:solidFill>
                <a:latin typeface="+mn-lt"/>
                <a:ea typeface="+mn-ea"/>
                <a:cs typeface="+mn-cs"/>
              </a:rPr>
              <a:t>Ability to offer incentives and new services to retain—and grow—its customer base</a:t>
            </a:r>
          </a:p>
          <a:p>
            <a:endParaRPr lang="en-US" dirty="0">
              <a:latin typeface="Segoe UI Light" pitchFamily="34" charset="0"/>
            </a:endParaRPr>
          </a:p>
          <a:p>
            <a:r>
              <a:rPr lang="en-US" b="1" dirty="0">
                <a:latin typeface="Segoe UI Light" pitchFamily="34" charset="0"/>
              </a:rPr>
              <a:t>Tangerine</a:t>
            </a:r>
            <a:r>
              <a:rPr lang="en-US" b="1" baseline="0" dirty="0">
                <a:latin typeface="Segoe UI Light" pitchFamily="34" charset="0"/>
              </a:rPr>
              <a:t> case study: </a:t>
            </a:r>
            <a:r>
              <a:rPr lang="en-US" dirty="0">
                <a:latin typeface="Segoe UI Light" pitchFamily="34" charset="0"/>
              </a:rPr>
              <a:t>https://customers.microsoft.com/Pages/CustomerStory.aspx?recid=14594</a:t>
            </a:r>
          </a:p>
        </p:txBody>
      </p:sp>
      <p:sp>
        <p:nvSpPr>
          <p:cNvPr id="4" name="Slide Number Placeholder 3"/>
          <p:cNvSpPr>
            <a:spLocks noGrp="1"/>
          </p:cNvSpPr>
          <p:nvPr>
            <p:ph type="sldNum" sz="quarter" idx="10"/>
          </p:nvPr>
        </p:nvSpPr>
        <p:spPr/>
        <p:txBody>
          <a:bodyPr/>
          <a:lstStyle/>
          <a:p>
            <a:fld id="{96CD5F8F-46C9-46A5-9E1B-00B0A72B40BF}" type="slidenum">
              <a:rPr lang="en-US" smtClean="0">
                <a:solidFill>
                  <a:prstClr val="black"/>
                </a:solidFill>
              </a:rPr>
              <a:pPr/>
              <a:t>40</a:t>
            </a:fld>
            <a:endParaRPr lang="en-US">
              <a:solidFill>
                <a:prstClr val="black"/>
              </a:solidFill>
            </a:endParaRPr>
          </a:p>
        </p:txBody>
      </p:sp>
    </p:spTree>
    <p:extLst>
      <p:ext uri="{BB962C8B-B14F-4D97-AF65-F5344CB8AC3E}">
        <p14:creationId xmlns:p14="http://schemas.microsoft.com/office/powerpoint/2010/main" val="23238068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1" kern="1200" dirty="0">
                <a:solidFill>
                  <a:schemeClr val="tx1"/>
                </a:solidFill>
                <a:effectLst/>
                <a:latin typeface="+mn-lt"/>
                <a:ea typeface="+mn-ea"/>
                <a:cs typeface="+mn-cs"/>
              </a:rPr>
              <a:t>&lt;Speaker</a:t>
            </a:r>
            <a:r>
              <a:rPr lang="en-US" sz="1200" b="1" i="1" kern="1200" baseline="0" dirty="0">
                <a:solidFill>
                  <a:schemeClr val="tx1"/>
                </a:solidFill>
                <a:effectLst/>
                <a:latin typeface="+mn-lt"/>
                <a:ea typeface="+mn-ea"/>
                <a:cs typeface="+mn-cs"/>
              </a:rPr>
              <a:t> guidance: You may choose to use this slide, or one of the 2 hidden slides that follow it. The point of all 3 slides is the same – </a:t>
            </a:r>
            <a:r>
              <a:rPr lang="en-US" sz="1200" b="0" i="1" kern="1200" baseline="0" dirty="0">
                <a:solidFill>
                  <a:schemeClr val="tx1"/>
                </a:solidFill>
                <a:effectLst/>
                <a:latin typeface="+mn-lt"/>
                <a:ea typeface="+mn-ea"/>
                <a:cs typeface="+mn-cs"/>
              </a:rPr>
              <a:t>give examples of ways that customers are using Big Data, cloud and intelligence to transform their businesses, as a lead-in to a demo&gt;  </a:t>
            </a:r>
            <a:endParaRPr lang="en-US" sz="1200" b="1" i="1"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1" kern="1200" baseline="0" dirty="0">
                <a:solidFill>
                  <a:schemeClr val="tx1"/>
                </a:solidFill>
                <a:effectLst/>
                <a:latin typeface="+mn-lt"/>
                <a:ea typeface="+mn-ea"/>
                <a:cs typeface="+mn-cs"/>
              </a:rPr>
              <a:t> </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Getting</a:t>
            </a:r>
            <a:r>
              <a:rPr lang="en-US" baseline="0" dirty="0"/>
              <a:t> ahead by leveraging Big Data, the cloud and intelligence can take a number of forms. </a:t>
            </a:r>
            <a:endParaRPr lang="en-US" sz="1200" kern="120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Segoe UI Light" pitchFamily="34" charset="0"/>
                <a:ea typeface="+mn-ea"/>
                <a:cs typeface="+mn-cs"/>
              </a:rPr>
              <a:t>It starts with understanding the data your organization has and what it can be used for.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Segoe UI Light" pitchFamily="34" charset="0"/>
                <a:ea typeface="+mn-ea"/>
                <a:cs typeface="+mn-cs"/>
              </a:rPr>
              <a:t>There are several core business scenarios where our customers are finding great success with Microsoft technologies.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Segoe UI Light" pitchFamily="34" charset="0"/>
                <a:ea typeface="+mn-ea"/>
                <a:cs typeface="+mn-cs"/>
              </a:rPr>
              <a:t>These can be a useful starting point as you consider how your organization could benefit.  </a:t>
            </a:r>
            <a:endParaRPr lang="en-US" baseline="0" dirty="0"/>
          </a:p>
          <a:p>
            <a:endParaRPr lang="en-US" baseline="0" dirty="0"/>
          </a:p>
          <a:p>
            <a:r>
              <a:rPr lang="en-US" baseline="0" dirty="0"/>
              <a:t>Here are a few examples of what our customers are doing to stay ahead:</a:t>
            </a:r>
          </a:p>
          <a:p>
            <a:pPr marL="171450" indent="-171450">
              <a:buFont typeface="Arial" panose="020B0604020202020204" pitchFamily="34" charset="0"/>
              <a:buChar char="•"/>
            </a:pPr>
            <a:r>
              <a:rPr lang="en-US" b="1" baseline="0" dirty="0"/>
              <a:t>Using remote monitoring </a:t>
            </a:r>
            <a:r>
              <a:rPr lang="en-US" b="0" baseline="0" dirty="0"/>
              <a:t>to </a:t>
            </a:r>
            <a:r>
              <a:rPr lang="en-US" baseline="0" dirty="0"/>
              <a:t>gain better visibility into their businesses and making better predictions regarding their customers’ needs</a:t>
            </a:r>
          </a:p>
          <a:p>
            <a:pPr marL="171450" indent="-171450">
              <a:buFont typeface="Arial" panose="020B0604020202020204" pitchFamily="34" charset="0"/>
              <a:buChar char="•"/>
            </a:pPr>
            <a:r>
              <a:rPr lang="en-US" b="1" baseline="0" dirty="0"/>
              <a:t>Improving inventory management </a:t>
            </a:r>
            <a:r>
              <a:rPr lang="en-US" b="0" baseline="0" dirty="0"/>
              <a:t>by using predictive analytics capabilities to e</a:t>
            </a:r>
            <a:r>
              <a:rPr lang="en-US" baseline="0" dirty="0"/>
              <a:t>nsure inventory is optimally distributed to the right places at the right times</a:t>
            </a:r>
          </a:p>
          <a:p>
            <a:pPr marL="171450" indent="-171450">
              <a:buFont typeface="Arial" panose="020B0604020202020204" pitchFamily="34" charset="0"/>
              <a:buChar char="•"/>
            </a:pPr>
            <a:r>
              <a:rPr lang="en-US" b="1" baseline="0" dirty="0"/>
              <a:t>Offering customers personalized experiences </a:t>
            </a:r>
            <a:r>
              <a:rPr lang="en-US" baseline="0" dirty="0"/>
              <a:t>using advanced analytics to develop deep, 360-degree view of their customers</a:t>
            </a:r>
          </a:p>
          <a:p>
            <a:pPr marL="171450" indent="-171450">
              <a:buFont typeface="Arial" panose="020B0604020202020204" pitchFamily="34" charset="0"/>
              <a:buChar char="•"/>
            </a:pPr>
            <a:r>
              <a:rPr lang="en-US" b="1" baseline="0" dirty="0"/>
              <a:t>Starting predictive maintenance programs </a:t>
            </a:r>
            <a:r>
              <a:rPr lang="en-US" b="0" baseline="0" dirty="0"/>
              <a:t>to f</a:t>
            </a:r>
            <a:r>
              <a:rPr lang="en-US" baseline="0" dirty="0"/>
              <a:t>ix problems proactively, before equipment ever breaks down</a:t>
            </a:r>
          </a:p>
          <a:p>
            <a:pPr marL="171450" indent="-171450">
              <a:buFont typeface="Arial" panose="020B0604020202020204" pitchFamily="34" charset="0"/>
              <a:buChar char="•"/>
            </a:pPr>
            <a:r>
              <a:rPr lang="en-US" b="1" baseline="0" dirty="0"/>
              <a:t>Building data-driven service offerings, </a:t>
            </a:r>
            <a:r>
              <a:rPr lang="en-US" b="0" baseline="0" dirty="0"/>
              <a:t>such as delivering products-as-services or packaging data for commercial sale</a:t>
            </a: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Other examples include </a:t>
            </a:r>
            <a:r>
              <a:rPr lang="en-US" sz="1200" kern="1200" dirty="0">
                <a:solidFill>
                  <a:schemeClr val="tx1"/>
                </a:solidFill>
                <a:effectLst/>
                <a:latin typeface="Segoe UI Light" pitchFamily="34" charset="0"/>
                <a:ea typeface="+mn-ea"/>
                <a:cs typeface="+mn-cs"/>
              </a:rPr>
              <a:t>real-time recommendations, customer churn forecasting, fraud detection, and many more. </a:t>
            </a:r>
            <a:endParaRPr lang="en-US" baseline="0" dirty="0"/>
          </a:p>
          <a:p>
            <a:pPr marL="171450" indent="-171450">
              <a:buFont typeface="Arial" panose="020B0604020202020204" pitchFamily="34" charset="0"/>
              <a:buChar cha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Segoe UI Light" pitchFamily="34" charset="0"/>
                <a:ea typeface="+mn-ea"/>
                <a:cs typeface="+mn-cs"/>
              </a:rPr>
              <a:t>&lt;Transition&gt;: Let’s take a look at one example. </a:t>
            </a:r>
            <a:endParaRPr lang="en-US" sz="1200" kern="1200" baseline="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96CD5F8F-46C9-46A5-9E1B-00B0A72B40BF}" type="slidenum">
              <a:rPr lang="en-US" smtClean="0"/>
              <a:t>4</a:t>
            </a:fld>
            <a:endParaRPr lang="en-US"/>
          </a:p>
        </p:txBody>
      </p:sp>
    </p:spTree>
    <p:extLst>
      <p:ext uri="{BB962C8B-B14F-4D97-AF65-F5344CB8AC3E}">
        <p14:creationId xmlns:p14="http://schemas.microsoft.com/office/powerpoint/2010/main" val="409656496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err="1"/>
              <a:t>eSmart</a:t>
            </a:r>
            <a:r>
              <a:rPr lang="en-US" baseline="0" dirty="0"/>
              <a:t> Systems </a:t>
            </a:r>
            <a:r>
              <a:rPr lang="en-US" dirty="0">
                <a:effectLst/>
              </a:rPr>
              <a:t>helps the lights stay on by creating next-generation, smart-grid software that optimizes the exchange of energy and data.</a:t>
            </a:r>
          </a:p>
          <a:p>
            <a:r>
              <a:rPr lang="en-US" baseline="0" dirty="0">
                <a:effectLst/>
              </a:rPr>
              <a:t>This requires p</a:t>
            </a:r>
            <a:r>
              <a:rPr lang="en-US" dirty="0">
                <a:effectLst/>
              </a:rPr>
              <a:t>ulling all</a:t>
            </a:r>
            <a:r>
              <a:rPr lang="en-US" baseline="0" dirty="0">
                <a:effectLst/>
              </a:rPr>
              <a:t> kinds </a:t>
            </a:r>
            <a:r>
              <a:rPr lang="en-US" dirty="0">
                <a:effectLst/>
              </a:rPr>
              <a:t>of disparate data together,</a:t>
            </a:r>
            <a:r>
              <a:rPr lang="en-US" baseline="0" dirty="0">
                <a:effectLst/>
              </a:rPr>
              <a:t> which </a:t>
            </a:r>
            <a:r>
              <a:rPr lang="en-US" dirty="0">
                <a:effectLst/>
              </a:rPr>
              <a:t>can be a challenge. On </a:t>
            </a:r>
            <a:r>
              <a:rPr lang="en-US" baseline="0" dirty="0">
                <a:effectLst/>
              </a:rPr>
              <a:t>top of that, the utilities customers they serve are looking to get more value out of the data they have, especially as they invest in technology like smart sensors and meters that can improve efficiency.   </a:t>
            </a:r>
            <a:r>
              <a:rPr lang="en-US" dirty="0">
                <a:effectLst/>
              </a:rPr>
              <a:t> </a:t>
            </a:r>
          </a:p>
          <a:p>
            <a:endParaRPr lang="en-US" dirty="0">
              <a:effectLst/>
            </a:endParaRPr>
          </a:p>
          <a:p>
            <a:r>
              <a:rPr lang="en-US" dirty="0" err="1">
                <a:effectLst/>
              </a:rPr>
              <a:t>eSmart</a:t>
            </a:r>
            <a:r>
              <a:rPr lang="en-US" baseline="0" dirty="0">
                <a:effectLst/>
              </a:rPr>
              <a:t> is addressing these needs by </a:t>
            </a:r>
            <a:r>
              <a:rPr lang="en-US" dirty="0">
                <a:effectLst/>
              </a:rPr>
              <a:t>turning to the Microsoft Azure cloud platform, and using Azure Machine Learning (ML) as the brains of the modern smart grid. </a:t>
            </a:r>
          </a:p>
          <a:p>
            <a:r>
              <a:rPr lang="en-US" dirty="0">
                <a:effectLst/>
              </a:rPr>
              <a:t>They</a:t>
            </a:r>
            <a:r>
              <a:rPr lang="en-US" baseline="0" dirty="0">
                <a:effectLst/>
              </a:rPr>
              <a:t> </a:t>
            </a:r>
            <a:r>
              <a:rPr lang="en-US" dirty="0">
                <a:effectLst/>
              </a:rPr>
              <a:t>designed an automated demand response solution that collects data from virtually any type of meter or sensor. It then runs predictive models in Azure ML to forecast potential capacity problems and automatically control load to buildings or other infrastructure to prevent outages. </a:t>
            </a:r>
            <a:r>
              <a:rPr lang="en-US" baseline="0" dirty="0">
                <a:effectLst/>
              </a:rPr>
              <a:t> </a:t>
            </a:r>
            <a:r>
              <a:rPr lang="en-US" dirty="0">
                <a:effectLst/>
              </a:rPr>
              <a:t>Data is collected from smart sensors and meters in Azure Storage blobs, and then run through predictive models on Azure ML. Next, the information is analyzed on a Hadoop cluster with Azure HDInsight for a closer look at usage. </a:t>
            </a:r>
            <a:r>
              <a:rPr lang="en-US" dirty="0" err="1">
                <a:effectLst/>
              </a:rPr>
              <a:t>eSmart</a:t>
            </a:r>
            <a:r>
              <a:rPr lang="en-US" dirty="0">
                <a:effectLst/>
              </a:rPr>
              <a:t> provides access to the data in several ways. For example, the data is either visualized by grid operators through an interface created by </a:t>
            </a:r>
            <a:r>
              <a:rPr lang="en-US" dirty="0" err="1">
                <a:effectLst/>
              </a:rPr>
              <a:t>eSmart</a:t>
            </a:r>
            <a:r>
              <a:rPr lang="en-US" dirty="0">
                <a:effectLst/>
              </a:rPr>
              <a:t>, or made more widely available to business users through interactive Microsoft Power BI dashboards. Power BI provides the additional advantage of on-the-fly, custom analytics.</a:t>
            </a:r>
            <a:br>
              <a:rPr lang="en-US" dirty="0"/>
            </a:br>
            <a:br>
              <a:rPr lang="en-US" dirty="0">
                <a:effectLst/>
              </a:rPr>
            </a:br>
            <a:r>
              <a:rPr lang="en-US" dirty="0">
                <a:effectLst/>
              </a:rPr>
              <a:t>Initially focused on demand response management, the company plans to extend its solution to include predictive maintenance. By taking advantage of Microsoft cloud services, the </a:t>
            </a:r>
            <a:r>
              <a:rPr lang="en-US" dirty="0" err="1">
                <a:effectLst/>
              </a:rPr>
              <a:t>eSmart</a:t>
            </a:r>
            <a:r>
              <a:rPr lang="en-US" dirty="0">
                <a:effectLst/>
              </a:rPr>
              <a:t> System Platform can easily optimize virtually any energy management scenario, such as specialized deployments for commercial buildings and electric vehicles.</a:t>
            </a:r>
          </a:p>
          <a:p>
            <a:endParaRPr lang="en-US" dirty="0">
              <a:effectLst/>
            </a:endParaRPr>
          </a:p>
          <a:p>
            <a:r>
              <a:rPr lang="en-US" dirty="0">
                <a:effectLst/>
              </a:rPr>
              <a:t>Benefits of this solution include: </a:t>
            </a:r>
          </a:p>
          <a:p>
            <a:pPr marL="177800" indent="-177800">
              <a:buFont typeface="Arial" panose="020B0604020202020204" pitchFamily="34" charset="0"/>
              <a:buChar char="•"/>
            </a:pPr>
            <a:r>
              <a:rPr lang="en-US" sz="1200" kern="0" dirty="0">
                <a:solidFill>
                  <a:schemeClr val="bg1"/>
                </a:solidFill>
                <a:latin typeface="+mn-lt"/>
                <a:ea typeface="+mn-ea"/>
                <a:cs typeface="+mn-cs"/>
              </a:rPr>
              <a:t>Improved grid management with demand forecasting</a:t>
            </a:r>
          </a:p>
          <a:p>
            <a:pPr marL="177800" indent="-177800">
              <a:buFont typeface="Arial" panose="020B0604020202020204" pitchFamily="34" charset="0"/>
              <a:buChar char="•"/>
            </a:pPr>
            <a:r>
              <a:rPr lang="en-US" sz="1200" kern="0" dirty="0">
                <a:solidFill>
                  <a:schemeClr val="bg1"/>
                </a:solidFill>
                <a:latin typeface="+mn-lt"/>
                <a:ea typeface="+mn-ea"/>
                <a:cs typeface="+mn-cs"/>
              </a:rPr>
              <a:t>Optimized UIs to help </a:t>
            </a:r>
            <a:r>
              <a:rPr lang="en-US" sz="1200" kern="0" baseline="0" dirty="0">
                <a:solidFill>
                  <a:schemeClr val="bg1"/>
                </a:solidFill>
                <a:latin typeface="+mn-lt"/>
                <a:ea typeface="+mn-ea"/>
                <a:cs typeface="+mn-cs"/>
              </a:rPr>
              <a:t>utilities </a:t>
            </a:r>
            <a:r>
              <a:rPr lang="en-US" sz="1200" kern="0" dirty="0">
                <a:solidFill>
                  <a:schemeClr val="bg1"/>
                </a:solidFill>
                <a:latin typeface="+mn-lt"/>
                <a:ea typeface="+mn-ea"/>
                <a:cs typeface="+mn-cs"/>
              </a:rPr>
              <a:t>better manage their data</a:t>
            </a:r>
          </a:p>
          <a:p>
            <a:pPr marL="177800" marR="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solidFill>
                  <a:schemeClr val="bg1"/>
                </a:solidFill>
                <a:latin typeface="+mn-lt"/>
                <a:ea typeface="+mn-ea"/>
                <a:cs typeface="+mn-cs"/>
              </a:rPr>
              <a:t>The ability to integrate new energy sources and technologies</a:t>
            </a:r>
          </a:p>
          <a:p>
            <a:pPr marL="177800" marR="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solidFill>
                  <a:schemeClr val="bg1"/>
                </a:solidFill>
                <a:latin typeface="+mn-lt"/>
                <a:ea typeface="+mn-ea"/>
                <a:cs typeface="+mn-cs"/>
              </a:rPr>
              <a:t>Cost savings </a:t>
            </a:r>
            <a:r>
              <a:rPr lang="en-US" sz="1200" kern="0" baseline="0" dirty="0">
                <a:solidFill>
                  <a:schemeClr val="bg1"/>
                </a:solidFill>
                <a:latin typeface="+mn-lt"/>
                <a:ea typeface="+mn-ea"/>
                <a:cs typeface="+mn-cs"/>
              </a:rPr>
              <a:t>from moving load to off-peak hours, and a</a:t>
            </a:r>
            <a:r>
              <a:rPr lang="en-US" sz="1200" kern="0" dirty="0">
                <a:solidFill>
                  <a:schemeClr val="bg1"/>
                </a:solidFill>
                <a:latin typeface="+mn-lt"/>
                <a:ea typeface="+mn-ea"/>
                <a:cs typeface="+mn-cs"/>
              </a:rPr>
              <a:t>voidance of costly investment in both grid and IT infrastructure</a:t>
            </a:r>
            <a:r>
              <a:rPr lang="en-US" sz="1200" kern="0" baseline="0" dirty="0">
                <a:solidFill>
                  <a:schemeClr val="bg1"/>
                </a:solidFill>
                <a:latin typeface="+mn-lt"/>
                <a:ea typeface="+mn-ea"/>
                <a:cs typeface="+mn-cs"/>
              </a:rPr>
              <a:t> </a:t>
            </a:r>
          </a:p>
          <a:p>
            <a:pPr marL="635000" marR="0" lvl="1"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effectLst/>
              </a:rPr>
              <a:t>Utilities try to stretch their investment by moving some of the load from peak to off-peak hours, because it’s costly to upgrade the </a:t>
            </a:r>
            <a:r>
              <a:rPr lang="en-US" dirty="0"/>
              <a:t>grid.</a:t>
            </a:r>
            <a:r>
              <a:rPr lang="en-US" baseline="0" dirty="0"/>
              <a:t> </a:t>
            </a:r>
            <a:r>
              <a:rPr lang="en-US" dirty="0"/>
              <a:t>Using</a:t>
            </a:r>
            <a:r>
              <a:rPr lang="en-US" dirty="0">
                <a:effectLst/>
              </a:rPr>
              <a:t> the </a:t>
            </a:r>
            <a:r>
              <a:rPr lang="en-US" dirty="0" err="1">
                <a:effectLst/>
              </a:rPr>
              <a:t>eSmart</a:t>
            </a:r>
            <a:r>
              <a:rPr lang="en-US" dirty="0">
                <a:effectLst/>
              </a:rPr>
              <a:t> energy management platform based on Azure, utilities can cut peak hours, avoid upgrades, and save a lot of money.</a:t>
            </a:r>
          </a:p>
          <a:p>
            <a:pPr marL="177800" indent="-177800" algn="l" defTabSz="914367" rtl="0" eaLnBrk="1" latinLnBrk="0" hangingPunct="1">
              <a:buFont typeface="Arial" panose="020B0604020202020204" pitchFamily="34" charset="0"/>
              <a:buChar char="•"/>
            </a:pPr>
            <a:endParaRPr lang="en-US" dirty="0">
              <a:effectLst/>
            </a:endParaRPr>
          </a:p>
          <a:p>
            <a:r>
              <a:rPr lang="en-US" b="1" dirty="0" err="1">
                <a:effectLst/>
              </a:rPr>
              <a:t>eSmart</a:t>
            </a:r>
            <a:r>
              <a:rPr lang="en-US" b="1" dirty="0">
                <a:effectLst/>
              </a:rPr>
              <a:t> Systems</a:t>
            </a:r>
            <a:r>
              <a:rPr lang="en-US" b="1" baseline="0" dirty="0">
                <a:effectLst/>
              </a:rPr>
              <a:t> case study: </a:t>
            </a:r>
            <a:r>
              <a:rPr lang="en-US" u="sng" dirty="0">
                <a:hlinkClick r:id="rId3"/>
              </a:rPr>
              <a:t>https://customers.microsoft.com/Pages/CustomerStory.aspx?recid=18945</a:t>
            </a:r>
            <a:r>
              <a:rPr lang="en-US" dirty="0"/>
              <a:t> </a:t>
            </a:r>
          </a:p>
        </p:txBody>
      </p:sp>
      <p:sp>
        <p:nvSpPr>
          <p:cNvPr id="4" name="Slide Number Placeholder 3"/>
          <p:cNvSpPr>
            <a:spLocks noGrp="1"/>
          </p:cNvSpPr>
          <p:nvPr>
            <p:ph type="sldNum" sz="quarter" idx="10"/>
          </p:nvPr>
        </p:nvSpPr>
        <p:spPr/>
        <p:txBody>
          <a:bodyPr/>
          <a:lstStyle/>
          <a:p>
            <a:fld id="{96CD5F8F-46C9-46A5-9E1B-00B0A72B40BF}" type="slidenum">
              <a:rPr lang="en-US" smtClean="0">
                <a:solidFill>
                  <a:prstClr val="black"/>
                </a:solidFill>
              </a:rPr>
              <a:pPr/>
              <a:t>41</a:t>
            </a:fld>
            <a:endParaRPr lang="en-US">
              <a:solidFill>
                <a:prstClr val="black"/>
              </a:solidFill>
            </a:endParaRPr>
          </a:p>
        </p:txBody>
      </p:sp>
    </p:spTree>
    <p:extLst>
      <p:ext uri="{BB962C8B-B14F-4D97-AF65-F5344CB8AC3E}">
        <p14:creationId xmlns:p14="http://schemas.microsoft.com/office/powerpoint/2010/main" val="352083732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Video:</a:t>
            </a:r>
            <a:r>
              <a:rPr lang="en-US" b="0" baseline="0" dirty="0"/>
              <a:t> </a:t>
            </a:r>
            <a:r>
              <a:rPr lang="en-US" dirty="0"/>
              <a:t>https://www.youtube.com/watch?v=iAxNtJVwcrE </a:t>
            </a:r>
          </a:p>
        </p:txBody>
      </p:sp>
      <p:sp>
        <p:nvSpPr>
          <p:cNvPr id="4" name="Slide Number Placeholder 3"/>
          <p:cNvSpPr>
            <a:spLocks noGrp="1"/>
          </p:cNvSpPr>
          <p:nvPr>
            <p:ph type="sldNum" sz="quarter" idx="10"/>
          </p:nvPr>
        </p:nvSpPr>
        <p:spPr/>
        <p:txBody>
          <a:bodyPr/>
          <a:lstStyle/>
          <a:p>
            <a:fld id="{96CD5F8F-46C9-46A5-9E1B-00B0A72B40BF}" type="slidenum">
              <a:rPr lang="en-US" smtClean="0">
                <a:solidFill>
                  <a:prstClr val="black"/>
                </a:solidFill>
              </a:rPr>
              <a:pPr/>
              <a:t>42</a:t>
            </a:fld>
            <a:endParaRPr lang="en-US">
              <a:solidFill>
                <a:prstClr val="black"/>
              </a:solidFill>
            </a:endParaRPr>
          </a:p>
        </p:txBody>
      </p:sp>
    </p:spTree>
    <p:extLst>
      <p:ext uri="{BB962C8B-B14F-4D97-AF65-F5344CB8AC3E}">
        <p14:creationId xmlns:p14="http://schemas.microsoft.com/office/powerpoint/2010/main" val="410125644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levator manufacturer</a:t>
            </a:r>
            <a:r>
              <a:rPr lang="en-US" baseline="0" dirty="0"/>
              <a:t> </a:t>
            </a:r>
            <a:r>
              <a:rPr lang="en-US" dirty="0"/>
              <a:t>ThyssenKrupp</a:t>
            </a:r>
            <a:r>
              <a:rPr lang="en-US" baseline="0" dirty="0"/>
              <a:t> </a:t>
            </a:r>
            <a:r>
              <a:rPr lang="en-US" dirty="0">
                <a:effectLst/>
              </a:rPr>
              <a:t>wanted to gain a competitive edge by focusing on what matters most to its customers in buildings the world over: reliability. </a:t>
            </a:r>
          </a:p>
          <a:p>
            <a:r>
              <a:rPr lang="en-US" dirty="0">
                <a:effectLst/>
              </a:rPr>
              <a:t>By connecting its elevators to the cloud, gathering data from its sensors and systems, and transforming that data into valuable business intelligence, ThyssenKrupp is vastly improving operations, and offering something its competitors do not: predictive and even preemptive maintenance.</a:t>
            </a:r>
            <a:endParaRPr lang="en-US" baseline="0" dirty="0"/>
          </a:p>
          <a:p>
            <a:endParaRPr lang="en-US" dirty="0"/>
          </a:p>
          <a:p>
            <a:pPr>
              <a:defRPr/>
            </a:pPr>
            <a:r>
              <a:rPr lang="en-US" dirty="0"/>
              <a:t>ThyssenKrupp developed a connected asset monitoring system that securely connects thousands of sensors and systems to the cloud. ThyssenKrupp can now monitor everything from motor temperature to shaft alignment, cab speed to door functioning and extract insights to help address downtime and improve reliability. Its</a:t>
            </a:r>
            <a:r>
              <a:rPr lang="en-US" baseline="0" dirty="0"/>
              <a:t> solution </a:t>
            </a:r>
            <a:r>
              <a:rPr lang="en-US" dirty="0">
                <a:effectLst/>
              </a:rPr>
              <a:t>captures data, transmits it into the cloud and combines it into a single dashboard that serves up two basic types of data: alarms that indicate an immediate issue, and events, which are stored and used for management. The solution provides technicians with instant diagnostic capabilities and rich, real-time data visualization.</a:t>
            </a:r>
          </a:p>
          <a:p>
            <a:pPr>
              <a:defRPr/>
            </a:pPr>
            <a:endParaRPr lang="en-US" dirty="0"/>
          </a:p>
          <a:p>
            <a:pPr>
              <a:defRPr/>
            </a:pPr>
            <a:r>
              <a:rPr lang="en-US" dirty="0"/>
              <a:t>With this data and insight, ThyssenKrupp</a:t>
            </a:r>
            <a:r>
              <a:rPr lang="en-US" baseline="0" dirty="0"/>
              <a:t> </a:t>
            </a:r>
            <a:r>
              <a:rPr lang="en-US" dirty="0"/>
              <a:t>has the foundation required to offer a new class</a:t>
            </a:r>
            <a:r>
              <a:rPr lang="en-US" baseline="0" dirty="0"/>
              <a:t> of </a:t>
            </a:r>
            <a:r>
              <a:rPr lang="en-US" dirty="0"/>
              <a:t>maintenance services along with their </a:t>
            </a:r>
            <a:r>
              <a:rPr lang="en-US" baseline="0" dirty="0"/>
              <a:t>elevators</a:t>
            </a:r>
            <a:r>
              <a:rPr lang="en-US" dirty="0"/>
              <a:t>,</a:t>
            </a:r>
            <a:r>
              <a:rPr lang="en-US" baseline="0" dirty="0"/>
              <a:t> </a:t>
            </a:r>
            <a:r>
              <a:rPr lang="en-US" dirty="0"/>
              <a:t>expanding their value proposition to their customers, both new and existing.</a:t>
            </a:r>
          </a:p>
          <a:p>
            <a:pPr>
              <a:defRPr/>
            </a:pPr>
            <a:endParaRPr lang="en-US" dirty="0">
              <a:effectLst/>
            </a:endParaRPr>
          </a:p>
          <a:p>
            <a:r>
              <a:rPr lang="en-US" dirty="0">
                <a:effectLst/>
              </a:rPr>
              <a:t>With Microsoft Azure Machine Learning (Azure ML) service, ThyssenKrupp has an unprecedented view into elevator operations and maintenance, now and in the future. The system contains an intelligent information loop: Data from elevators is fed into dynamic predictive models, which continually update datasets via seamless integration with Azure. </a:t>
            </a:r>
            <a:r>
              <a:rPr lang="en-US" baseline="0" dirty="0">
                <a:effectLst/>
              </a:rPr>
              <a:t> </a:t>
            </a:r>
            <a:r>
              <a:rPr lang="en-US" dirty="0">
                <a:effectLst/>
              </a:rPr>
              <a:t>Now, the elevators can actually teach technicians how to fix them. With up to 400 error codes possible on any given elevator,</a:t>
            </a:r>
            <a:r>
              <a:rPr lang="en-US" baseline="0" dirty="0">
                <a:effectLst/>
              </a:rPr>
              <a:t> </a:t>
            </a:r>
            <a:r>
              <a:rPr lang="en-US" dirty="0">
                <a:effectLst/>
              </a:rPr>
              <a:t>that can significantly sharpen efficiency in the field, resulting in dramatically increased elevator uptime.</a:t>
            </a:r>
          </a:p>
          <a:p>
            <a:pPr>
              <a:defRPr/>
            </a:pPr>
            <a:endParaRPr lang="en-US" dirty="0"/>
          </a:p>
          <a:p>
            <a:pPr>
              <a:defRPr/>
            </a:pPr>
            <a:r>
              <a:rPr lang="en-US" b="1" dirty="0"/>
              <a:t>ThyssenKrupp</a:t>
            </a:r>
            <a:r>
              <a:rPr lang="en-US" b="1" baseline="0" dirty="0"/>
              <a:t> case study</a:t>
            </a:r>
            <a:r>
              <a:rPr lang="en-US" baseline="0" dirty="0"/>
              <a:t>: https://www.microsoft.com/en-us/server-cloud/customer-stories/thyssen-krupp-elevator.aspx</a:t>
            </a:r>
            <a:endParaRPr lang="en-US" dirty="0"/>
          </a:p>
        </p:txBody>
      </p:sp>
      <p:sp>
        <p:nvSpPr>
          <p:cNvPr id="4" name="Slide Number Placeholder 3"/>
          <p:cNvSpPr>
            <a:spLocks noGrp="1"/>
          </p:cNvSpPr>
          <p:nvPr>
            <p:ph type="sldNum" sz="quarter" idx="10"/>
          </p:nvPr>
        </p:nvSpPr>
        <p:spPr/>
        <p:txBody>
          <a:bodyPr/>
          <a:lstStyle/>
          <a:p>
            <a:fld id="{96CD5F8F-46C9-46A5-9E1B-00B0A72B40BF}" type="slidenum">
              <a:rPr lang="en-US" smtClean="0">
                <a:solidFill>
                  <a:prstClr val="black"/>
                </a:solidFill>
              </a:rPr>
              <a:pPr/>
              <a:t>43</a:t>
            </a:fld>
            <a:endParaRPr lang="en-US">
              <a:solidFill>
                <a:prstClr val="black"/>
              </a:solidFill>
            </a:endParaRPr>
          </a:p>
        </p:txBody>
      </p:sp>
    </p:spTree>
    <p:extLst>
      <p:ext uri="{BB962C8B-B14F-4D97-AF65-F5344CB8AC3E}">
        <p14:creationId xmlns:p14="http://schemas.microsoft.com/office/powerpoint/2010/main" val="2442731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Video:</a:t>
            </a:r>
          </a:p>
          <a:p>
            <a:pPr marL="171450" indent="-171450">
              <a:buFont typeface="Arial" panose="020B0604020202020204" pitchFamily="34" charset="0"/>
              <a:buChar char="•"/>
            </a:pPr>
            <a:r>
              <a:rPr lang="en-US" dirty="0"/>
              <a:t>Public URL: </a:t>
            </a:r>
            <a:r>
              <a:rPr lang="en-US" b="0" dirty="0"/>
              <a:t>https://www.youtube.com/watch?v=jhrhBgZphBw</a:t>
            </a:r>
          </a:p>
          <a:p>
            <a:pPr marL="171450" indent="-171450">
              <a:buFont typeface="Arial" panose="020B0604020202020204" pitchFamily="34" charset="0"/>
              <a:buChar char="•"/>
            </a:pPr>
            <a:r>
              <a:rPr lang="en-US" dirty="0"/>
              <a:t>Internal URL:</a:t>
            </a:r>
            <a:r>
              <a:rPr lang="en-US" baseline="0" dirty="0"/>
              <a:t> </a:t>
            </a:r>
            <a:r>
              <a:rPr lang="en-US" sz="1200" u="sng" kern="1200" dirty="0">
                <a:solidFill>
                  <a:schemeClr val="tx1"/>
                </a:solidFill>
                <a:effectLst/>
                <a:latin typeface="+mn-lt"/>
                <a:ea typeface="+mn-ea"/>
                <a:cs typeface="+mn-cs"/>
                <a:hlinkClick r:id="rId3"/>
              </a:rPr>
              <a:t>https://microsoft.sharepoint.com/sites/academy/media/Catalog/AEVD-3-99448</a:t>
            </a:r>
            <a:r>
              <a:rPr lang="en-US" sz="1200" kern="1200" dirty="0">
                <a:solidFill>
                  <a:schemeClr val="tx1"/>
                </a:solidFill>
                <a:effectLst/>
                <a:latin typeface="+mn-lt"/>
                <a:ea typeface="+mn-ea"/>
                <a:cs typeface="+mn-cs"/>
              </a:rPr>
              <a:t> </a:t>
            </a:r>
            <a:endParaRPr lang="en-US" dirty="0"/>
          </a:p>
          <a:p>
            <a:endParaRPr lang="en-US" dirty="0">
              <a:hlinkClick r:id="rId4"/>
            </a:endParaRPr>
          </a:p>
          <a:p>
            <a:r>
              <a:rPr lang="en-US" b="1" dirty="0"/>
              <a:t>Additional</a:t>
            </a:r>
            <a:r>
              <a:rPr lang="en-US" b="1" baseline="0" dirty="0"/>
              <a:t> demo assets:</a:t>
            </a:r>
          </a:p>
          <a:p>
            <a:pPr marL="171450" indent="-171450">
              <a:buFont typeface="Arial" panose="020B0604020202020204" pitchFamily="34" charset="0"/>
              <a:buChar char="•"/>
            </a:pPr>
            <a:r>
              <a:rPr lang="en-US" b="1" baseline="0" dirty="0"/>
              <a:t>Internal: </a:t>
            </a:r>
            <a:r>
              <a:rPr lang="en-US" baseline="0" dirty="0"/>
              <a:t>https://microsoft.sharepoint.com/sites/Infopedia_G05KC/Pages/Custom/ThyssenkruppDemo.aspx </a:t>
            </a:r>
          </a:p>
          <a:p>
            <a:pPr marL="171450" indent="-171450">
              <a:buFont typeface="Arial" panose="020B0604020202020204" pitchFamily="34" charset="0"/>
              <a:buChar char="•"/>
            </a:pPr>
            <a:r>
              <a:rPr lang="en-US" b="1" baseline="0" dirty="0"/>
              <a:t>Public: </a:t>
            </a:r>
            <a:r>
              <a:rPr lang="en-US" dirty="0">
                <a:hlinkClick r:id="" action="ppaction://noaction"/>
              </a:rPr>
              <a:t>https://readytogo.microsoft.com/global/_layouts/RTG/AssetViewer.aspx?AssetUrl=https%3a%2f%2freadytogo.microsoft.com%2fglobal%2fAsset%2fPages%2fTKE%20Demo.aspx</a:t>
            </a:r>
            <a:endParaRPr lang="en-US" dirty="0"/>
          </a:p>
        </p:txBody>
      </p:sp>
      <p:sp>
        <p:nvSpPr>
          <p:cNvPr id="4" name="Slide Number Placeholder 3"/>
          <p:cNvSpPr>
            <a:spLocks noGrp="1"/>
          </p:cNvSpPr>
          <p:nvPr>
            <p:ph type="sldNum" sz="quarter" idx="10"/>
          </p:nvPr>
        </p:nvSpPr>
        <p:spPr/>
        <p:txBody>
          <a:bodyPr/>
          <a:lstStyle/>
          <a:p>
            <a:fld id="{96CD5F8F-46C9-46A5-9E1B-00B0A72B40BF}" type="slidenum">
              <a:rPr lang="en-US" smtClean="0">
                <a:solidFill>
                  <a:prstClr val="black"/>
                </a:solidFill>
              </a:rPr>
              <a:pPr/>
              <a:t>44</a:t>
            </a:fld>
            <a:endParaRPr lang="en-US">
              <a:solidFill>
                <a:prstClr val="black"/>
              </a:solidFill>
            </a:endParaRPr>
          </a:p>
        </p:txBody>
      </p:sp>
    </p:spTree>
    <p:extLst>
      <p:ext uri="{BB962C8B-B14F-4D97-AF65-F5344CB8AC3E}">
        <p14:creationId xmlns:p14="http://schemas.microsoft.com/office/powerpoint/2010/main" val="132518929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a few things you can do today.</a:t>
            </a:r>
          </a:p>
          <a:p>
            <a:endParaRPr lang="en-US" baseline="0" dirty="0"/>
          </a:p>
          <a:p>
            <a:r>
              <a:rPr lang="en-US" baseline="0" dirty="0"/>
              <a:t>We have also created a lot of trainings so that you can better understand the product and how it can help your company</a:t>
            </a:r>
          </a:p>
          <a:p>
            <a:endParaRPr lang="en-US" baseline="0" dirty="0"/>
          </a:p>
          <a:p>
            <a:r>
              <a:rPr lang="en-US" baseline="0" dirty="0"/>
              <a:t>As far as partners, we have a large network that is ready and able to help </a:t>
            </a:r>
            <a:r>
              <a:rPr lang="en-US" baseline="0" dirty="0" err="1"/>
              <a:t>tailer</a:t>
            </a:r>
            <a:r>
              <a:rPr lang="en-US" baseline="0" dirty="0"/>
              <a:t> the suite and its functions to your needs</a:t>
            </a:r>
          </a:p>
          <a:p>
            <a:endParaRPr lang="en-US" baseline="0" dirty="0"/>
          </a:p>
          <a:p>
            <a:r>
              <a:rPr lang="en-US" baseline="0" dirty="0"/>
              <a:t>If you are interested in becoming a partner, follow the link on this slide and we will be in touch</a:t>
            </a:r>
          </a:p>
          <a:p>
            <a:endParaRPr lang="en-US" baseline="0" dirty="0"/>
          </a:p>
          <a:p>
            <a:r>
              <a:rPr lang="en-US" b="1" baseline="0" dirty="0"/>
              <a:t>IF SHOWING VIDEO: I’d like to end on a short video showing one more great example using Cortana Intelligence</a:t>
            </a:r>
          </a:p>
          <a:p>
            <a:endParaRPr lang="en-US" b="1" baseline="0" dirty="0"/>
          </a:p>
          <a:p>
            <a:r>
              <a:rPr lang="en-US" b="1" baseline="0" dirty="0"/>
              <a:t>Thank you all for attending.</a:t>
            </a:r>
            <a:endParaRPr lang="en-US" b="1"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6/2017 2:1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147105903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s for your time. </a:t>
            </a:r>
          </a:p>
        </p:txBody>
      </p:sp>
      <p:sp>
        <p:nvSpPr>
          <p:cNvPr id="4" name="Slide Number Placeholder 3"/>
          <p:cNvSpPr>
            <a:spLocks noGrp="1"/>
          </p:cNvSpPr>
          <p:nvPr>
            <p:ph type="sldNum" sz="quarter" idx="10"/>
          </p:nvPr>
        </p:nvSpPr>
        <p:spPr/>
        <p:txBody>
          <a:bodyPr/>
          <a:lstStyle/>
          <a:p>
            <a:fld id="{96CD5F8F-46C9-46A5-9E1B-00B0A72B40BF}" type="slidenum">
              <a:rPr lang="en-US" smtClean="0"/>
              <a:t>46</a:t>
            </a:fld>
            <a:endParaRPr lang="en-US"/>
          </a:p>
        </p:txBody>
      </p:sp>
    </p:spTree>
    <p:extLst>
      <p:ext uri="{BB962C8B-B14F-4D97-AF65-F5344CB8AC3E}">
        <p14:creationId xmlns:p14="http://schemas.microsoft.com/office/powerpoint/2010/main" val="358956630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youtube.com/watch?v=YxmAEMmwXYU </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6/2017 2:1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61264299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solidFill>
                  <a:prstClr val="black"/>
                </a:solidFill>
              </a:rPr>
              <a:t> Page </a:t>
            </a:r>
            <a:fld id="{8B263312-38AA-4E1E-B2B5-0F8F122B24FE}" type="slidenum">
              <a:rPr lang="en-US" smtClean="0">
                <a:solidFill>
                  <a:prstClr val="black"/>
                </a:solidFill>
              </a:rPr>
              <a:pPr/>
              <a:t>50</a:t>
            </a:fld>
            <a:endParaRPr lang="en-US" dirty="0">
              <a:solidFill>
                <a:prstClr val="black"/>
              </a:solidFill>
            </a:endParaRPr>
          </a:p>
        </p:txBody>
      </p:sp>
      <p:sp>
        <p:nvSpPr>
          <p:cNvPr id="5" name="Header Placeholder 4"/>
          <p:cNvSpPr>
            <a:spLocks noGrp="1"/>
          </p:cNvSpPr>
          <p:nvPr>
            <p:ph type="hdr" sz="quarter" idx="11"/>
          </p:nvPr>
        </p:nvSpPr>
        <p:spPr/>
        <p:txBody>
          <a:bodyPr/>
          <a:lstStyle/>
          <a:p>
            <a:r>
              <a:rPr lang="en-US" dirty="0">
                <a:solidFill>
                  <a:prstClr val="black"/>
                </a:solidFill>
              </a:rPr>
              <a:t>Bing SMB Advertisers – Search Ads</a:t>
            </a:r>
          </a:p>
        </p:txBody>
      </p:sp>
      <p:sp>
        <p:nvSpPr>
          <p:cNvPr id="6" name="Date Placeholder 5"/>
          <p:cNvSpPr>
            <a:spLocks noGrp="1"/>
          </p:cNvSpPr>
          <p:nvPr>
            <p:ph type="dt" idx="12"/>
          </p:nvPr>
        </p:nvSpPr>
        <p:spPr/>
        <p:txBody>
          <a:bodyPr/>
          <a:lstStyle/>
          <a:p>
            <a:fld id="{6DD6122A-EA2F-4351-B53A-6D2F1E06B822}" type="datetime1">
              <a:rPr lang="en-US" smtClean="0">
                <a:solidFill>
                  <a:prstClr val="black"/>
                </a:solidFill>
              </a:rPr>
              <a:pPr/>
              <a:t>3/6/2017</a:t>
            </a:fld>
            <a:endParaRPr lang="en-US" dirty="0">
              <a:solidFill>
                <a:prstClr val="black"/>
              </a:solidFill>
            </a:endParaRPr>
          </a:p>
        </p:txBody>
      </p:sp>
      <p:sp>
        <p:nvSpPr>
          <p:cNvPr id="7" name="Footer Placeholder 6"/>
          <p:cNvSpPr>
            <a:spLocks noGrp="1"/>
          </p:cNvSpPr>
          <p:nvPr>
            <p:ph type="ftr" sz="quarter" idx="13"/>
          </p:nvPr>
        </p:nvSpPr>
        <p:spPr/>
        <p:txBody>
          <a:bodyPr/>
          <a:lstStyle/>
          <a:p>
            <a:r>
              <a:rPr lang="en-US" dirty="0">
                <a:solidFill>
                  <a:srgbClr val="000000"/>
                </a:solidFill>
                <a:latin typeface="Segoe Light" pitchFamily="34" charset="0"/>
              </a:rPr>
              <a:t>© 2012 Microsoft Corporation. All rights reserved. Microsoft, Windows, Windows Vista and other product names are or may be registered trademarks and/or trademarks in the U.S. and/or other countries.</a:t>
            </a:r>
          </a:p>
          <a:p>
            <a:r>
              <a:rPr lang="en-US" dirty="0">
                <a:solidFill>
                  <a:srgbClr val="000000"/>
                </a:solidFill>
                <a:latin typeface="Segoe Light"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Segoe Light" pitchFamily="34" charset="0"/>
              </a:rPr>
            </a:br>
            <a:r>
              <a:rPr lang="en-US" dirty="0">
                <a:solidFill>
                  <a:srgbClr val="000000"/>
                </a:solidFill>
                <a:latin typeface="Segoe Light"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175065729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solidFill>
                  <a:prstClr val="black"/>
                </a:solidFill>
              </a:rPr>
              <a:t> Page </a:t>
            </a:r>
            <a:fld id="{8B263312-38AA-4E1E-B2B5-0F8F122B24FE}" type="slidenum">
              <a:rPr lang="en-US" smtClean="0">
                <a:solidFill>
                  <a:prstClr val="black"/>
                </a:solidFill>
              </a:rPr>
              <a:pPr/>
              <a:t>51</a:t>
            </a:fld>
            <a:endParaRPr lang="en-US" dirty="0">
              <a:solidFill>
                <a:prstClr val="black"/>
              </a:solidFill>
            </a:endParaRPr>
          </a:p>
        </p:txBody>
      </p:sp>
      <p:sp>
        <p:nvSpPr>
          <p:cNvPr id="5" name="Header Placeholder 4"/>
          <p:cNvSpPr>
            <a:spLocks noGrp="1"/>
          </p:cNvSpPr>
          <p:nvPr>
            <p:ph type="hdr" sz="quarter" idx="11"/>
          </p:nvPr>
        </p:nvSpPr>
        <p:spPr/>
        <p:txBody>
          <a:bodyPr/>
          <a:lstStyle/>
          <a:p>
            <a:r>
              <a:rPr lang="en-US" dirty="0">
                <a:solidFill>
                  <a:prstClr val="black"/>
                </a:solidFill>
              </a:rPr>
              <a:t>Bing SMB Advertisers – Search Ads</a:t>
            </a:r>
          </a:p>
        </p:txBody>
      </p:sp>
      <p:sp>
        <p:nvSpPr>
          <p:cNvPr id="6" name="Date Placeholder 5"/>
          <p:cNvSpPr>
            <a:spLocks noGrp="1"/>
          </p:cNvSpPr>
          <p:nvPr>
            <p:ph type="dt" idx="12"/>
          </p:nvPr>
        </p:nvSpPr>
        <p:spPr/>
        <p:txBody>
          <a:bodyPr/>
          <a:lstStyle/>
          <a:p>
            <a:fld id="{6DD6122A-EA2F-4351-B53A-6D2F1E06B822}" type="datetime1">
              <a:rPr lang="en-US" smtClean="0">
                <a:solidFill>
                  <a:prstClr val="black"/>
                </a:solidFill>
              </a:rPr>
              <a:pPr/>
              <a:t>3/6/2017</a:t>
            </a:fld>
            <a:endParaRPr lang="en-US" dirty="0">
              <a:solidFill>
                <a:prstClr val="black"/>
              </a:solidFill>
            </a:endParaRPr>
          </a:p>
        </p:txBody>
      </p:sp>
      <p:sp>
        <p:nvSpPr>
          <p:cNvPr id="7" name="Footer Placeholder 6"/>
          <p:cNvSpPr>
            <a:spLocks noGrp="1"/>
          </p:cNvSpPr>
          <p:nvPr>
            <p:ph type="ftr" sz="quarter" idx="13"/>
          </p:nvPr>
        </p:nvSpPr>
        <p:spPr/>
        <p:txBody>
          <a:bodyPr/>
          <a:lstStyle/>
          <a:p>
            <a:r>
              <a:rPr lang="en-US" dirty="0">
                <a:solidFill>
                  <a:srgbClr val="000000"/>
                </a:solidFill>
                <a:latin typeface="Segoe Light" pitchFamily="34" charset="0"/>
              </a:rPr>
              <a:t>© 2012 Microsoft Corporation. All rights reserved. Microsoft, Windows, Windows Vista and other product names are or may be registered trademarks and/or trademarks in the U.S. and/or other countries.</a:t>
            </a:r>
          </a:p>
          <a:p>
            <a:r>
              <a:rPr lang="en-US" dirty="0">
                <a:solidFill>
                  <a:srgbClr val="000000"/>
                </a:solidFill>
                <a:latin typeface="Segoe Light"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Segoe Light" pitchFamily="34" charset="0"/>
              </a:rPr>
            </a:br>
            <a:r>
              <a:rPr lang="en-US" dirty="0">
                <a:solidFill>
                  <a:srgbClr val="000000"/>
                </a:solidFill>
                <a:latin typeface="Segoe Light"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47194087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solidFill>
                  <a:prstClr val="black"/>
                </a:solidFill>
              </a:rPr>
              <a:t> Page </a:t>
            </a:r>
            <a:fld id="{8B263312-38AA-4E1E-B2B5-0F8F122B24FE}" type="slidenum">
              <a:rPr lang="en-US" smtClean="0">
                <a:solidFill>
                  <a:prstClr val="black"/>
                </a:solidFill>
              </a:rPr>
              <a:pPr/>
              <a:t>52</a:t>
            </a:fld>
            <a:endParaRPr lang="en-US" dirty="0">
              <a:solidFill>
                <a:prstClr val="black"/>
              </a:solidFill>
            </a:endParaRPr>
          </a:p>
        </p:txBody>
      </p:sp>
      <p:sp>
        <p:nvSpPr>
          <p:cNvPr id="5" name="Header Placeholder 4"/>
          <p:cNvSpPr>
            <a:spLocks noGrp="1"/>
          </p:cNvSpPr>
          <p:nvPr>
            <p:ph type="hdr" sz="quarter" idx="11"/>
          </p:nvPr>
        </p:nvSpPr>
        <p:spPr/>
        <p:txBody>
          <a:bodyPr/>
          <a:lstStyle/>
          <a:p>
            <a:r>
              <a:rPr lang="en-US" dirty="0">
                <a:solidFill>
                  <a:prstClr val="black"/>
                </a:solidFill>
              </a:rPr>
              <a:t>Bing SMB Advertisers – Search Ads</a:t>
            </a:r>
          </a:p>
        </p:txBody>
      </p:sp>
      <p:sp>
        <p:nvSpPr>
          <p:cNvPr id="6" name="Date Placeholder 5"/>
          <p:cNvSpPr>
            <a:spLocks noGrp="1"/>
          </p:cNvSpPr>
          <p:nvPr>
            <p:ph type="dt" idx="12"/>
          </p:nvPr>
        </p:nvSpPr>
        <p:spPr/>
        <p:txBody>
          <a:bodyPr/>
          <a:lstStyle/>
          <a:p>
            <a:fld id="{6DD6122A-EA2F-4351-B53A-6D2F1E06B822}" type="datetime1">
              <a:rPr lang="en-US" smtClean="0">
                <a:solidFill>
                  <a:prstClr val="black"/>
                </a:solidFill>
              </a:rPr>
              <a:pPr/>
              <a:t>3/6/2017</a:t>
            </a:fld>
            <a:endParaRPr lang="en-US" dirty="0">
              <a:solidFill>
                <a:prstClr val="black"/>
              </a:solidFill>
            </a:endParaRPr>
          </a:p>
        </p:txBody>
      </p:sp>
      <p:sp>
        <p:nvSpPr>
          <p:cNvPr id="7" name="Footer Placeholder 6"/>
          <p:cNvSpPr>
            <a:spLocks noGrp="1"/>
          </p:cNvSpPr>
          <p:nvPr>
            <p:ph type="ftr" sz="quarter" idx="13"/>
          </p:nvPr>
        </p:nvSpPr>
        <p:spPr/>
        <p:txBody>
          <a:bodyPr/>
          <a:lstStyle/>
          <a:p>
            <a:r>
              <a:rPr lang="en-US" dirty="0">
                <a:solidFill>
                  <a:srgbClr val="000000"/>
                </a:solidFill>
                <a:latin typeface="Segoe Light" pitchFamily="34" charset="0"/>
              </a:rPr>
              <a:t>© 2012 Microsoft Corporation. All rights reserved. Microsoft, Windows, Windows Vista and other product names are or may be registered trademarks and/or trademarks in the U.S. and/or other countries.</a:t>
            </a:r>
          </a:p>
          <a:p>
            <a:r>
              <a:rPr lang="en-US" dirty="0">
                <a:solidFill>
                  <a:srgbClr val="000000"/>
                </a:solidFill>
                <a:latin typeface="Segoe Light"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Segoe Light" pitchFamily="34" charset="0"/>
              </a:rPr>
            </a:br>
            <a:r>
              <a:rPr lang="en-US" dirty="0">
                <a:solidFill>
                  <a:srgbClr val="000000"/>
                </a:solidFill>
                <a:latin typeface="Segoe Light"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18545910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1" kern="1200" dirty="0">
                <a:solidFill>
                  <a:schemeClr val="tx1"/>
                </a:solidFill>
                <a:effectLst/>
                <a:latin typeface="+mn-lt"/>
                <a:ea typeface="+mn-ea"/>
                <a:cs typeface="+mn-cs"/>
              </a:rPr>
              <a:t>&lt;Speaker</a:t>
            </a:r>
            <a:r>
              <a:rPr lang="en-US" sz="1200" b="1" i="1" kern="1200" baseline="0" dirty="0">
                <a:solidFill>
                  <a:schemeClr val="tx1"/>
                </a:solidFill>
                <a:effectLst/>
                <a:latin typeface="+mn-lt"/>
                <a:ea typeface="+mn-ea"/>
                <a:cs typeface="+mn-cs"/>
              </a:rPr>
              <a:t> guidance: You may choose to use this slide, the slide before, or the slide after. The point of all 3 slides is the same – </a:t>
            </a:r>
            <a:r>
              <a:rPr lang="en-US" sz="1200" b="0" i="1" kern="1200" baseline="0" dirty="0">
                <a:solidFill>
                  <a:schemeClr val="tx1"/>
                </a:solidFill>
                <a:effectLst/>
                <a:latin typeface="+mn-lt"/>
                <a:ea typeface="+mn-ea"/>
                <a:cs typeface="+mn-cs"/>
              </a:rPr>
              <a:t>give examples of ways that customers are using Big Data, cloud and intelligence to transform their businesses, as a lead-in to a demo&g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1"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dirty="0"/>
              <a:t>Getting</a:t>
            </a:r>
            <a:r>
              <a:rPr lang="en-US" baseline="0" dirty="0"/>
              <a:t> ahead by leveraging Big Data, the cloud and intelligence can take a number of forms. </a:t>
            </a:r>
            <a:endParaRPr lang="en-US" sz="1200" kern="120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Segoe UI Light" pitchFamily="34" charset="0"/>
                <a:ea typeface="+mn-ea"/>
                <a:cs typeface="+mn-cs"/>
              </a:rPr>
              <a:t>It starts with understanding the data your organization has and what it can be used for.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Segoe UI Light" pitchFamily="34" charset="0"/>
                <a:ea typeface="+mn-ea"/>
                <a:cs typeface="+mn-cs"/>
              </a:rPr>
              <a:t>There are several core business scenarios where our customers are finding great success with Microsoft technologies. </a:t>
            </a:r>
            <a:br>
              <a:rPr lang="en-US" sz="1200" kern="1200" baseline="0" dirty="0">
                <a:solidFill>
                  <a:schemeClr val="tx1"/>
                </a:solidFill>
                <a:effectLst/>
                <a:latin typeface="Segoe UI Light" pitchFamily="34" charset="0"/>
                <a:ea typeface="+mn-ea"/>
                <a:cs typeface="+mn-cs"/>
              </a:rPr>
            </a:br>
            <a:r>
              <a:rPr lang="en-US" sz="1200" kern="1200" baseline="0" dirty="0">
                <a:solidFill>
                  <a:schemeClr val="tx1"/>
                </a:solidFill>
                <a:effectLst/>
                <a:latin typeface="Segoe UI Light" pitchFamily="34" charset="0"/>
                <a:ea typeface="+mn-ea"/>
                <a:cs typeface="+mn-cs"/>
              </a:rPr>
              <a:t>These can be a useful starting point as you consider how your organization could benefit.  </a:t>
            </a:r>
            <a:endParaRPr lang="en-US" baseline="0" dirty="0"/>
          </a:p>
          <a:p>
            <a:endParaRPr lang="en-US" baseline="0" dirty="0"/>
          </a:p>
          <a:p>
            <a:r>
              <a:rPr lang="en-US" baseline="0" dirty="0"/>
              <a:t>Here are a few examples of what our customers are doing to stay ahead:</a:t>
            </a:r>
          </a:p>
          <a:p>
            <a:pPr marL="171450" indent="-171450">
              <a:buFont typeface="Arial" panose="020B0604020202020204" pitchFamily="34" charset="0"/>
              <a:buChar char="•"/>
            </a:pPr>
            <a:r>
              <a:rPr lang="en-US" baseline="0" dirty="0"/>
              <a:t>They are gaining </a:t>
            </a:r>
            <a:r>
              <a:rPr lang="en-US" b="1" baseline="0" dirty="0"/>
              <a:t>better visibility into their businesses </a:t>
            </a:r>
            <a:r>
              <a:rPr lang="en-US" baseline="0" dirty="0"/>
              <a:t>and </a:t>
            </a:r>
            <a:r>
              <a:rPr lang="en-US" b="1" baseline="0" dirty="0"/>
              <a:t>making better predictions</a:t>
            </a:r>
          </a:p>
          <a:p>
            <a:pPr marL="628650" lvl="1" indent="-171450">
              <a:buFont typeface="Arial" panose="020B0604020202020204" pitchFamily="34" charset="0"/>
              <a:buChar char="•"/>
            </a:pPr>
            <a:r>
              <a:rPr lang="en-US" b="1" baseline="0" dirty="0"/>
              <a:t>In manufacturing, </a:t>
            </a:r>
            <a:r>
              <a:rPr lang="en-US" b="0" baseline="0" dirty="0"/>
              <a:t>this can involve using remote monitoring to know exactly what’s going on with equipment at customer sites or in remote locations</a:t>
            </a:r>
          </a:p>
          <a:p>
            <a:pPr marL="628650" lvl="1" indent="-171450">
              <a:buFont typeface="Arial" panose="020B0604020202020204" pitchFamily="34" charset="0"/>
              <a:buChar char="•"/>
            </a:pPr>
            <a:r>
              <a:rPr lang="en-US" b="1" baseline="0" dirty="0"/>
              <a:t>In retail</a:t>
            </a:r>
            <a:r>
              <a:rPr lang="en-US" b="0" baseline="0" dirty="0"/>
              <a:t>, this involves optimizing demand forecasting to better predict what customer demand will look like next season, or next year. </a:t>
            </a:r>
          </a:p>
          <a:p>
            <a:pPr marL="628650" lvl="1" indent="-171450">
              <a:buFont typeface="Arial" panose="020B0604020202020204" pitchFamily="34" charset="0"/>
              <a:buChar char="•"/>
            </a:pPr>
            <a:r>
              <a:rPr lang="en-US" b="1" baseline="0" dirty="0"/>
              <a:t>In financial services or other areas </a:t>
            </a:r>
            <a:r>
              <a:rPr lang="en-US" b="0" baseline="0" dirty="0"/>
              <a:t>where risk-mitigation is needed, it might involve pinpointing signs of fraud more effectively</a:t>
            </a:r>
          </a:p>
          <a:p>
            <a:pPr marL="171450" indent="-171450">
              <a:buFont typeface="Arial" panose="020B0604020202020204" pitchFamily="34" charset="0"/>
              <a:buChar char="•"/>
            </a:pPr>
            <a:r>
              <a:rPr lang="en-US" b="0" baseline="0" dirty="0"/>
              <a:t>They are using advanced analytics to e</a:t>
            </a:r>
            <a:r>
              <a:rPr lang="en-US" baseline="0" dirty="0"/>
              <a:t>nsure </a:t>
            </a:r>
            <a:r>
              <a:rPr lang="en-US" b="1" baseline="0" dirty="0"/>
              <a:t>materials, parts and products are optimally distributed to the right places at the right times</a:t>
            </a:r>
          </a:p>
          <a:p>
            <a:pPr marL="628650" lvl="1" indent="-171450">
              <a:buFont typeface="Arial" panose="020B0604020202020204" pitchFamily="34" charset="0"/>
              <a:buChar char="•"/>
            </a:pPr>
            <a:r>
              <a:rPr lang="en-US" b="1" baseline="0" dirty="0"/>
              <a:t>In manufacturing, </a:t>
            </a:r>
            <a:r>
              <a:rPr lang="en-US" b="0" baseline="0" dirty="0"/>
              <a:t>this may involve optimizing the supply chain, making sure parts are on hand in the right warehouses and at the right suppliers given historical patterns </a:t>
            </a:r>
          </a:p>
          <a:p>
            <a:pPr marL="628650" lvl="1" indent="-171450">
              <a:buFont typeface="Arial" panose="020B0604020202020204" pitchFamily="34" charset="0"/>
              <a:buChar char="•"/>
            </a:pPr>
            <a:r>
              <a:rPr lang="en-US" b="1" baseline="0" dirty="0"/>
              <a:t>In retail</a:t>
            </a:r>
            <a:r>
              <a:rPr lang="en-US" b="0" baseline="0" dirty="0"/>
              <a:t>, this involves more precisely managing inventory and ensuring it goes to the right place the first time, which preserves margins by reducing the need to ship inventory elsewhere. If a customer looks at a product online, then comes into a store to purchase it, the retailer can have advance warning and be prepared with the item in stock (or know where it is in a nearby store) </a:t>
            </a:r>
          </a:p>
          <a:p>
            <a:pPr marL="628650" lvl="1" indent="-171450">
              <a:buFont typeface="Arial" panose="020B0604020202020204" pitchFamily="34" charset="0"/>
              <a:buChar char="•"/>
            </a:pPr>
            <a:r>
              <a:rPr lang="en-US" b="0" baseline="0" dirty="0"/>
              <a:t>These are both examples of </a:t>
            </a:r>
            <a:r>
              <a:rPr lang="en-US" b="1" baseline="0" dirty="0"/>
              <a:t>better optimizing the marketing mix </a:t>
            </a:r>
            <a:r>
              <a:rPr lang="en-US" b="0" baseline="0" dirty="0"/>
              <a:t>– using advanced analytics and intelligence to ensure the right product is in the right place, at the right price</a:t>
            </a:r>
          </a:p>
          <a:p>
            <a:pPr marL="628650" lvl="1" indent="-171450">
              <a:buFont typeface="Arial" panose="020B0604020202020204" pitchFamily="34" charset="0"/>
              <a:buChar char="•"/>
            </a:pPr>
            <a:r>
              <a:rPr lang="en-US" b="1" baseline="0" dirty="0"/>
              <a:t>Across industries</a:t>
            </a:r>
            <a:r>
              <a:rPr lang="en-US" b="0" baseline="0" dirty="0"/>
              <a:t>, getting the right items to the right places contributes to </a:t>
            </a:r>
            <a:r>
              <a:rPr lang="en-US" sz="1200" b="1" kern="1200" baseline="0" dirty="0">
                <a:solidFill>
                  <a:schemeClr val="tx1"/>
                </a:solidFill>
                <a:effectLst/>
                <a:latin typeface="+mn-lt"/>
                <a:ea typeface="+mn-ea"/>
                <a:cs typeface="+mn-cs"/>
              </a:rPr>
              <a:t>o</a:t>
            </a:r>
            <a:r>
              <a:rPr lang="en-US" sz="1200" b="1" kern="1200" dirty="0">
                <a:solidFill>
                  <a:schemeClr val="tx1"/>
                </a:solidFill>
                <a:effectLst/>
                <a:latin typeface="+mn-lt"/>
                <a:ea typeface="+mn-ea"/>
                <a:cs typeface="+mn-cs"/>
              </a:rPr>
              <a:t>perational efficiency </a:t>
            </a:r>
            <a:r>
              <a:rPr lang="en-US" sz="1200" b="0" kern="1200" dirty="0">
                <a:solidFill>
                  <a:schemeClr val="tx1"/>
                </a:solidFill>
                <a:effectLst/>
                <a:latin typeface="+mn-lt"/>
                <a:ea typeface="+mn-ea"/>
                <a:cs typeface="+mn-cs"/>
              </a:rPr>
              <a:t>objectives</a:t>
            </a:r>
          </a:p>
          <a:p>
            <a:pPr marL="171450" indent="-171450">
              <a:buFont typeface="Arial" panose="020B0604020202020204" pitchFamily="34" charset="0"/>
              <a:buChar char="•"/>
            </a:pPr>
            <a:r>
              <a:rPr lang="en-US" b="1" baseline="0" dirty="0"/>
              <a:t>Offering customers what they want, when they want it, </a:t>
            </a:r>
            <a:r>
              <a:rPr lang="en-US" baseline="0" dirty="0"/>
              <a:t>using advanced analytics to develop deep, 360-degree view of customers and deliver </a:t>
            </a:r>
            <a:r>
              <a:rPr lang="en-US" b="1" baseline="0" dirty="0"/>
              <a:t>personalized experiences</a:t>
            </a:r>
          </a:p>
          <a:p>
            <a:pPr marL="628650" lvl="1" indent="-171450">
              <a:buFont typeface="Arial" panose="020B0604020202020204" pitchFamily="34" charset="0"/>
              <a:buChar char="•"/>
            </a:pPr>
            <a:r>
              <a:rPr lang="en-US" b="1" baseline="0" dirty="0"/>
              <a:t>In manufacturing, </a:t>
            </a:r>
            <a:r>
              <a:rPr lang="en-US" b="0" baseline="0" dirty="0"/>
              <a:t>this may involve tracking a customer’s use of a particular product, identifying wear patterns, offering advice on how to make the product last longer, and offering targeted promotions on replacement parts. This enables manufacturers to anticipate what customers need before they even ask. </a:t>
            </a:r>
          </a:p>
          <a:p>
            <a:pPr marL="628650" lvl="1" indent="-171450">
              <a:buFont typeface="Arial" panose="020B0604020202020204" pitchFamily="34" charset="0"/>
              <a:buChar char="•"/>
            </a:pPr>
            <a:r>
              <a:rPr lang="en-US" b="1" baseline="0" dirty="0"/>
              <a:t>In retail</a:t>
            </a:r>
            <a:r>
              <a:rPr lang="en-US" b="0" baseline="0" dirty="0"/>
              <a:t>, this can involve tracking every customer interaction and purchase, whether in-store, online, via social media, via a mobile app or other channels. Assembling a picture of the customer in this way helps retailers better predict what customers are looking for, and can offer targeted promotions and offers.</a:t>
            </a:r>
          </a:p>
          <a:p>
            <a:pPr marL="628650" lvl="1" indent="-171450">
              <a:buFont typeface="Arial" panose="020B0604020202020204" pitchFamily="34" charset="0"/>
              <a:buChar char="•"/>
            </a:pPr>
            <a:r>
              <a:rPr lang="en-US" b="1" baseline="0" dirty="0"/>
              <a:t>In financial services</a:t>
            </a:r>
            <a:r>
              <a:rPr lang="en-US" b="0" baseline="0" dirty="0"/>
              <a:t>, this might involve making more tailored product recommendations based on customer information from across channels -  from detailed demographics to social media interactions. </a:t>
            </a:r>
          </a:p>
          <a:p>
            <a:pPr marL="628650" lvl="1" indent="-171450">
              <a:buFont typeface="Arial" panose="020B0604020202020204" pitchFamily="34" charset="0"/>
              <a:buChar char="•"/>
            </a:pPr>
            <a:r>
              <a:rPr lang="en-US" b="1" baseline="0" dirty="0"/>
              <a:t>Across industries</a:t>
            </a:r>
            <a:r>
              <a:rPr lang="en-US" b="0" baseline="0" dirty="0"/>
              <a:t>, using data, advanced analytics and intelligence capabilities can support more successful new product introduction. With these technologies, you can reduce the likelihood of introducing products that flop by informing product development with data and analytics. </a:t>
            </a:r>
            <a:endParaRPr lang="en-US" baseline="0" dirty="0"/>
          </a:p>
          <a:p>
            <a:pPr marL="171450" indent="-171450">
              <a:buFont typeface="Arial" panose="020B0604020202020204" pitchFamily="34" charset="0"/>
              <a:buChar char="•"/>
            </a:pPr>
            <a:r>
              <a:rPr lang="en-US" b="1" baseline="0" dirty="0"/>
              <a:t>Fixing problems proactively, before products and equipment ever break down</a:t>
            </a:r>
          </a:p>
          <a:p>
            <a:pPr marL="628650" lvl="1" indent="-171450">
              <a:buFont typeface="Arial" panose="020B0604020202020204" pitchFamily="34" charset="0"/>
              <a:buChar char="•"/>
            </a:pPr>
            <a:r>
              <a:rPr lang="en-US" b="1" baseline="0" dirty="0"/>
              <a:t>Across many industries, </a:t>
            </a:r>
            <a:r>
              <a:rPr lang="en-US" b="0" baseline="0" dirty="0"/>
              <a:t>this can involve starting </a:t>
            </a:r>
            <a:r>
              <a:rPr lang="en-US" b="1" baseline="0" dirty="0"/>
              <a:t>predictive maintenance programs </a:t>
            </a:r>
            <a:r>
              <a:rPr lang="en-US" b="0" baseline="0" dirty="0"/>
              <a:t>– whether that’s for your own equipment, assets or facilities, or for products installed at customer sit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baseline="0" dirty="0"/>
              <a:t>Across many industries, </a:t>
            </a:r>
            <a:r>
              <a:rPr lang="en-US" b="0" baseline="0" dirty="0"/>
              <a:t>getting problems proactively handled can support </a:t>
            </a:r>
            <a:r>
              <a:rPr lang="en-US" b="1" baseline="0" dirty="0"/>
              <a:t>operational efficiency gains – </a:t>
            </a:r>
            <a:r>
              <a:rPr lang="en-US" b="0" baseline="0" dirty="0"/>
              <a:t>it’s usually cheaper, faster and easier to prevent a problem than to fix it after the fact. Whether you’re talking about chronic disease care or expensive equipment at a manufacturing site, the principle is the same. </a:t>
            </a:r>
          </a:p>
          <a:p>
            <a:pPr marL="628650" lvl="1" indent="-171450">
              <a:buFont typeface="Arial" panose="020B0604020202020204" pitchFamily="34" charset="0"/>
              <a:buChar char="•"/>
            </a:pPr>
            <a:r>
              <a:rPr lang="en-US" b="0" baseline="0" dirty="0"/>
              <a:t>Across many industries, </a:t>
            </a:r>
            <a:r>
              <a:rPr lang="en-US" b="1" baseline="0" dirty="0"/>
              <a:t>customer service improvement </a:t>
            </a:r>
            <a:r>
              <a:rPr lang="en-US" b="0" baseline="0" dirty="0"/>
              <a:t>as a result of advanced analytics and big data is an example of fixing problems proactively before they start. For example, if you’re a cable provider, and you know there have been service quality problems for a certain customer, you can proactively, automatically offer them a discount, and notify them that you are working on the problem, and offer a target resolution time. This could prevent them from calling into your call center multiple times, and may even prevent them from switching to another firm. </a:t>
            </a:r>
          </a:p>
          <a:p>
            <a:pPr marL="171450" indent="-171450">
              <a:buFont typeface="Arial" panose="020B0604020202020204" pitchFamily="34" charset="0"/>
              <a:buChar char="•"/>
            </a:pPr>
            <a:r>
              <a:rPr lang="en-US" b="1" baseline="0" dirty="0"/>
              <a:t>Building data-driven service offerings, </a:t>
            </a:r>
            <a:r>
              <a:rPr lang="en-US" b="0" baseline="0" dirty="0"/>
              <a:t>such as delivering products-as-services or packaging data for commercial sale</a:t>
            </a:r>
          </a:p>
          <a:p>
            <a:pPr marL="628650" lvl="1" indent="-171450">
              <a:buFont typeface="Arial" panose="020B0604020202020204" pitchFamily="34" charset="0"/>
              <a:buChar char="•"/>
            </a:pPr>
            <a:r>
              <a:rPr lang="en-US" b="1" baseline="0" dirty="0"/>
              <a:t>In any industry offering physical products, </a:t>
            </a:r>
            <a:r>
              <a:rPr lang="en-US" b="0" baseline="0" dirty="0"/>
              <a:t>this might involve offering </a:t>
            </a:r>
            <a:r>
              <a:rPr lang="en-US" b="1" baseline="0" dirty="0"/>
              <a:t>products as services</a:t>
            </a:r>
            <a:r>
              <a:rPr lang="en-US" b="0" baseline="0" dirty="0"/>
              <a:t>. Instead of a single transaction where a product is exchanged, the product is automatically serviced and updated, maintaining the relationship with the customer and creating </a:t>
            </a:r>
            <a:r>
              <a:rPr lang="en-US" b="1" baseline="0" dirty="0"/>
              <a:t>opportunities for cross-sell and upsell</a:t>
            </a:r>
            <a:r>
              <a:rPr lang="en-US" b="0" baseline="0" dirty="0"/>
              <a:t>. </a:t>
            </a:r>
            <a:endParaRPr lang="en-US" b="1" baseline="0" dirty="0"/>
          </a:p>
          <a:p>
            <a:pPr marL="628650" lvl="1" indent="-171450">
              <a:buFont typeface="Arial" panose="020B0604020202020204" pitchFamily="34" charset="0"/>
              <a:buChar char="•"/>
            </a:pPr>
            <a:r>
              <a:rPr lang="en-US" b="1" baseline="0" dirty="0"/>
              <a:t>In manufacturing, </a:t>
            </a:r>
            <a:r>
              <a:rPr lang="en-US" b="0" baseline="0" dirty="0"/>
              <a:t>using advanced analytics and big data to identify typical wear patterns and next-logical-purchases, firms can offer targeted promotions on replacement parts as well as complementary products</a:t>
            </a:r>
          </a:p>
          <a:p>
            <a:pPr marL="628650" lvl="1" indent="-171450">
              <a:buFont typeface="Arial" panose="020B0604020202020204" pitchFamily="34" charset="0"/>
              <a:buChar char="•"/>
            </a:pPr>
            <a:endParaRPr lang="en-US" baseline="0" dirty="0"/>
          </a:p>
          <a:p>
            <a:pPr marL="0" indent="0">
              <a:buFont typeface="Arial" panose="020B0604020202020204" pitchFamily="34" charset="0"/>
              <a:buNone/>
            </a:pPr>
            <a:r>
              <a:rPr lang="en-US" baseline="0" dirty="0"/>
              <a:t>These are just a few of the many examples out there. Other examples include </a:t>
            </a:r>
            <a:r>
              <a:rPr lang="en-US" sz="1200" kern="1200" dirty="0">
                <a:solidFill>
                  <a:schemeClr val="tx1"/>
                </a:solidFill>
                <a:effectLst/>
                <a:latin typeface="Segoe UI Light" pitchFamily="34" charset="0"/>
                <a:ea typeface="+mn-ea"/>
                <a:cs typeface="+mn-cs"/>
              </a:rPr>
              <a:t>real-time recommendations, better customer acquisition, optimized loyalty programs</a:t>
            </a:r>
            <a:r>
              <a:rPr lang="en-US" sz="1200" kern="1200" baseline="0" dirty="0">
                <a:solidFill>
                  <a:schemeClr val="tx1"/>
                </a:solidFill>
                <a:effectLst/>
                <a:latin typeface="Segoe UI Light" pitchFamily="34" charset="0"/>
                <a:ea typeface="+mn-ea"/>
                <a:cs typeface="+mn-cs"/>
              </a:rPr>
              <a:t> and </a:t>
            </a:r>
            <a:r>
              <a:rPr lang="en-US" sz="1200" kern="1200" dirty="0">
                <a:solidFill>
                  <a:schemeClr val="tx1"/>
                </a:solidFill>
                <a:effectLst/>
                <a:latin typeface="Segoe UI Light" pitchFamily="34" charset="0"/>
                <a:ea typeface="+mn-ea"/>
                <a:cs typeface="+mn-cs"/>
              </a:rPr>
              <a:t>lifetime customer value,</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customer churn forecasting, fraud detection, pay for performance, more accurate</a:t>
            </a:r>
            <a:r>
              <a:rPr lang="en-US" sz="1200" kern="1200" baseline="0" dirty="0">
                <a:solidFill>
                  <a:schemeClr val="tx1"/>
                </a:solidFill>
                <a:effectLst/>
                <a:latin typeface="Segoe UI Light" pitchFamily="34" charset="0"/>
                <a:ea typeface="+mn-ea"/>
                <a:cs typeface="+mn-cs"/>
              </a:rPr>
              <a:t> product segmentation, better pricing strategies </a:t>
            </a:r>
            <a:r>
              <a:rPr lang="en-US" sz="1200" kern="1200" dirty="0">
                <a:solidFill>
                  <a:schemeClr val="tx1"/>
                </a:solidFill>
                <a:effectLst/>
                <a:latin typeface="Segoe UI Light" pitchFamily="34" charset="0"/>
                <a:ea typeface="+mn-ea"/>
                <a:cs typeface="+mn-cs"/>
              </a:rPr>
              <a:t>and many more. </a:t>
            </a:r>
            <a:endParaRPr lang="en-US" baseline="0" dirty="0"/>
          </a:p>
          <a:p>
            <a:pPr marL="171450" indent="-171450">
              <a:buFont typeface="Arial" panose="020B0604020202020204" pitchFamily="34" charset="0"/>
              <a:buChar cha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Segoe UI Light" pitchFamily="34" charset="0"/>
                <a:ea typeface="+mn-ea"/>
                <a:cs typeface="+mn-cs"/>
              </a:rPr>
              <a:t>&lt;Transition&gt;: Let’s take a look at one example. </a:t>
            </a:r>
            <a:endParaRPr lang="en-US" sz="1200" kern="1200" baseline="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96CD5F8F-46C9-46A5-9E1B-00B0A72B40BF}" type="slidenum">
              <a:rPr lang="en-US" smtClean="0"/>
              <a:t>5</a:t>
            </a:fld>
            <a:endParaRPr lang="en-US"/>
          </a:p>
        </p:txBody>
      </p:sp>
    </p:spTree>
    <p:extLst>
      <p:ext uri="{BB962C8B-B14F-4D97-AF65-F5344CB8AC3E}">
        <p14:creationId xmlns:p14="http://schemas.microsoft.com/office/powerpoint/2010/main" val="25054077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6/2017 2:1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3</a:t>
            </a:fld>
            <a:endParaRPr lang="en-US" dirty="0"/>
          </a:p>
        </p:txBody>
      </p:sp>
    </p:spTree>
    <p:extLst>
      <p:ext uri="{BB962C8B-B14F-4D97-AF65-F5344CB8AC3E}">
        <p14:creationId xmlns:p14="http://schemas.microsoft.com/office/powerpoint/2010/main" val="42353692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6/2017 2:1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4</a:t>
            </a:fld>
            <a:endParaRPr lang="en-US" dirty="0"/>
          </a:p>
        </p:txBody>
      </p:sp>
    </p:spTree>
    <p:extLst>
      <p:ext uri="{BB962C8B-B14F-4D97-AF65-F5344CB8AC3E}">
        <p14:creationId xmlns:p14="http://schemas.microsoft.com/office/powerpoint/2010/main" val="244866888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6/2017 2:1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5</a:t>
            </a:fld>
            <a:endParaRPr lang="en-US" dirty="0">
              <a:solidFill>
                <a:prstClr val="black"/>
              </a:solidFill>
            </a:endParaRPr>
          </a:p>
        </p:txBody>
      </p:sp>
    </p:spTree>
    <p:extLst>
      <p:ext uri="{BB962C8B-B14F-4D97-AF65-F5344CB8AC3E}">
        <p14:creationId xmlns:p14="http://schemas.microsoft.com/office/powerpoint/2010/main" val="345917781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6/2017 2:1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6</a:t>
            </a:fld>
            <a:endParaRPr lang="en-US" dirty="0">
              <a:solidFill>
                <a:prstClr val="black"/>
              </a:solidFill>
            </a:endParaRPr>
          </a:p>
        </p:txBody>
      </p:sp>
    </p:spTree>
    <p:extLst>
      <p:ext uri="{BB962C8B-B14F-4D97-AF65-F5344CB8AC3E}">
        <p14:creationId xmlns:p14="http://schemas.microsoft.com/office/powerpoint/2010/main" val="191252075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6/2017 2:1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7</a:t>
            </a:fld>
            <a:endParaRPr lang="en-US" dirty="0">
              <a:solidFill>
                <a:prstClr val="black"/>
              </a:solidFill>
            </a:endParaRPr>
          </a:p>
        </p:txBody>
      </p:sp>
    </p:spTree>
    <p:extLst>
      <p:ext uri="{BB962C8B-B14F-4D97-AF65-F5344CB8AC3E}">
        <p14:creationId xmlns:p14="http://schemas.microsoft.com/office/powerpoint/2010/main" val="195490322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6/2017 2:1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8</a:t>
            </a:fld>
            <a:endParaRPr lang="en-US" dirty="0">
              <a:solidFill>
                <a:prstClr val="black"/>
              </a:solidFill>
            </a:endParaRPr>
          </a:p>
        </p:txBody>
      </p:sp>
    </p:spTree>
    <p:extLst>
      <p:ext uri="{BB962C8B-B14F-4D97-AF65-F5344CB8AC3E}">
        <p14:creationId xmlns:p14="http://schemas.microsoft.com/office/powerpoint/2010/main" val="24762642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1" kern="1200" dirty="0">
                <a:solidFill>
                  <a:schemeClr val="tx1"/>
                </a:solidFill>
                <a:effectLst/>
                <a:latin typeface="+mn-lt"/>
                <a:ea typeface="+mn-ea"/>
                <a:cs typeface="+mn-cs"/>
              </a:rPr>
              <a:t>&lt;Speaker</a:t>
            </a:r>
            <a:r>
              <a:rPr lang="en-US" sz="1200" b="1" i="1" kern="1200" baseline="0" dirty="0">
                <a:solidFill>
                  <a:schemeClr val="tx1"/>
                </a:solidFill>
                <a:effectLst/>
                <a:latin typeface="+mn-lt"/>
                <a:ea typeface="+mn-ea"/>
                <a:cs typeface="+mn-cs"/>
              </a:rPr>
              <a:t> guidance: You may choose to use this slide, or one of the two slides before it. The point of all 3 slides is the same – </a:t>
            </a:r>
            <a:r>
              <a:rPr lang="en-US" sz="1200" b="0" i="1" kern="1200" baseline="0" dirty="0">
                <a:solidFill>
                  <a:schemeClr val="tx1"/>
                </a:solidFill>
                <a:effectLst/>
                <a:latin typeface="+mn-lt"/>
                <a:ea typeface="+mn-ea"/>
                <a:cs typeface="+mn-cs"/>
              </a:rPr>
              <a:t>give examples of ways that customers are using Big Data, cloud and intelligence to transform their businesses, as a lead-in to a demo&g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Getting</a:t>
            </a:r>
            <a:r>
              <a:rPr lang="en-US" baseline="0" dirty="0"/>
              <a:t> ahead by leveraging Big Data, the cloud and intelligence can take a number of forms. </a:t>
            </a:r>
            <a:endParaRPr lang="en-US" sz="1200" kern="120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Segoe UI Light" pitchFamily="34" charset="0"/>
                <a:ea typeface="+mn-ea"/>
                <a:cs typeface="+mn-cs"/>
              </a:rPr>
              <a:t>It starts with understanding the data your organization has and what it can be used for.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Segoe UI Light" pitchFamily="34" charset="0"/>
                <a:ea typeface="+mn-ea"/>
                <a:cs typeface="+mn-cs"/>
              </a:rPr>
              <a:t>That said, there are some core business scenarios where our customers in many industries seeing promising results.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Segoe UI Light" pitchFamily="34" charset="0"/>
                <a:ea typeface="+mn-ea"/>
                <a:cs typeface="+mn-cs"/>
              </a:rPr>
              <a:t>These can be a useful starting point as you consider how your organization can benefi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Segoe UI Light" pitchFamily="34" charset="0"/>
                <a:ea typeface="+mn-ea"/>
                <a:cs typeface="+mn-cs"/>
              </a:rPr>
              <a:t>&lt;Transition&gt;: Let’s take a look at one example. </a:t>
            </a:r>
            <a:endParaRPr lang="en-US" sz="1200" kern="1200" baseline="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kern="1200" baseline="0" dirty="0">
              <a:solidFill>
                <a:schemeClr val="tx1"/>
              </a:solidFill>
              <a:effectLst/>
              <a:latin typeface="Segoe UI Light" pitchFamily="34" charset="0"/>
              <a:ea typeface="+mn-ea"/>
              <a:cs typeface="+mn-cs"/>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baseline="0" dirty="0">
                <a:solidFill>
                  <a:schemeClr val="tx1"/>
                </a:solidFill>
                <a:effectLst/>
                <a:latin typeface="Segoe UI Light" pitchFamily="34" charset="0"/>
                <a:ea typeface="+mn-ea"/>
                <a:cs typeface="+mn-cs"/>
              </a:rPr>
              <a:t>Retail</a:t>
            </a:r>
            <a:r>
              <a:rPr lang="en-US" sz="1200" kern="1200" baseline="0" dirty="0">
                <a:solidFill>
                  <a:schemeClr val="tx1"/>
                </a:solidFill>
                <a:effectLst/>
                <a:latin typeface="Segoe UI Light" pitchFamily="34" charset="0"/>
                <a:ea typeface="+mn-ea"/>
                <a:cs typeface="+mn-cs"/>
              </a:rPr>
              <a:t>: </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b="1" baseline="0" dirty="0">
                <a:latin typeface="Arial" pitchFamily="34" charset="0"/>
                <a:cs typeface="Arial" pitchFamily="34" charset="0"/>
              </a:rPr>
              <a:t>JJ Foods </a:t>
            </a:r>
            <a:r>
              <a:rPr lang="en-US" sz="700" b="0" baseline="0" dirty="0">
                <a:latin typeface="Arial" pitchFamily="34" charset="0"/>
                <a:cs typeface="Arial" pitchFamily="34" charset="0"/>
              </a:rPr>
              <a:t>(UK) – </a:t>
            </a:r>
            <a:r>
              <a:rPr lang="en-US" sz="1200" u="sng" kern="1200" dirty="0">
                <a:solidFill>
                  <a:schemeClr val="tx1"/>
                </a:solidFill>
                <a:effectLst/>
                <a:latin typeface="Segoe UI Light" pitchFamily="34" charset="0"/>
                <a:ea typeface="+mn-ea"/>
                <a:cs typeface="+mn-cs"/>
                <a:hlinkClick r:id="rId3"/>
              </a:rPr>
              <a:t>https://customers.microsoft.com/Pages/CustomerStory.aspx?recid=18352</a:t>
            </a:r>
            <a:r>
              <a:rPr lang="en-US" sz="1200" kern="1200" dirty="0">
                <a:solidFill>
                  <a:schemeClr val="tx1"/>
                </a:solidFill>
                <a:effectLst/>
                <a:latin typeface="Segoe UI Light" pitchFamily="34" charset="0"/>
                <a:ea typeface="+mn-ea"/>
                <a:cs typeface="+mn-cs"/>
              </a:rPr>
              <a:t> </a:t>
            </a:r>
            <a:endParaRPr lang="en-US" sz="1200" b="0" baseline="0" dirty="0">
              <a:solidFill>
                <a:srgbClr val="FF0000"/>
              </a:solidFill>
              <a:latin typeface="Segoe UI" pitchFamily="34" charset="0"/>
              <a:ea typeface="Segoe UI" pitchFamily="34" charset="0"/>
              <a:cs typeface="Segoe UI" pitchFamily="34" charset="0"/>
            </a:endParaRP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b="1" baseline="0" dirty="0" err="1">
                <a:latin typeface="Arial" pitchFamily="34" charset="0"/>
                <a:cs typeface="Arial" pitchFamily="34" charset="0"/>
              </a:rPr>
              <a:t>Wirtz</a:t>
            </a:r>
            <a:r>
              <a:rPr lang="en-US" sz="700" b="1" baseline="0" dirty="0">
                <a:latin typeface="Arial" pitchFamily="34" charset="0"/>
                <a:cs typeface="Arial" pitchFamily="34" charset="0"/>
              </a:rPr>
              <a:t> Beverage </a:t>
            </a:r>
            <a:r>
              <a:rPr lang="en-US" sz="700" b="0" baseline="0" dirty="0">
                <a:latin typeface="Arial" pitchFamily="34" charset="0"/>
                <a:cs typeface="Arial" pitchFamily="34" charset="0"/>
              </a:rPr>
              <a:t>(US) </a:t>
            </a:r>
            <a:r>
              <a:rPr lang="en-US" sz="700" b="1" baseline="0" dirty="0">
                <a:latin typeface="Arial" pitchFamily="34" charset="0"/>
                <a:cs typeface="Arial" pitchFamily="34" charset="0"/>
              </a:rPr>
              <a:t>- </a:t>
            </a:r>
            <a:r>
              <a:rPr lang="en-US" sz="1200" u="sng" kern="1200" dirty="0">
                <a:solidFill>
                  <a:schemeClr val="tx1"/>
                </a:solidFill>
                <a:effectLst/>
                <a:latin typeface="Segoe UI Light" pitchFamily="34" charset="0"/>
                <a:ea typeface="+mn-ea"/>
                <a:cs typeface="+mn-cs"/>
                <a:hlinkClick r:id="rId4"/>
              </a:rPr>
              <a:t>http://customers.microsoft.com/Pages/CustomerStory.aspx?recid=10760</a:t>
            </a:r>
            <a:r>
              <a:rPr lang="en-US" sz="1200" kern="1200" dirty="0">
                <a:solidFill>
                  <a:schemeClr val="tx1"/>
                </a:solidFill>
                <a:effectLst/>
                <a:latin typeface="Segoe UI Light" pitchFamily="34" charset="0"/>
                <a:ea typeface="+mn-ea"/>
                <a:cs typeface="+mn-cs"/>
              </a:rPr>
              <a:t> </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kern="1200" baseline="0" dirty="0">
                <a:solidFill>
                  <a:schemeClr val="tx1"/>
                </a:solidFill>
                <a:effectLst/>
                <a:latin typeface="Segoe UI Light" pitchFamily="34" charset="0"/>
                <a:ea typeface="+mn-ea"/>
                <a:cs typeface="+mn-cs"/>
              </a:rPr>
              <a:t>Manufacturing</a:t>
            </a:r>
            <a:r>
              <a:rPr lang="en-US" sz="800" kern="1200" baseline="0" dirty="0">
                <a:solidFill>
                  <a:schemeClr val="tx1"/>
                </a:solidFill>
                <a:effectLst/>
                <a:latin typeface="Segoe UI Light" pitchFamily="34" charset="0"/>
                <a:ea typeface="+mn-ea"/>
                <a:cs typeface="+mn-cs"/>
              </a:rPr>
              <a:t>: </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baseline="0" dirty="0">
                <a:solidFill>
                  <a:schemeClr val="tx1"/>
                </a:solidFill>
                <a:effectLst/>
                <a:latin typeface="Segoe UI Light" pitchFamily="34" charset="0"/>
                <a:ea typeface="+mn-ea"/>
                <a:cs typeface="+mn-cs"/>
              </a:rPr>
              <a:t> </a:t>
            </a:r>
            <a:r>
              <a:rPr lang="en-US" sz="800" b="1" kern="1200" baseline="0" dirty="0" err="1">
                <a:solidFill>
                  <a:schemeClr val="tx1"/>
                </a:solidFill>
                <a:effectLst/>
                <a:latin typeface="Segoe UI Light" pitchFamily="34" charset="0"/>
                <a:ea typeface="+mn-ea"/>
                <a:cs typeface="+mn-cs"/>
              </a:rPr>
              <a:t>eSmart</a:t>
            </a:r>
            <a:r>
              <a:rPr lang="en-US" sz="800" b="1" kern="1200" baseline="0" dirty="0">
                <a:solidFill>
                  <a:schemeClr val="tx1"/>
                </a:solidFill>
                <a:effectLst/>
                <a:latin typeface="Segoe UI Light" pitchFamily="34" charset="0"/>
                <a:ea typeface="+mn-ea"/>
                <a:cs typeface="+mn-cs"/>
              </a:rPr>
              <a:t> Systems: </a:t>
            </a:r>
            <a:r>
              <a:rPr lang="en-US" sz="800" u="sng" dirty="0">
                <a:hlinkClick r:id="rId5"/>
              </a:rPr>
              <a:t>https://customers.microsoft.com/Pages/CustomerStory.aspx?recid=18945</a:t>
            </a:r>
            <a:r>
              <a:rPr lang="en-US" sz="800" dirty="0"/>
              <a:t> </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b="1" baseline="0" dirty="0">
                <a:latin typeface="Arial" pitchFamily="34" charset="0"/>
                <a:cs typeface="Arial" pitchFamily="34" charset="0"/>
              </a:rPr>
              <a:t>ThyssenKrupp: </a:t>
            </a:r>
            <a:r>
              <a:rPr lang="en-US" sz="800" u="sng" kern="1200" dirty="0">
                <a:solidFill>
                  <a:schemeClr val="tx1"/>
                </a:solidFill>
                <a:effectLst/>
                <a:latin typeface="+mn-lt"/>
                <a:ea typeface="+mn-ea"/>
                <a:cs typeface="+mn-cs"/>
                <a:hlinkClick r:id="rId6"/>
              </a:rPr>
              <a:t>https://microsoft.sharepoint.com/sites/academy/media/Catalog/AEVD-3-99448</a:t>
            </a:r>
            <a:r>
              <a:rPr lang="en-US" sz="800" kern="1200" dirty="0">
                <a:solidFill>
                  <a:schemeClr val="tx1"/>
                </a:solidFill>
                <a:effectLst/>
                <a:latin typeface="+mn-lt"/>
                <a:ea typeface="+mn-ea"/>
                <a:cs typeface="+mn-cs"/>
              </a:rPr>
              <a:t> </a:t>
            </a:r>
            <a:endParaRPr lang="en-US" sz="700" b="1" baseline="0" dirty="0">
              <a:latin typeface="Arial" pitchFamily="34" charset="0"/>
              <a:cs typeface="Arial" pitchFamily="34" charset="0"/>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kern="1200" baseline="0" dirty="0">
                <a:solidFill>
                  <a:schemeClr val="tx1"/>
                </a:solidFill>
                <a:effectLst/>
                <a:latin typeface="Segoe UI Light" pitchFamily="34" charset="0"/>
                <a:ea typeface="+mn-ea"/>
                <a:cs typeface="+mn-cs"/>
              </a:rPr>
              <a:t>Healthcare</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kern="1200" baseline="0" dirty="0">
                <a:solidFill>
                  <a:schemeClr val="tx1"/>
                </a:solidFill>
                <a:effectLst/>
                <a:latin typeface="Segoe UI Light" pitchFamily="34" charset="0"/>
                <a:ea typeface="+mn-ea"/>
                <a:cs typeface="+mn-cs"/>
              </a:rPr>
              <a:t>Dartmouth-Hitchcock: </a:t>
            </a:r>
            <a:r>
              <a:rPr lang="en-US" sz="800" u="sng" kern="1200" dirty="0">
                <a:solidFill>
                  <a:schemeClr val="tx1"/>
                </a:solidFill>
                <a:effectLst/>
                <a:latin typeface="+mn-lt"/>
                <a:ea typeface="+mn-ea"/>
                <a:cs typeface="+mn-cs"/>
                <a:hlinkClick r:id="rId7"/>
              </a:rPr>
              <a:t>https://youtu.be/x1XARd8Xo7M</a:t>
            </a:r>
            <a:endParaRPr lang="en-US" sz="800" u="sng"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96CD5F8F-46C9-46A5-9E1B-00B0A72B40BF}" type="slidenum">
              <a:rPr lang="en-US" smtClean="0"/>
              <a:t>6</a:t>
            </a:fld>
            <a:endParaRPr lang="en-US"/>
          </a:p>
        </p:txBody>
      </p:sp>
    </p:spTree>
    <p:extLst>
      <p:ext uri="{BB962C8B-B14F-4D97-AF65-F5344CB8AC3E}">
        <p14:creationId xmlns:p14="http://schemas.microsoft.com/office/powerpoint/2010/main" val="19257735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Video:</a:t>
            </a:r>
            <a:r>
              <a:rPr lang="en-US" b="0" baseline="0" dirty="0"/>
              <a:t> </a:t>
            </a:r>
            <a:r>
              <a:rPr lang="en-US" sz="1200" u="sng" kern="1200" dirty="0">
                <a:solidFill>
                  <a:schemeClr val="tx1"/>
                </a:solidFill>
                <a:effectLst/>
                <a:latin typeface="+mn-lt"/>
                <a:ea typeface="+mn-ea"/>
                <a:cs typeface="+mn-cs"/>
                <a:hlinkClick r:id="rId3"/>
              </a:rPr>
              <a:t>https://youtu.be/x1XARd8Xo7M</a:t>
            </a:r>
            <a:endParaRPr lang="en-US" sz="1200" u="sng" kern="1200" dirty="0">
              <a:solidFill>
                <a:schemeClr val="tx1"/>
              </a:solidFill>
              <a:effectLst/>
              <a:latin typeface="+mn-lt"/>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hlinkClick r:id="rId4"/>
              </a:rPr>
              <a:t>https://www.youtube.com/watch?v=-wVeHZNn8aU</a:t>
            </a:r>
            <a:endParaRPr lang="en-US" b="1" baseline="0" dirty="0"/>
          </a:p>
          <a:p>
            <a:r>
              <a:rPr lang="en-US" b="1" baseline="0" dirty="0"/>
              <a:t>Demo assets: </a:t>
            </a:r>
            <a:r>
              <a:rPr lang="en-US" sz="1200" u="sng" kern="1200" dirty="0">
                <a:solidFill>
                  <a:schemeClr val="tx1"/>
                </a:solidFill>
                <a:effectLst/>
                <a:latin typeface="+mn-lt"/>
                <a:ea typeface="+mn-ea"/>
                <a:cs typeface="+mn-cs"/>
                <a:hlinkClick r:id="rId5"/>
              </a:rPr>
              <a:t>http://infopedia/SMSG/Pages/MDWHadoop.aspx?ebookNode=Hadoop&amp;SourceURL=http://infopedia/Pages/SQL-Server-ModernDataWarehouse.aspx</a:t>
            </a:r>
            <a:endParaRPr lang="en-US" sz="1200" u="sng" kern="1200" dirty="0">
              <a:solidFill>
                <a:schemeClr val="tx1"/>
              </a:solidFill>
              <a:effectLst/>
              <a:latin typeface="+mn-lt"/>
              <a:ea typeface="+mn-ea"/>
              <a:cs typeface="+mn-cs"/>
            </a:endParaRPr>
          </a:p>
          <a:p>
            <a:endParaRPr lang="en-US" sz="1200" dirty="0"/>
          </a:p>
          <a:p>
            <a:r>
              <a:rPr lang="en-US" sz="1200" kern="1200" dirty="0">
                <a:solidFill>
                  <a:schemeClr val="tx1"/>
                </a:solidFill>
                <a:effectLst/>
                <a:latin typeface="Segoe UI Light" pitchFamily="34" charset="0"/>
                <a:ea typeface="+mn-ea"/>
                <a:cs typeface="+mn-cs"/>
              </a:rPr>
              <a:t>Cortana Intelligence enables core business scenarios such as real-time recommendations, customer churn forecasting, fraud detection, predictive maintenance and many more. </a:t>
            </a:r>
          </a:p>
          <a:p>
            <a:r>
              <a:rPr lang="en-US" sz="1200" kern="1200" dirty="0">
                <a:solidFill>
                  <a:schemeClr val="tx1"/>
                </a:solidFill>
                <a:effectLst/>
                <a:latin typeface="Segoe UI Light" pitchFamily="34" charset="0"/>
                <a:ea typeface="+mn-ea"/>
                <a:cs typeface="+mn-cs"/>
              </a:rPr>
              <a:t> </a:t>
            </a:r>
          </a:p>
          <a:p>
            <a:r>
              <a:rPr lang="en-US" sz="1200" kern="1200" dirty="0">
                <a:solidFill>
                  <a:schemeClr val="tx1"/>
                </a:solidFill>
                <a:effectLst/>
                <a:latin typeface="Segoe UI Light" pitchFamily="34" charset="0"/>
                <a:ea typeface="+mn-ea"/>
                <a:cs typeface="+mn-cs"/>
              </a:rPr>
              <a:t>For e.g. we are working with Dartmouth-Hitchcock Medical Center, the largest hospital in northern New England, to develop a remote monitoring and predictive analytics solution to lower re-admittance</a:t>
            </a:r>
            <a:r>
              <a:rPr lang="en-US" sz="1200" kern="1200" baseline="0" dirty="0">
                <a:solidFill>
                  <a:schemeClr val="tx1"/>
                </a:solidFill>
                <a:effectLst/>
                <a:latin typeface="Segoe UI Light" pitchFamily="34" charset="0"/>
                <a:ea typeface="+mn-ea"/>
                <a:cs typeface="+mn-cs"/>
              </a:rPr>
              <a:t> rates </a:t>
            </a:r>
            <a:r>
              <a:rPr lang="en-US" sz="1200" kern="1200" dirty="0">
                <a:solidFill>
                  <a:schemeClr val="tx1"/>
                </a:solidFill>
                <a:effectLst/>
                <a:latin typeface="Segoe UI Light" pitchFamily="34" charset="0"/>
                <a:ea typeface="+mn-ea"/>
                <a:cs typeface="+mn-cs"/>
              </a:rPr>
              <a:t>called “</a:t>
            </a:r>
            <a:r>
              <a:rPr lang="en-US" sz="1200" kern="1200" dirty="0" err="1">
                <a:solidFill>
                  <a:schemeClr val="tx1"/>
                </a:solidFill>
                <a:effectLst/>
                <a:latin typeface="Segoe UI Light" pitchFamily="34" charset="0"/>
                <a:ea typeface="+mn-ea"/>
                <a:cs typeface="+mn-cs"/>
              </a:rPr>
              <a:t>ImagineCare</a:t>
            </a:r>
            <a:r>
              <a:rPr lang="en-US" sz="1200" kern="1200" dirty="0">
                <a:solidFill>
                  <a:schemeClr val="tx1"/>
                </a:solidFill>
                <a:effectLst/>
                <a:latin typeface="Segoe UI Light" pitchFamily="34" charset="0"/>
                <a:ea typeface="+mn-ea"/>
                <a:cs typeface="+mn-cs"/>
              </a:rPr>
              <a:t>.”  Leveraging predictive analytics, </a:t>
            </a:r>
            <a:r>
              <a:rPr lang="en-US" sz="1200" kern="1200" dirty="0" err="1">
                <a:solidFill>
                  <a:schemeClr val="tx1"/>
                </a:solidFill>
                <a:effectLst/>
                <a:latin typeface="Segoe UI Light" pitchFamily="34" charset="0"/>
                <a:ea typeface="+mn-ea"/>
                <a:cs typeface="+mn-cs"/>
              </a:rPr>
              <a:t>ImagineCare</a:t>
            </a:r>
            <a:r>
              <a:rPr lang="en-US" sz="1200" kern="1200" dirty="0">
                <a:solidFill>
                  <a:schemeClr val="tx1"/>
                </a:solidFill>
                <a:effectLst/>
                <a:latin typeface="Segoe UI Light" pitchFamily="34" charset="0"/>
                <a:ea typeface="+mn-ea"/>
                <a:cs typeface="+mn-cs"/>
              </a:rPr>
              <a:t> will be to enable dynamic treatment plans based on the individual patient’s history and profile. </a:t>
            </a:r>
            <a:r>
              <a:rPr lang="en-US" sz="1200" kern="1200" dirty="0" err="1">
                <a:solidFill>
                  <a:schemeClr val="tx1"/>
                </a:solidFill>
                <a:effectLst/>
                <a:latin typeface="Segoe UI Light" pitchFamily="34" charset="0"/>
                <a:ea typeface="+mn-ea"/>
                <a:cs typeface="+mn-cs"/>
              </a:rPr>
              <a:t>ImagineCare</a:t>
            </a:r>
            <a:r>
              <a:rPr lang="en-US" sz="1200" kern="1200" dirty="0">
                <a:solidFill>
                  <a:schemeClr val="tx1"/>
                </a:solidFill>
                <a:effectLst/>
                <a:latin typeface="Segoe UI Light" pitchFamily="34" charset="0"/>
                <a:ea typeface="+mn-ea"/>
                <a:cs typeface="+mn-cs"/>
              </a:rPr>
              <a:t> aims to significantly enhance patient outcomes by predicting catastrophic events such as, heart attacks before they happen. </a:t>
            </a:r>
          </a:p>
          <a:p>
            <a:endParaRPr lang="en-US" sz="1200" kern="1200" dirty="0">
              <a:solidFill>
                <a:schemeClr val="tx1"/>
              </a:solidFill>
              <a:effectLst/>
              <a:latin typeface="Segoe UI Light" pitchFamily="34" charset="0"/>
              <a:ea typeface="+mn-ea"/>
              <a:cs typeface="+mn-cs"/>
            </a:endParaRPr>
          </a:p>
          <a:p>
            <a:pPr lvl="0"/>
            <a:r>
              <a:rPr lang="en-US" sz="1200" kern="1200" dirty="0">
                <a:solidFill>
                  <a:schemeClr val="tx1"/>
                </a:solidFill>
                <a:effectLst/>
                <a:latin typeface="Segoe UI Light" pitchFamily="34" charset="0"/>
                <a:ea typeface="+mn-ea"/>
                <a:cs typeface="+mn-cs"/>
              </a:rPr>
              <a:t>It will also reduce the number of “readmissions” because each patient will be proactively monitored and Dartmouth-Hitchcock can contact the patient with tweaks/recommendations to the individual’s pathway based on the data collected.</a:t>
            </a:r>
          </a:p>
          <a:p>
            <a:endParaRPr lang="en-US" sz="1200" dirty="0"/>
          </a:p>
          <a:p>
            <a:r>
              <a:rPr lang="en-US" sz="1200" kern="1200" dirty="0">
                <a:solidFill>
                  <a:schemeClr val="tx1"/>
                </a:solidFill>
                <a:effectLst/>
                <a:latin typeface="Segoe UI Light" pitchFamily="34" charset="0"/>
                <a:ea typeface="+mn-ea"/>
                <a:cs typeface="+mn-cs"/>
              </a:rPr>
              <a:t>Other customers who are using Cortana Intelligence capabilities include:</a:t>
            </a:r>
          </a:p>
          <a:p>
            <a:pPr lvl="0"/>
            <a:r>
              <a:rPr lang="en-US" sz="1200" kern="1200" dirty="0">
                <a:solidFill>
                  <a:schemeClr val="tx1"/>
                </a:solidFill>
                <a:effectLst/>
                <a:latin typeface="Segoe UI Light" pitchFamily="34" charset="0"/>
                <a:ea typeface="+mn-ea"/>
                <a:cs typeface="+mn-cs"/>
              </a:rPr>
              <a:t>Pier 1 </a:t>
            </a:r>
            <a:r>
              <a:rPr lang="en-US" sz="1200" u="sng" kern="1200" dirty="0">
                <a:solidFill>
                  <a:schemeClr val="tx1"/>
                </a:solidFill>
                <a:effectLst/>
                <a:latin typeface="Segoe UI Light" pitchFamily="34" charset="0"/>
                <a:ea typeface="+mn-ea"/>
                <a:cs typeface="+mn-cs"/>
                <a:hlinkClick r:id="rId6"/>
              </a:rPr>
              <a:t>https://customers.microsoft.com/Pages/CustomerStory.aspx?recid=11257</a:t>
            </a:r>
            <a:endParaRPr lang="en-US" sz="1200" kern="1200" dirty="0">
              <a:solidFill>
                <a:schemeClr val="tx1"/>
              </a:solidFill>
              <a:effectLst/>
              <a:latin typeface="Segoe UI Light" pitchFamily="34" charset="0"/>
              <a:ea typeface="+mn-ea"/>
              <a:cs typeface="+mn-cs"/>
            </a:endParaRPr>
          </a:p>
          <a:p>
            <a:pPr lvl="0"/>
            <a:r>
              <a:rPr lang="en-US" sz="1200" u="sng" kern="1200" dirty="0">
                <a:solidFill>
                  <a:schemeClr val="tx1"/>
                </a:solidFill>
                <a:effectLst/>
                <a:latin typeface="Segoe UI Light" pitchFamily="34" charset="0"/>
                <a:ea typeface="+mn-ea"/>
                <a:cs typeface="+mn-cs"/>
              </a:rPr>
              <a:t>Carnegie Mellon</a:t>
            </a:r>
            <a:r>
              <a:rPr lang="en-US" sz="1200" b="1" u="sng" kern="1200" dirty="0">
                <a:solidFill>
                  <a:schemeClr val="tx1"/>
                </a:solidFill>
                <a:effectLst/>
                <a:latin typeface="Segoe UI Light" pitchFamily="34" charset="0"/>
                <a:ea typeface="+mn-ea"/>
                <a:cs typeface="+mn-cs"/>
              </a:rPr>
              <a:t> </a:t>
            </a:r>
            <a:r>
              <a:rPr lang="en-US" sz="1200" u="sng" kern="1200" dirty="0">
                <a:solidFill>
                  <a:schemeClr val="tx1"/>
                </a:solidFill>
                <a:effectLst/>
                <a:latin typeface="Segoe UI Light" pitchFamily="34" charset="0"/>
                <a:ea typeface="+mn-ea"/>
                <a:cs typeface="+mn-cs"/>
                <a:hlinkClick r:id="rId7"/>
              </a:rPr>
              <a:t>https://customers.microsoft.com/Pages/CustomerStory.aspx?recid=8576</a:t>
            </a:r>
            <a:endParaRPr lang="en-US" sz="1200" kern="1200" dirty="0">
              <a:solidFill>
                <a:schemeClr val="tx1"/>
              </a:solidFill>
              <a:effectLst/>
              <a:latin typeface="Segoe UI Light" pitchFamily="34" charset="0"/>
              <a:ea typeface="+mn-ea"/>
              <a:cs typeface="+mn-cs"/>
            </a:endParaRPr>
          </a:p>
          <a:p>
            <a:pPr lvl="0"/>
            <a:r>
              <a:rPr lang="en-US" sz="1200" u="sng" kern="1200" dirty="0">
                <a:solidFill>
                  <a:schemeClr val="tx1"/>
                </a:solidFill>
                <a:effectLst/>
                <a:latin typeface="Segoe UI Light" pitchFamily="34" charset="0"/>
                <a:ea typeface="+mn-ea"/>
                <a:cs typeface="+mn-cs"/>
              </a:rPr>
              <a:t>Wash </a:t>
            </a:r>
            <a:r>
              <a:rPr lang="en-US" sz="1200" kern="1200" dirty="0">
                <a:solidFill>
                  <a:schemeClr val="tx1"/>
                </a:solidFill>
                <a:effectLst/>
                <a:latin typeface="Segoe UI Light" pitchFamily="34" charset="0"/>
                <a:ea typeface="+mn-ea"/>
                <a:cs typeface="+mn-cs"/>
              </a:rPr>
              <a:t> </a:t>
            </a:r>
            <a:r>
              <a:rPr lang="en-US" sz="1200" u="sng" kern="1200" dirty="0">
                <a:solidFill>
                  <a:schemeClr val="tx1"/>
                </a:solidFill>
                <a:effectLst/>
                <a:latin typeface="Segoe UI Light" pitchFamily="34" charset="0"/>
                <a:ea typeface="+mn-ea"/>
                <a:cs typeface="+mn-cs"/>
                <a:hlinkClick r:id="rId8"/>
              </a:rPr>
              <a:t>https://customers.microsoft.com/Pages/CustomerStory.aspx?recid=11768</a:t>
            </a:r>
            <a:endParaRPr lang="en-US" sz="1200" kern="1200" dirty="0">
              <a:solidFill>
                <a:schemeClr val="tx1"/>
              </a:solidFill>
              <a:effectLst/>
              <a:latin typeface="Segoe UI Light" pitchFamily="34" charset="0"/>
              <a:ea typeface="+mn-ea"/>
              <a:cs typeface="+mn-cs"/>
            </a:endParaRPr>
          </a:p>
          <a:p>
            <a:pPr lvl="0"/>
            <a:r>
              <a:rPr lang="en-US" sz="1200" u="sng" kern="1200" dirty="0">
                <a:solidFill>
                  <a:schemeClr val="tx1"/>
                </a:solidFill>
                <a:effectLst/>
                <a:latin typeface="Segoe UI Light" pitchFamily="34" charset="0"/>
                <a:ea typeface="+mn-ea"/>
                <a:cs typeface="+mn-cs"/>
              </a:rPr>
              <a:t>Stanford Linear Accelerator </a:t>
            </a:r>
            <a:r>
              <a:rPr lang="en-US" sz="1200" u="sng" kern="1200" dirty="0">
                <a:solidFill>
                  <a:schemeClr val="tx1"/>
                </a:solidFill>
                <a:effectLst/>
                <a:latin typeface="Segoe UI Light" pitchFamily="34" charset="0"/>
                <a:ea typeface="+mn-ea"/>
                <a:cs typeface="+mn-cs"/>
                <a:hlinkClick r:id="rId9"/>
              </a:rPr>
              <a:t>https://news.microsoft.com/features/from-atoms-to-quarks-to-the-cosmos-internet-of-things-helps-lab-explore-the-origins-of-the-universe/</a:t>
            </a:r>
            <a:endParaRPr lang="en-US" sz="1200" kern="1200" dirty="0">
              <a:solidFill>
                <a:schemeClr val="tx1"/>
              </a:solidFill>
              <a:effectLst/>
              <a:latin typeface="Segoe UI Light" pitchFamily="34" charset="0"/>
              <a:ea typeface="+mn-ea"/>
              <a:cs typeface="+mn-cs"/>
            </a:endParaRPr>
          </a:p>
          <a:p>
            <a:pPr lvl="0"/>
            <a:r>
              <a:rPr lang="en-US" sz="1200" u="sng" kern="1200" dirty="0" err="1">
                <a:solidFill>
                  <a:schemeClr val="tx1"/>
                </a:solidFill>
                <a:effectLst/>
                <a:latin typeface="Segoe UI Light" pitchFamily="34" charset="0"/>
                <a:ea typeface="+mn-ea"/>
                <a:cs typeface="+mn-cs"/>
              </a:rPr>
              <a:t>Ziosk</a:t>
            </a:r>
            <a:r>
              <a:rPr lang="en-US" sz="1200" u="sng" kern="1200" dirty="0">
                <a:solidFill>
                  <a:schemeClr val="tx1"/>
                </a:solidFill>
                <a:effectLst/>
                <a:latin typeface="Segoe UI Light" pitchFamily="34" charset="0"/>
                <a:ea typeface="+mn-ea"/>
                <a:cs typeface="+mn-cs"/>
              </a:rPr>
              <a:t> </a:t>
            </a:r>
            <a:r>
              <a:rPr lang="en-US" sz="1200" u="sng" kern="1200" dirty="0">
                <a:solidFill>
                  <a:schemeClr val="tx1"/>
                </a:solidFill>
                <a:effectLst/>
                <a:latin typeface="Segoe UI Light" pitchFamily="34" charset="0"/>
                <a:ea typeface="+mn-ea"/>
                <a:cs typeface="+mn-cs"/>
                <a:hlinkClick r:id="rId10"/>
              </a:rPr>
              <a:t>http://news.microsoft.com/features/tabletop-tablets-provide-a-better-experience-for-diners-and-valuable-data-for-restaurants/</a:t>
            </a:r>
            <a:endParaRPr lang="en-US" sz="1200" kern="1200" dirty="0">
              <a:solidFill>
                <a:schemeClr val="tx1"/>
              </a:solidFill>
              <a:effectLst/>
              <a:latin typeface="Segoe UI Light" pitchFamily="34" charset="0"/>
              <a:ea typeface="+mn-ea"/>
              <a:cs typeface="+mn-cs"/>
            </a:endParaRPr>
          </a:p>
          <a:p>
            <a:pPr lvl="0"/>
            <a:r>
              <a:rPr lang="en-US" sz="1200" u="sng" kern="1200" dirty="0" err="1">
                <a:solidFill>
                  <a:schemeClr val="tx1"/>
                </a:solidFill>
                <a:effectLst/>
                <a:latin typeface="Segoe UI Light" pitchFamily="34" charset="0"/>
                <a:ea typeface="+mn-ea"/>
                <a:cs typeface="+mn-cs"/>
              </a:rPr>
              <a:t>Genscape</a:t>
            </a:r>
            <a:r>
              <a:rPr lang="en-US" sz="1200" u="sng" kern="1200" dirty="0">
                <a:solidFill>
                  <a:schemeClr val="tx1"/>
                </a:solidFill>
                <a:effectLst/>
                <a:latin typeface="Segoe UI Light" pitchFamily="34" charset="0"/>
                <a:ea typeface="+mn-ea"/>
                <a:cs typeface="+mn-cs"/>
              </a:rPr>
              <a:t> </a:t>
            </a:r>
            <a:r>
              <a:rPr lang="en-US" sz="1200" u="sng" kern="1200" dirty="0">
                <a:solidFill>
                  <a:schemeClr val="tx1"/>
                </a:solidFill>
                <a:effectLst/>
                <a:latin typeface="Segoe UI Light" pitchFamily="34" charset="0"/>
                <a:ea typeface="+mn-ea"/>
                <a:cs typeface="+mn-cs"/>
                <a:hlinkClick r:id="rId11"/>
              </a:rPr>
              <a:t>https://customers.microsoft.com/Pages/CustomerStory.aspx?recid=21394</a:t>
            </a:r>
            <a:endParaRPr lang="en-US" sz="120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96CD5F8F-46C9-46A5-9E1B-00B0A72B40BF}"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8769320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0" baseline="0" dirty="0"/>
              <a:t>That was just one example </a:t>
            </a:r>
            <a:r>
              <a:rPr lang="en-US" dirty="0"/>
              <a:t>of how Cortana Intelligence helped one business solve</a:t>
            </a:r>
            <a:r>
              <a:rPr lang="en-US" baseline="0" dirty="0"/>
              <a:t> key data issues. </a:t>
            </a:r>
          </a:p>
          <a:p>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1" baseline="0" dirty="0"/>
              <a:t>T: Now, lets dive into what makes up the suite, and how these services can help you.</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1" baseline="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2017 2:1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5201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you will find an overview of all of the </a:t>
            </a:r>
            <a:r>
              <a:rPr lang="en-US" baseline="0" dirty="0"/>
              <a:t>services that Microsoft has to offer.</a:t>
            </a:r>
          </a:p>
          <a:p>
            <a:endParaRPr lang="en-US" baseline="0" dirty="0"/>
          </a:p>
          <a:p>
            <a:r>
              <a:rPr lang="en-US" baseline="0" dirty="0"/>
              <a:t>The solutions that you may be familiar with, highlighted in GREEN, are elements included in Cortana Intelligence.</a:t>
            </a:r>
          </a:p>
          <a:p>
            <a:endParaRPr lang="en-US" baseline="0" dirty="0"/>
          </a:p>
          <a:p>
            <a:r>
              <a:rPr lang="en-US" b="1" baseline="0" dirty="0"/>
              <a:t>T: Let’s take a look at the whole architecture.</a:t>
            </a:r>
            <a:endParaRPr lang="en-US" b="1"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6/2017 2:1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785650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3" Type="http://schemas.openxmlformats.org/officeDocument/2006/relationships/image" Target="../media/image14.png"/><Relationship Id="rId18" Type="http://schemas.openxmlformats.org/officeDocument/2006/relationships/image" Target="../media/image19.png"/><Relationship Id="rId26" Type="http://schemas.openxmlformats.org/officeDocument/2006/relationships/image" Target="../media/image27.png"/><Relationship Id="rId39" Type="http://schemas.openxmlformats.org/officeDocument/2006/relationships/image" Target="../media/image40.png"/><Relationship Id="rId3" Type="http://schemas.openxmlformats.org/officeDocument/2006/relationships/image" Target="../media/image4.png"/><Relationship Id="rId21" Type="http://schemas.openxmlformats.org/officeDocument/2006/relationships/image" Target="../media/image22.png"/><Relationship Id="rId34" Type="http://schemas.openxmlformats.org/officeDocument/2006/relationships/image" Target="../media/image35.png"/><Relationship Id="rId42" Type="http://schemas.openxmlformats.org/officeDocument/2006/relationships/image" Target="../media/image43.png"/><Relationship Id="rId47" Type="http://schemas.openxmlformats.org/officeDocument/2006/relationships/image" Target="../media/image48.png"/><Relationship Id="rId50" Type="http://schemas.openxmlformats.org/officeDocument/2006/relationships/image" Target="../media/image51.png"/><Relationship Id="rId7" Type="http://schemas.openxmlformats.org/officeDocument/2006/relationships/image" Target="../media/image8.png"/><Relationship Id="rId12" Type="http://schemas.openxmlformats.org/officeDocument/2006/relationships/image" Target="../media/image13.png"/><Relationship Id="rId17" Type="http://schemas.openxmlformats.org/officeDocument/2006/relationships/image" Target="../media/image18.png"/><Relationship Id="rId25" Type="http://schemas.openxmlformats.org/officeDocument/2006/relationships/image" Target="../media/image26.png"/><Relationship Id="rId33" Type="http://schemas.openxmlformats.org/officeDocument/2006/relationships/image" Target="../media/image34.png"/><Relationship Id="rId38" Type="http://schemas.openxmlformats.org/officeDocument/2006/relationships/image" Target="../media/image39.png"/><Relationship Id="rId46" Type="http://schemas.openxmlformats.org/officeDocument/2006/relationships/image" Target="../media/image47.png"/><Relationship Id="rId2" Type="http://schemas.openxmlformats.org/officeDocument/2006/relationships/image" Target="../media/image3.png"/><Relationship Id="rId16" Type="http://schemas.openxmlformats.org/officeDocument/2006/relationships/image" Target="../media/image17.png"/><Relationship Id="rId20" Type="http://schemas.openxmlformats.org/officeDocument/2006/relationships/image" Target="../media/image21.png"/><Relationship Id="rId29" Type="http://schemas.openxmlformats.org/officeDocument/2006/relationships/image" Target="../media/image30.png"/><Relationship Id="rId41" Type="http://schemas.openxmlformats.org/officeDocument/2006/relationships/image" Target="../media/image42.png"/><Relationship Id="rId1" Type="http://schemas.openxmlformats.org/officeDocument/2006/relationships/slideMaster" Target="../slideMasters/slideMaster3.xml"/><Relationship Id="rId6" Type="http://schemas.openxmlformats.org/officeDocument/2006/relationships/image" Target="../media/image7.png"/><Relationship Id="rId11" Type="http://schemas.openxmlformats.org/officeDocument/2006/relationships/image" Target="../media/image12.png"/><Relationship Id="rId24" Type="http://schemas.openxmlformats.org/officeDocument/2006/relationships/image" Target="../media/image25.png"/><Relationship Id="rId32" Type="http://schemas.openxmlformats.org/officeDocument/2006/relationships/image" Target="../media/image33.png"/><Relationship Id="rId37" Type="http://schemas.openxmlformats.org/officeDocument/2006/relationships/image" Target="../media/image38.png"/><Relationship Id="rId40" Type="http://schemas.openxmlformats.org/officeDocument/2006/relationships/image" Target="../media/image41.png"/><Relationship Id="rId45" Type="http://schemas.openxmlformats.org/officeDocument/2006/relationships/image" Target="../media/image46.png"/><Relationship Id="rId53" Type="http://schemas.openxmlformats.org/officeDocument/2006/relationships/image" Target="../media/image54.png"/><Relationship Id="rId5" Type="http://schemas.openxmlformats.org/officeDocument/2006/relationships/image" Target="../media/image6.png"/><Relationship Id="rId15" Type="http://schemas.openxmlformats.org/officeDocument/2006/relationships/image" Target="../media/image16.png"/><Relationship Id="rId23" Type="http://schemas.openxmlformats.org/officeDocument/2006/relationships/image" Target="../media/image24.png"/><Relationship Id="rId28" Type="http://schemas.openxmlformats.org/officeDocument/2006/relationships/image" Target="../media/image29.png"/><Relationship Id="rId36" Type="http://schemas.openxmlformats.org/officeDocument/2006/relationships/image" Target="../media/image37.png"/><Relationship Id="rId49" Type="http://schemas.openxmlformats.org/officeDocument/2006/relationships/image" Target="../media/image50.png"/><Relationship Id="rId10" Type="http://schemas.openxmlformats.org/officeDocument/2006/relationships/image" Target="../media/image11.png"/><Relationship Id="rId19" Type="http://schemas.openxmlformats.org/officeDocument/2006/relationships/image" Target="../media/image20.png"/><Relationship Id="rId31" Type="http://schemas.openxmlformats.org/officeDocument/2006/relationships/image" Target="../media/image32.png"/><Relationship Id="rId44" Type="http://schemas.openxmlformats.org/officeDocument/2006/relationships/image" Target="../media/image45.png"/><Relationship Id="rId52" Type="http://schemas.openxmlformats.org/officeDocument/2006/relationships/image" Target="../media/image53.png"/><Relationship Id="rId4" Type="http://schemas.openxmlformats.org/officeDocument/2006/relationships/image" Target="../media/image5.png"/><Relationship Id="rId9" Type="http://schemas.openxmlformats.org/officeDocument/2006/relationships/image" Target="../media/image10.png"/><Relationship Id="rId14" Type="http://schemas.openxmlformats.org/officeDocument/2006/relationships/image" Target="../media/image15.png"/><Relationship Id="rId22" Type="http://schemas.openxmlformats.org/officeDocument/2006/relationships/image" Target="../media/image23.png"/><Relationship Id="rId27" Type="http://schemas.openxmlformats.org/officeDocument/2006/relationships/image" Target="../media/image28.png"/><Relationship Id="rId30" Type="http://schemas.openxmlformats.org/officeDocument/2006/relationships/image" Target="../media/image31.png"/><Relationship Id="rId35" Type="http://schemas.openxmlformats.org/officeDocument/2006/relationships/image" Target="../media/image36.png"/><Relationship Id="rId43" Type="http://schemas.openxmlformats.org/officeDocument/2006/relationships/image" Target="../media/image44.png"/><Relationship Id="rId48" Type="http://schemas.openxmlformats.org/officeDocument/2006/relationships/image" Target="../media/image49.png"/><Relationship Id="rId8" Type="http://schemas.openxmlformats.org/officeDocument/2006/relationships/image" Target="../media/image9.png"/><Relationship Id="rId51" Type="http://schemas.openxmlformats.org/officeDocument/2006/relationships/image" Target="../media/image52.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3" Type="http://schemas.openxmlformats.org/officeDocument/2006/relationships/image" Target="../media/image14.png"/><Relationship Id="rId18" Type="http://schemas.openxmlformats.org/officeDocument/2006/relationships/image" Target="../media/image19.png"/><Relationship Id="rId26" Type="http://schemas.openxmlformats.org/officeDocument/2006/relationships/image" Target="../media/image27.png"/><Relationship Id="rId39" Type="http://schemas.openxmlformats.org/officeDocument/2006/relationships/image" Target="../media/image40.png"/><Relationship Id="rId3" Type="http://schemas.openxmlformats.org/officeDocument/2006/relationships/image" Target="../media/image4.png"/><Relationship Id="rId21" Type="http://schemas.openxmlformats.org/officeDocument/2006/relationships/image" Target="../media/image22.png"/><Relationship Id="rId34" Type="http://schemas.openxmlformats.org/officeDocument/2006/relationships/image" Target="../media/image35.png"/><Relationship Id="rId42" Type="http://schemas.openxmlformats.org/officeDocument/2006/relationships/image" Target="../media/image43.png"/><Relationship Id="rId47" Type="http://schemas.openxmlformats.org/officeDocument/2006/relationships/image" Target="../media/image48.png"/><Relationship Id="rId50" Type="http://schemas.openxmlformats.org/officeDocument/2006/relationships/image" Target="../media/image51.png"/><Relationship Id="rId7" Type="http://schemas.openxmlformats.org/officeDocument/2006/relationships/image" Target="../media/image8.png"/><Relationship Id="rId12" Type="http://schemas.openxmlformats.org/officeDocument/2006/relationships/image" Target="../media/image13.png"/><Relationship Id="rId17" Type="http://schemas.openxmlformats.org/officeDocument/2006/relationships/image" Target="../media/image18.png"/><Relationship Id="rId25" Type="http://schemas.openxmlformats.org/officeDocument/2006/relationships/image" Target="../media/image26.png"/><Relationship Id="rId33" Type="http://schemas.openxmlformats.org/officeDocument/2006/relationships/image" Target="../media/image34.png"/><Relationship Id="rId38" Type="http://schemas.openxmlformats.org/officeDocument/2006/relationships/image" Target="../media/image39.png"/><Relationship Id="rId46" Type="http://schemas.openxmlformats.org/officeDocument/2006/relationships/image" Target="../media/image47.png"/><Relationship Id="rId2" Type="http://schemas.openxmlformats.org/officeDocument/2006/relationships/image" Target="../media/image3.png"/><Relationship Id="rId16" Type="http://schemas.openxmlformats.org/officeDocument/2006/relationships/image" Target="../media/image17.png"/><Relationship Id="rId20" Type="http://schemas.openxmlformats.org/officeDocument/2006/relationships/image" Target="../media/image21.png"/><Relationship Id="rId29" Type="http://schemas.openxmlformats.org/officeDocument/2006/relationships/image" Target="../media/image30.png"/><Relationship Id="rId41" Type="http://schemas.openxmlformats.org/officeDocument/2006/relationships/image" Target="../media/image42.png"/><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12.png"/><Relationship Id="rId24" Type="http://schemas.openxmlformats.org/officeDocument/2006/relationships/image" Target="../media/image25.png"/><Relationship Id="rId32" Type="http://schemas.openxmlformats.org/officeDocument/2006/relationships/image" Target="../media/image33.png"/><Relationship Id="rId37" Type="http://schemas.openxmlformats.org/officeDocument/2006/relationships/image" Target="../media/image38.png"/><Relationship Id="rId40" Type="http://schemas.openxmlformats.org/officeDocument/2006/relationships/image" Target="../media/image41.png"/><Relationship Id="rId45" Type="http://schemas.openxmlformats.org/officeDocument/2006/relationships/image" Target="../media/image46.png"/><Relationship Id="rId53" Type="http://schemas.openxmlformats.org/officeDocument/2006/relationships/image" Target="../media/image54.png"/><Relationship Id="rId5" Type="http://schemas.openxmlformats.org/officeDocument/2006/relationships/image" Target="../media/image6.png"/><Relationship Id="rId15" Type="http://schemas.openxmlformats.org/officeDocument/2006/relationships/image" Target="../media/image16.png"/><Relationship Id="rId23" Type="http://schemas.openxmlformats.org/officeDocument/2006/relationships/image" Target="../media/image24.png"/><Relationship Id="rId28" Type="http://schemas.openxmlformats.org/officeDocument/2006/relationships/image" Target="../media/image29.png"/><Relationship Id="rId36" Type="http://schemas.openxmlformats.org/officeDocument/2006/relationships/image" Target="../media/image37.png"/><Relationship Id="rId49" Type="http://schemas.openxmlformats.org/officeDocument/2006/relationships/image" Target="../media/image50.png"/><Relationship Id="rId10" Type="http://schemas.openxmlformats.org/officeDocument/2006/relationships/image" Target="../media/image11.png"/><Relationship Id="rId19" Type="http://schemas.openxmlformats.org/officeDocument/2006/relationships/image" Target="../media/image20.png"/><Relationship Id="rId31" Type="http://schemas.openxmlformats.org/officeDocument/2006/relationships/image" Target="../media/image32.png"/><Relationship Id="rId44" Type="http://schemas.openxmlformats.org/officeDocument/2006/relationships/image" Target="../media/image45.png"/><Relationship Id="rId52" Type="http://schemas.openxmlformats.org/officeDocument/2006/relationships/image" Target="../media/image53.png"/><Relationship Id="rId4" Type="http://schemas.openxmlformats.org/officeDocument/2006/relationships/image" Target="../media/image5.png"/><Relationship Id="rId9" Type="http://schemas.openxmlformats.org/officeDocument/2006/relationships/image" Target="../media/image10.png"/><Relationship Id="rId14" Type="http://schemas.openxmlformats.org/officeDocument/2006/relationships/image" Target="../media/image15.png"/><Relationship Id="rId22" Type="http://schemas.openxmlformats.org/officeDocument/2006/relationships/image" Target="../media/image23.png"/><Relationship Id="rId27" Type="http://schemas.openxmlformats.org/officeDocument/2006/relationships/image" Target="../media/image28.png"/><Relationship Id="rId30" Type="http://schemas.openxmlformats.org/officeDocument/2006/relationships/image" Target="../media/image31.png"/><Relationship Id="rId35" Type="http://schemas.openxmlformats.org/officeDocument/2006/relationships/image" Target="../media/image36.png"/><Relationship Id="rId43" Type="http://schemas.openxmlformats.org/officeDocument/2006/relationships/image" Target="../media/image44.png"/><Relationship Id="rId48" Type="http://schemas.openxmlformats.org/officeDocument/2006/relationships/image" Target="../media/image49.png"/><Relationship Id="rId8" Type="http://schemas.openxmlformats.org/officeDocument/2006/relationships/image" Target="../media/image9.png"/><Relationship Id="rId51" Type="http://schemas.openxmlformats.org/officeDocument/2006/relationships/image" Target="../media/image52.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9191213"/>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77088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30953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148015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25591491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74640" y="983957"/>
            <a:ext cx="11889564" cy="696866"/>
          </a:xfrm>
        </p:spPr>
        <p:txBody>
          <a:bodyPr/>
          <a:lstStyle>
            <a:lvl1pPr marL="0" indent="0" algn="l" defTabSz="932563"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141717656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74640" y="1657504"/>
            <a:ext cx="11889564" cy="696866"/>
          </a:xfrm>
        </p:spPr>
        <p:txBody>
          <a:bodyPr/>
          <a:lstStyle>
            <a:lvl1pPr marL="0" indent="0" algn="l" defTabSz="932563"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268570467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94064"/>
          </a:xfrm>
          <a:noFill/>
        </p:spPr>
        <p:txBody>
          <a:bodyPr lIns="182880" tIns="146304" rIns="182880" bIns="146304">
            <a:sp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1900749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012144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1729285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1597725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004518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483358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680827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652859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770411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958357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081986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944952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318090729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6892931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3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7227999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mo slide">
    <p:bg bwMode="gray">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274639" y="1209973"/>
            <a:ext cx="10056812" cy="2744490"/>
          </a:xfrm>
          <a:noFill/>
        </p:spPr>
        <p:txBody>
          <a:bodyPr tIns="91440" bIns="91440" anchor="t" anchorCtr="0">
            <a:no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bwMode="white">
          <a:xfrm>
            <a:off x="274638" y="3954463"/>
            <a:ext cx="10058401" cy="1828800"/>
          </a:xfrm>
          <a:noFill/>
        </p:spPr>
        <p:txBody>
          <a:bodyPr lIns="182880" tIns="146304" rIns="182880" bIns="146304">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301506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9_Title Slide Photo_Option">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l="478" t="-1" b="1518"/>
          <a:stretch/>
        </p:blipFill>
        <p:spPr>
          <a:xfrm>
            <a:off x="-7344" y="1"/>
            <a:ext cx="12443819" cy="5265169"/>
          </a:xfrm>
          <a:prstGeom prst="rect">
            <a:avLst/>
          </a:prstGeom>
        </p:spPr>
      </p:pic>
      <p:pic>
        <p:nvPicPr>
          <p:cNvPr id="15" name="Picture 1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025393" y="6149340"/>
            <a:ext cx="1706819" cy="376026"/>
          </a:xfrm>
          <a:prstGeom prst="rect">
            <a:avLst/>
          </a:prstGeom>
        </p:spPr>
      </p:pic>
      <p:sp>
        <p:nvSpPr>
          <p:cNvPr id="8" name="Title 1"/>
          <p:cNvSpPr>
            <a:spLocks noGrp="1"/>
          </p:cNvSpPr>
          <p:nvPr>
            <p:ph type="title" hasCustomPrompt="1"/>
          </p:nvPr>
        </p:nvSpPr>
        <p:spPr bwMode="auto">
          <a:xfrm>
            <a:off x="274703" y="2125664"/>
            <a:ext cx="6400736" cy="1828800"/>
          </a:xfrm>
          <a:noFill/>
        </p:spPr>
        <p:txBody>
          <a:bodyPr lIns="146304" tIns="91440" rIns="146304" bIns="91440" anchor="t" anchorCtr="0"/>
          <a:lstStyle>
            <a:lvl1pPr>
              <a:defRPr sz="5399" spc="-100" baseline="0">
                <a:gradFill>
                  <a:gsLst>
                    <a:gs pos="64646">
                      <a:srgbClr val="FFFFFF"/>
                    </a:gs>
                    <a:gs pos="45000">
                      <a:srgbClr val="FFFFFF"/>
                    </a:gs>
                  </a:gsLst>
                  <a:lin ang="5400000" scaled="0"/>
                </a:gradFill>
              </a:defRPr>
            </a:lvl1pPr>
          </a:lstStyle>
          <a:p>
            <a:r>
              <a:rPr lang="en-US" dirty="0"/>
              <a:t>Presentation title</a:t>
            </a:r>
          </a:p>
        </p:txBody>
      </p:sp>
      <p:sp>
        <p:nvSpPr>
          <p:cNvPr id="10" name="Text Placeholder 2"/>
          <p:cNvSpPr>
            <a:spLocks noGrp="1"/>
          </p:cNvSpPr>
          <p:nvPr>
            <p:ph type="body" sz="quarter" idx="14" hasCustomPrompt="1"/>
          </p:nvPr>
        </p:nvSpPr>
        <p:spPr bwMode="auto">
          <a:xfrm>
            <a:off x="273050" y="3954444"/>
            <a:ext cx="6402388" cy="1732583"/>
          </a:xfrm>
        </p:spPr>
        <p:txBody>
          <a:bodyPr tIns="109728" bIns="109728">
            <a:noAutofit/>
          </a:bodyPr>
          <a:lstStyle>
            <a:lvl1pPr marL="0" indent="0">
              <a:spcBef>
                <a:spcPts val="0"/>
              </a:spcBef>
              <a:buNone/>
              <a:defRPr sz="3199">
                <a:gradFill>
                  <a:gsLst>
                    <a:gs pos="64646">
                      <a:srgbClr val="FFFFFF"/>
                    </a:gs>
                    <a:gs pos="4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978459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2364075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8121018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p:bg bwMode="gray">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274639" y="1209973"/>
            <a:ext cx="10056812" cy="2744490"/>
          </a:xfrm>
          <a:noFill/>
        </p:spPr>
        <p:txBody>
          <a:bodyPr tIns="91440" bIns="91440" anchor="t" anchorCtr="0">
            <a:no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bwMode="white">
          <a:xfrm>
            <a:off x="274638" y="3954463"/>
            <a:ext cx="10058401" cy="1828800"/>
          </a:xfrm>
          <a:noFill/>
        </p:spPr>
        <p:txBody>
          <a:bodyPr lIns="182880" tIns="146304" rIns="182880" bIns="146304">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7528423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Accent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747494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Accent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109292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5040"/>
            <a:ext cx="3291840" cy="705836"/>
          </a:xfrm>
          <a:prstGeom prst="rect">
            <a:avLst/>
          </a:prstGeom>
        </p:spPr>
      </p:pic>
    </p:spTree>
    <p:extLst>
      <p:ext uri="{BB962C8B-B14F-4D97-AF65-F5344CB8AC3E}">
        <p14:creationId xmlns:p14="http://schemas.microsoft.com/office/powerpoint/2010/main" val="228455491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7835" y="0"/>
            <a:ext cx="12912145" cy="697839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32398" fontAlgn="base">
                <a:spcBef>
                  <a:spcPct val="0"/>
                </a:spcBef>
                <a:spcAft>
                  <a:spcPct val="0"/>
                </a:spcAft>
                <a:defRPr/>
              </a:pPr>
              <a:endParaRPr lang="en-US" sz="2000" kern="0" dirty="0">
                <a:gradFill>
                  <a:gsLst>
                    <a:gs pos="16814">
                      <a:srgbClr val="FFFFFF"/>
                    </a:gs>
                    <a:gs pos="46000">
                      <a:srgbClr val="FFFFFF"/>
                    </a:gs>
                  </a:gsLst>
                  <a:lin ang="5400000" scaled="0"/>
                </a:gradFill>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32425">
                <a:defRPr/>
              </a:pPr>
              <a:endParaRPr lang="en-US" sz="1836" kern="0">
                <a:solidFill>
                  <a:srgbClr val="FFFFFF"/>
                </a:solidFill>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913927" fontAlgn="base">
                <a:lnSpc>
                  <a:spcPct val="90000"/>
                </a:lnSpc>
                <a:defRPr/>
              </a:pPr>
              <a:r>
                <a:rPr lang="en-US" sz="1600"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BLOB </a:t>
                  </a:r>
                  <a:br>
                    <a:rPr lang="en-US" sz="1000" kern="0" dirty="0">
                      <a:gradFill>
                        <a:gsLst>
                          <a:gs pos="0">
                            <a:srgbClr val="FFFFFF"/>
                          </a:gs>
                          <a:gs pos="100000">
                            <a:srgbClr val="FFFFFF"/>
                          </a:gs>
                        </a:gsLst>
                        <a:lin ang="5400000" scaled="0"/>
                      </a:gradFill>
                      <a:ea typeface="Segoe UI" pitchFamily="34" charset="0"/>
                      <a:cs typeface="Segoe UI" pitchFamily="34" charset="0"/>
                    </a:rPr>
                  </a:br>
                  <a:r>
                    <a:rPr lang="en-US" sz="1000" kern="0" dirty="0">
                      <a:gradFill>
                        <a:gsLst>
                          <a:gs pos="0">
                            <a:srgbClr val="FFFFFF"/>
                          </a:gs>
                          <a:gs pos="100000">
                            <a:srgbClr val="FFFFFF"/>
                          </a:gs>
                        </a:gsLst>
                        <a:lin ang="5400000" scaled="0"/>
                      </a:gradFill>
                      <a:ea typeface="Segoe UI" pitchFamily="34" charset="0"/>
                      <a:cs typeface="Segoe UI" pitchFamily="34" charset="0"/>
                    </a:rPr>
                    <a:t>Storage</a:t>
                  </a:r>
                </a:p>
              </p:txBody>
            </p:sp>
            <p:pic>
              <p:nvPicPr>
                <p:cNvPr id="516" name="Picture 231" descr="Storage blob.png"/>
                <p:cNvPicPr>
                  <a:picLocks noChangeAspect="1"/>
                </p:cNvPicPr>
                <p:nvPr/>
              </p:nvPicPr>
              <p:blipFill>
                <a:blip r:embed="rId2" cstate="email">
                  <a:biLevel thresh="25000"/>
                  <a:extLst>
                    <a:ext uri="{28A0092B-C50C-407E-A947-70E740481C1C}">
                      <a14:useLocalDpi xmlns:a14="http://schemas.microsoft.com/office/drawing/2010/main"/>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Azure </a:t>
                  </a:r>
                  <a:br>
                    <a:rPr lang="en-US" sz="1000" kern="0" dirty="0">
                      <a:gradFill>
                        <a:gsLst>
                          <a:gs pos="0">
                            <a:srgbClr val="FFFFFF"/>
                          </a:gs>
                          <a:gs pos="100000">
                            <a:srgbClr val="FFFFFF"/>
                          </a:gs>
                        </a:gsLst>
                        <a:lin ang="5400000" scaled="0"/>
                      </a:gradFill>
                      <a:ea typeface="Segoe UI" pitchFamily="34" charset="0"/>
                      <a:cs typeface="Segoe UI" pitchFamily="34" charset="0"/>
                    </a:rPr>
                  </a:br>
                  <a:r>
                    <a:rPr lang="en-US" sz="1000" kern="0" dirty="0">
                      <a:gradFill>
                        <a:gsLst>
                          <a:gs pos="0">
                            <a:srgbClr val="FFFFFF"/>
                          </a:gs>
                          <a:gs pos="100000">
                            <a:srgbClr val="FFFFFF"/>
                          </a:gs>
                        </a:gsLst>
                        <a:lin ang="5400000" scaled="0"/>
                      </a:gradFill>
                      <a:ea typeface="Segoe UI" pitchFamily="34" charset="0"/>
                      <a:cs typeface="Segoe UI" pitchFamily="34" charset="0"/>
                    </a:rPr>
                    <a:t>Files</a:t>
                  </a:r>
                </a:p>
              </p:txBody>
            </p:sp>
            <p:pic>
              <p:nvPicPr>
                <p:cNvPr id="514" name="Picture 232" descr="Storage blob.png"/>
                <p:cNvPicPr>
                  <a:picLocks noChangeAspect="1"/>
                </p:cNvPicPr>
                <p:nvPr/>
              </p:nvPicPr>
              <p:blipFill>
                <a:blip r:embed="rId2" cstate="email">
                  <a:biLevel thresh="25000"/>
                  <a:extLst>
                    <a:ext uri="{28A0092B-C50C-407E-A947-70E740481C1C}">
                      <a14:useLocalDpi xmlns:a14="http://schemas.microsoft.com/office/drawing/2010/main"/>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cstate="email">
                  <a:biLevel thresh="25000"/>
                  <a:extLst>
                    <a:ext uri="{28A0092B-C50C-407E-A947-70E740481C1C}">
                      <a14:useLocalDpi xmlns:a14="http://schemas.microsoft.com/office/drawing/2010/main"/>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Virtual</a:t>
                  </a:r>
                  <a:br>
                    <a:rPr lang="en-US" sz="1000" kern="0" dirty="0">
                      <a:gradFill>
                        <a:gsLst>
                          <a:gs pos="0">
                            <a:srgbClr val="FFFFFF"/>
                          </a:gs>
                          <a:gs pos="100000">
                            <a:srgbClr val="FFFFFF"/>
                          </a:gs>
                        </a:gsLst>
                        <a:lin ang="5400000" scaled="0"/>
                      </a:gradFill>
                      <a:ea typeface="Segoe UI" pitchFamily="34" charset="0"/>
                      <a:cs typeface="Segoe UI" pitchFamily="34" charset="0"/>
                    </a:rPr>
                  </a:br>
                  <a:r>
                    <a:rPr lang="en-US" sz="1000" kern="0" dirty="0">
                      <a:gradFill>
                        <a:gsLst>
                          <a:gs pos="0">
                            <a:srgbClr val="FFFFFF"/>
                          </a:gs>
                          <a:gs pos="100000">
                            <a:srgbClr val="FFFFFF"/>
                          </a:gs>
                        </a:gsLst>
                        <a:lin ang="5400000" scaled="0"/>
                      </a:gradFill>
                      <a:ea typeface="Segoe UI" pitchFamily="34" charset="0"/>
                      <a:cs typeface="Segoe UI" pitchFamily="34" charset="0"/>
                    </a:rPr>
                    <a:t>Machine</a:t>
                  </a:r>
                </a:p>
              </p:txBody>
            </p:sp>
            <p:pic>
              <p:nvPicPr>
                <p:cNvPr id="504" name="Picture 395"/>
                <p:cNvPicPr>
                  <a:picLocks noChangeAspect="1"/>
                </p:cNvPicPr>
                <p:nvPr/>
              </p:nvPicPr>
              <p:blipFill>
                <a:blip r:embed="rId3" cstate="email">
                  <a:biLevel thresh="25000"/>
                  <a:extLst>
                    <a:ext uri="{28A0092B-C50C-407E-A947-70E740481C1C}">
                      <a14:useLocalDpi xmlns:a14="http://schemas.microsoft.com/office/drawing/2010/main"/>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Virtual Network</a:t>
                  </a:r>
                </a:p>
              </p:txBody>
            </p:sp>
            <p:pic>
              <p:nvPicPr>
                <p:cNvPr id="483" name="Picture 226"/>
                <p:cNvPicPr>
                  <a:picLocks noChangeAspect="1"/>
                </p:cNvPicPr>
                <p:nvPr/>
              </p:nvPicPr>
              <p:blipFill>
                <a:blip r:embed="rId4" cstate="email">
                  <a:biLevel thresh="25000"/>
                  <a:extLst>
                    <a:ext uri="{28A0092B-C50C-407E-A947-70E740481C1C}">
                      <a14:useLocalDpi xmlns:a14="http://schemas.microsoft.com/office/drawing/2010/main"/>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Express</a:t>
                  </a:r>
                </a:p>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Route</a:t>
                  </a:r>
                </a:p>
              </p:txBody>
            </p:sp>
            <p:pic>
              <p:nvPicPr>
                <p:cNvPr id="481" name="Picture 227"/>
                <p:cNvPicPr>
                  <a:picLocks noChangeAspect="1"/>
                </p:cNvPicPr>
                <p:nvPr/>
              </p:nvPicPr>
              <p:blipFill>
                <a:blip r:embed="rId5" cstate="email">
                  <a:biLevel thresh="25000"/>
                  <a:extLst>
                    <a:ext uri="{28A0092B-C50C-407E-A947-70E740481C1C}">
                      <a14:useLocalDpi xmlns:a14="http://schemas.microsoft.com/office/drawing/2010/main"/>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Traffic Manager</a:t>
                  </a:r>
                </a:p>
              </p:txBody>
            </p:sp>
            <p:pic>
              <p:nvPicPr>
                <p:cNvPr id="479" name="Picture 88"/>
                <p:cNvPicPr>
                  <a:picLocks noChangeAspect="1"/>
                </p:cNvPicPr>
                <p:nvPr/>
              </p:nvPicPr>
              <p:blipFill>
                <a:blip r:embed="rId6" cstate="email">
                  <a:biLevel thresh="25000"/>
                  <a:extLst>
                    <a:ext uri="{28A0092B-C50C-407E-A947-70E740481C1C}">
                      <a14:useLocalDpi xmlns:a14="http://schemas.microsoft.com/office/drawing/2010/main"/>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DNS</a:t>
                  </a:r>
                </a:p>
              </p:txBody>
            </p:sp>
            <p:pic>
              <p:nvPicPr>
                <p:cNvPr id="475" name="Picture 3"/>
                <p:cNvPicPr>
                  <a:picLocks noChangeAspect="1"/>
                </p:cNvPicPr>
                <p:nvPr/>
              </p:nvPicPr>
              <p:blipFill>
                <a:blip r:embed="rId7" cstate="email">
                  <a:biLevel thresh="25000"/>
                  <a:extLst>
                    <a:ext uri="{28A0092B-C50C-407E-A947-70E740481C1C}">
                      <a14:useLocalDpi xmlns:a14="http://schemas.microsoft.com/office/drawing/2010/main"/>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VPN </a:t>
                  </a:r>
                  <a:br>
                    <a:rPr lang="en-US" sz="1000" kern="0" dirty="0">
                      <a:gradFill>
                        <a:gsLst>
                          <a:gs pos="0">
                            <a:srgbClr val="FFFFFF"/>
                          </a:gs>
                          <a:gs pos="100000">
                            <a:srgbClr val="FFFFFF"/>
                          </a:gs>
                        </a:gsLst>
                        <a:lin ang="5400000" scaled="0"/>
                      </a:gradFill>
                      <a:ea typeface="Segoe UI" pitchFamily="34" charset="0"/>
                      <a:cs typeface="Segoe UI" pitchFamily="34" charset="0"/>
                    </a:rPr>
                  </a:br>
                  <a:r>
                    <a:rPr lang="en-US" sz="1000" kern="0" dirty="0">
                      <a:gradFill>
                        <a:gsLst>
                          <a:gs pos="0">
                            <a:srgbClr val="FFFFFF"/>
                          </a:gs>
                          <a:gs pos="100000">
                            <a:srgbClr val="FFFFFF"/>
                          </a:gs>
                        </a:gsLst>
                        <a:lin ang="5400000" scaled="0"/>
                      </a:gradFill>
                      <a:ea typeface="Segoe UI" pitchFamily="34" charset="0"/>
                      <a:cs typeface="Segoe UI" pitchFamily="34" charset="0"/>
                    </a:rPr>
                    <a:t>Gateway</a:t>
                  </a:r>
                </a:p>
              </p:txBody>
            </p:sp>
            <p:pic>
              <p:nvPicPr>
                <p:cNvPr id="473" name="Picture 9"/>
                <p:cNvPicPr>
                  <a:picLocks noChangeAspect="1"/>
                </p:cNvPicPr>
                <p:nvPr/>
              </p:nvPicPr>
              <p:blipFill>
                <a:blip r:embed="rId8" cstate="email">
                  <a:biLevel thresh="25000"/>
                  <a:extLst>
                    <a:ext uri="{28A0092B-C50C-407E-A947-70E740481C1C}">
                      <a14:useLocalDpi xmlns:a14="http://schemas.microsoft.com/office/drawing/2010/main"/>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Load Balancer</a:t>
                  </a:r>
                </a:p>
              </p:txBody>
            </p:sp>
            <p:pic>
              <p:nvPicPr>
                <p:cNvPr id="471" name="Picture 11"/>
                <p:cNvPicPr>
                  <a:picLocks noChangeAspect="1"/>
                </p:cNvPicPr>
                <p:nvPr/>
              </p:nvPicPr>
              <p:blipFill>
                <a:blip r:embed="rId9" cstate="email">
                  <a:biLevel thresh="25000"/>
                  <a:extLst>
                    <a:ext uri="{28A0092B-C50C-407E-A947-70E740481C1C}">
                      <a14:useLocalDpi xmlns:a14="http://schemas.microsoft.com/office/drawing/2010/main"/>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600"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Web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cstate="email">
                      <a:biLevel thresh="25000"/>
                      <a:extLst>
                        <a:ext uri="{28A0092B-C50C-407E-A947-70E740481C1C}">
                          <a14:useLocalDpi xmlns:a14="http://schemas.microsoft.com/office/drawing/2010/main"/>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Mobil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cstate="email">
                      <a:biLevel thresh="25000"/>
                      <a:extLst>
                        <a:ext uri="{28A0092B-C50C-407E-A947-70E740481C1C}">
                          <a14:useLocalDpi xmlns:a14="http://schemas.microsoft.com/office/drawing/2010/main"/>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PI</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cstate="email">
                      <a:biLevel thresh="25000"/>
                      <a:extLst>
                        <a:ext uri="{28A0092B-C50C-407E-A947-70E740481C1C}">
                          <a14:useLocalDpi xmlns:a14="http://schemas.microsoft.com/office/drawing/2010/main"/>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PI</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cstate="email">
                      <a:biLevel thresh="25000"/>
                      <a:extLst>
                        <a:ext uri="{28A0092B-C50C-407E-A947-70E740481C1C}">
                          <a14:useLocalDpi xmlns:a14="http://schemas.microsoft.com/office/drawing/2010/main"/>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Logic</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cstate="email">
                      <a:biLevel thresh="25000"/>
                      <a:extLst>
                        <a:ext uri="{28A0092B-C50C-407E-A947-70E740481C1C}">
                          <a14:useLocalDpi xmlns:a14="http://schemas.microsoft.com/office/drawing/2010/main"/>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Notification</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cstate="email">
                      <a:biLevel thresh="25000"/>
                      <a:extLst>
                        <a:ext uri="{28A0092B-C50C-407E-A947-70E740481C1C}">
                          <a14:useLocalDpi xmlns:a14="http://schemas.microsoft.com/office/drawing/2010/main"/>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altLang="en-US" sz="900" kern="0" dirty="0">
                            <a:gradFill>
                              <a:gsLst>
                                <a:gs pos="76250">
                                  <a:srgbClr val="FFFFFF"/>
                                </a:gs>
                                <a:gs pos="31000">
                                  <a:srgbClr val="FFFFFF"/>
                                </a:gs>
                              </a:gsLst>
                              <a:lin ang="5400000" scaled="0"/>
                            </a:gradFill>
                          </a:rPr>
                          <a:t>Content Delivery</a:t>
                        </a:r>
                        <a:br>
                          <a:rPr lang="en-US" altLang="en-US" sz="900" kern="0" dirty="0">
                            <a:gradFill>
                              <a:gsLst>
                                <a:gs pos="76250">
                                  <a:srgbClr val="FFFFFF"/>
                                </a:gs>
                                <a:gs pos="31000">
                                  <a:srgbClr val="FFFFFF"/>
                                </a:gs>
                              </a:gsLst>
                              <a:lin ang="5400000" scaled="0"/>
                            </a:gradFill>
                          </a:rPr>
                        </a:br>
                        <a:r>
                          <a:rPr lang="en-US" altLang="en-US" sz="900" kern="0" dirty="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cstate="email">
                        <a:biLevel thresh="25000"/>
                        <a:extLst>
                          <a:ext uri="{28A0092B-C50C-407E-A947-70E740481C1C}">
                            <a14:useLocalDpi xmlns:a14="http://schemas.microsoft.com/office/drawing/2010/main"/>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Media</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cstate="email">
                        <a:biLevel thresh="25000"/>
                        <a:extLst>
                          <a:ext uri="{28A0092B-C50C-407E-A947-70E740481C1C}">
                            <a14:useLocalDpi xmlns:a14="http://schemas.microsoft.com/office/drawing/2010/main"/>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nd </a:t>
                    </a:r>
                    <a:r>
                      <a:rPr lang="en-US" sz="1200"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err="1">
                            <a:gradFill>
                              <a:gsLst>
                                <a:gs pos="76250">
                                  <a:srgbClr val="FFFFFF"/>
                                </a:gs>
                                <a:gs pos="31000">
                                  <a:srgbClr val="FFFFFF"/>
                                </a:gs>
                              </a:gsLst>
                              <a:lin ang="5400000" scaled="0"/>
                            </a:gradFill>
                          </a:rPr>
                          <a:t>HDInsight</a:t>
                        </a:r>
                        <a:endParaRPr lang="en-US" kern="0" dirty="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cstate="email">
                        <a:biLevel thresh="25000"/>
                        <a:extLst>
                          <a:ext uri="{28A0092B-C50C-407E-A947-70E740481C1C}">
                            <a14:useLocalDpi xmlns:a14="http://schemas.microsoft.com/office/drawing/2010/main"/>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Machin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cstate="email">
                        <a:biLevel thresh="25000"/>
                        <a:extLst>
                          <a:ext uri="{28A0092B-C50C-407E-A947-70E740481C1C}">
                            <a14:useLocalDpi xmlns:a14="http://schemas.microsoft.com/office/drawing/2010/main"/>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tream</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cstate="email">
                        <a:biLevel thresh="25000"/>
                        <a:extLst>
                          <a:ext uri="{28A0092B-C50C-407E-A947-70E740481C1C}">
                            <a14:useLocalDpi xmlns:a14="http://schemas.microsoft.com/office/drawing/2010/main"/>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Data</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cstate="email">
                        <a:biLevel thresh="25000"/>
                        <a:extLst>
                          <a:ext uri="{28A0092B-C50C-407E-A947-70E740481C1C}">
                            <a14:useLocalDpi xmlns:a14="http://schemas.microsoft.com/office/drawing/2010/main"/>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Event</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cstate="email">
                        <a:biLevel thresh="25000"/>
                        <a:extLst>
                          <a:ext uri="{28A0092B-C50C-407E-A947-70E740481C1C}">
                            <a14:useLocalDpi xmlns:a14="http://schemas.microsoft.com/office/drawing/2010/main"/>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Mobil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cstate="email">
                        <a:biLevel thresh="25000"/>
                        <a:extLst>
                          <a:ext uri="{28A0092B-C50C-407E-A947-70E740481C1C}">
                            <a14:useLocalDpi xmlns:a14="http://schemas.microsoft.com/office/drawing/2010/main"/>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err="1">
                            <a:gradFill>
                              <a:gsLst>
                                <a:gs pos="76250">
                                  <a:srgbClr val="FFFFFF"/>
                                </a:gs>
                                <a:gs pos="31000">
                                  <a:srgbClr val="FFFFFF"/>
                                </a:gs>
                              </a:gsLst>
                              <a:lin ang="5400000" scaled="0"/>
                            </a:gradFill>
                          </a:rPr>
                          <a:t>Biztalk</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cstate="email">
                        <a:biLevel thresh="25000"/>
                        <a:extLst>
                          <a:ext uri="{28A0092B-C50C-407E-A947-70E740481C1C}">
                            <a14:useLocalDpi xmlns:a14="http://schemas.microsoft.com/office/drawing/2010/main"/>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Hybrid</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cstate="email">
                        <a:biLevel thresh="25000"/>
                        <a:extLst>
                          <a:ext uri="{28A0092B-C50C-407E-A947-70E740481C1C}">
                            <a14:useLocalDpi xmlns:a14="http://schemas.microsoft.com/office/drawing/2010/main"/>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ervic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cstate="email">
                        <a:biLevel thresh="25000"/>
                        <a:extLst>
                          <a:ext uri="{28A0092B-C50C-407E-A947-70E740481C1C}">
                            <a14:useLocalDpi xmlns:a14="http://schemas.microsoft.com/office/drawing/2010/main"/>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torag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cstate="email">
                        <a:biLevel thresh="25000"/>
                        <a:extLst>
                          <a:ext uri="{28A0092B-C50C-407E-A947-70E740481C1C}">
                            <a14:useLocalDpi xmlns:a14="http://schemas.microsoft.com/office/drawing/2010/main"/>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QL</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cstate="email">
                        <a:biLevel thresh="25000"/>
                        <a:extLst>
                          <a:ext uri="{28A0092B-C50C-407E-A947-70E740481C1C}">
                            <a14:useLocalDpi xmlns:a14="http://schemas.microsoft.com/office/drawing/2010/main"/>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err="1">
                            <a:gradFill>
                              <a:gsLst>
                                <a:gs pos="76250">
                                  <a:srgbClr val="FFFFFF"/>
                                </a:gs>
                                <a:gs pos="31000">
                                  <a:srgbClr val="FFFFFF"/>
                                </a:gs>
                              </a:gsLst>
                              <a:lin ang="5400000" scaled="0"/>
                            </a:gradFill>
                          </a:rPr>
                          <a:t>DocumentDB</a:t>
                        </a:r>
                        <a:endParaRPr lang="en-US" kern="0" dirty="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cstate="email">
                        <a:biLevel thresh="25000"/>
                        <a:extLst>
                          <a:ext uri="{28A0092B-C50C-407E-A947-70E740481C1C}">
                            <a14:useLocalDpi xmlns:a14="http://schemas.microsoft.com/office/drawing/2010/main"/>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err="1">
                            <a:gradFill>
                              <a:gsLst>
                                <a:gs pos="76250">
                                  <a:srgbClr val="FFFFFF"/>
                                </a:gs>
                                <a:gs pos="31000">
                                  <a:srgbClr val="FFFFFF"/>
                                </a:gs>
                              </a:gsLst>
                              <a:lin ang="5400000" scaled="0"/>
                            </a:gradFill>
                          </a:rPr>
                          <a:t>Redis</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cstate="email">
                        <a:biLevel thresh="25000"/>
                        <a:extLst>
                          <a:ext uri="{28A0092B-C50C-407E-A947-70E740481C1C}">
                            <a14:useLocalDpi xmlns:a14="http://schemas.microsoft.com/office/drawing/2010/main"/>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cstate="email">
                        <a:biLevel thresh="25000"/>
                        <a:extLst>
                          <a:ext uri="{28A0092B-C50C-407E-A947-70E740481C1C}">
                            <a14:useLocalDpi xmlns:a14="http://schemas.microsoft.com/office/drawing/2010/main"/>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cstate="email">
                        <a:biLevel thresh="25000"/>
                        <a:extLst>
                          <a:ext uri="{28A0092B-C50C-407E-A947-70E740481C1C}">
                            <a14:useLocalDpi xmlns:a14="http://schemas.microsoft.com/office/drawing/2010/main"/>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cstate="email">
                        <a:extLst>
                          <a:ext uri="{28A0092B-C50C-407E-A947-70E740481C1C}">
                            <a14:useLocalDpi xmlns:a14="http://schemas.microsoft.com/office/drawing/2010/main"/>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QL Data</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Cloud</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cstate="email">
                      <a:biLevel thresh="25000"/>
                      <a:extLst>
                        <a:ext uri="{28A0092B-C50C-407E-A947-70E740481C1C}">
                          <a14:useLocalDpi xmlns:a14="http://schemas.microsoft.com/office/drawing/2010/main"/>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cstate="email">
                      <a:biLevel thresh="25000"/>
                      <a:extLst>
                        <a:ext uri="{28A0092B-C50C-407E-A947-70E740481C1C}">
                          <a14:useLocalDpi xmlns:a14="http://schemas.microsoft.com/office/drawing/2010/main"/>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Remote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cstate="email">
                      <a:biLevel thresh="25000"/>
                      <a:extLst>
                        <a:ext uri="{28A0092B-C50C-407E-A947-70E740481C1C}">
                          <a14:useLocalDpi xmlns:a14="http://schemas.microsoft.com/office/drawing/2010/main"/>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ervic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Visual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cstate="email">
                      <a:biLevel thresh="25000"/>
                      <a:extLst>
                        <a:ext uri="{28A0092B-C50C-407E-A947-70E740481C1C}">
                          <a14:useLocalDpi xmlns:a14="http://schemas.microsoft.com/office/drawing/2010/main"/>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pplication</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cstate="email">
                      <a:biLevel thresh="25000"/>
                      <a:extLst>
                        <a:ext uri="{28A0092B-C50C-407E-A947-70E740481C1C}">
                          <a14:useLocalDpi xmlns:a14="http://schemas.microsoft.com/office/drawing/2010/main"/>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cstate="email">
                      <a:biLevel thresh="25000"/>
                      <a:extLst>
                        <a:ext uri="{28A0092B-C50C-407E-A947-70E740481C1C}">
                          <a14:useLocalDpi xmlns:a14="http://schemas.microsoft.com/office/drawing/2010/main"/>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Team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913927" fontAlgn="base">
                    <a:lnSpc>
                      <a:spcPct val="90000"/>
                    </a:lnSpc>
                    <a:defRPr/>
                  </a:pPr>
                  <a:r>
                    <a:rPr lang="en-US" sz="14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ctiv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cstate="email">
                      <a:biLevel thresh="25000"/>
                      <a:extLst>
                        <a:ext uri="{28A0092B-C50C-407E-A947-70E740481C1C}">
                          <a14:useLocalDpi xmlns:a14="http://schemas.microsoft.com/office/drawing/2010/main"/>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Multi-factor</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cstate="email">
                      <a:biLevel thresh="25000"/>
                      <a:extLst>
                        <a:ext uri="{28A0092B-C50C-407E-A947-70E740481C1C}">
                          <a14:useLocalDpi xmlns:a14="http://schemas.microsoft.com/office/drawing/2010/main"/>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cstate="email">
                      <a:biLevel thresh="25000"/>
                      <a:extLst>
                        <a:ext uri="{28A0092B-C50C-407E-A947-70E740481C1C}">
                          <a14:useLocalDpi xmlns:a14="http://schemas.microsoft.com/office/drawing/2010/main"/>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32317" eaLnBrk="0" fontAlgn="base" hangingPunct="0">
                        <a:lnSpc>
                          <a:spcPct val="90000"/>
                        </a:lnSpc>
                        <a:spcBef>
                          <a:spcPts val="600"/>
                        </a:spcBef>
                        <a:spcAft>
                          <a:spcPct val="0"/>
                        </a:spcAft>
                        <a:defRPr/>
                      </a:pPr>
                      <a:r>
                        <a:rPr lang="en-US" sz="1000" kern="0" dirty="0">
                          <a:gradFill>
                            <a:gsLst>
                              <a:gs pos="76250">
                                <a:srgbClr val="FFFFFF"/>
                              </a:gs>
                              <a:gs pos="31000">
                                <a:srgbClr val="FFFFFF"/>
                              </a:gs>
                            </a:gsLst>
                            <a:lin ang="5400000" scaled="0"/>
                          </a:gradFill>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cstate="email">
                      <a:biLevel thresh="25000"/>
                      <a:extLst>
                        <a:ext uri="{28A0092B-C50C-407E-A947-70E740481C1C}">
                          <a14:useLocalDpi xmlns:a14="http://schemas.microsoft.com/office/drawing/2010/main"/>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cstate="email">
                      <a:extLst>
                        <a:ext uri="{28A0092B-C50C-407E-A947-70E740481C1C}">
                          <a14:useLocalDpi xmlns:a14="http://schemas.microsoft.com/office/drawing/2010/main"/>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tor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cstate="email">
                      <a:biLevel thresh="25000"/>
                      <a:extLst>
                        <a:ext uri="{28A0092B-C50C-407E-A947-70E740481C1C}">
                          <a14:useLocalDpi xmlns:a14="http://schemas.microsoft.com/office/drawing/2010/main"/>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cstate="email">
                      <a:biLevel thresh="25000"/>
                      <a:extLst>
                        <a:ext uri="{28A0092B-C50C-407E-A947-70E740481C1C}">
                          <a14:useLocalDpi xmlns:a14="http://schemas.microsoft.com/office/drawing/2010/main"/>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VM Image Gallery</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913927" fontAlgn="base">
                    <a:lnSpc>
                      <a:spcPct val="90000"/>
                    </a:lnSpc>
                    <a:defRPr/>
                  </a:pPr>
                  <a:r>
                    <a:rPr lang="en-US" sz="14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913927" fontAlgn="base">
                    <a:lnSpc>
                      <a:spcPct val="90000"/>
                    </a:lnSpc>
                    <a:defRPr/>
                  </a:pPr>
                  <a:r>
                    <a:rPr lang="en-US" sz="14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cstate="email">
                      <a:biLevel thresh="25000"/>
                      <a:extLst>
                        <a:ext uri="{28A0092B-C50C-407E-A947-70E740481C1C}">
                          <a14:useLocalDpi xmlns:a14="http://schemas.microsoft.com/office/drawing/2010/main"/>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it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cstate="email">
                      <a:biLevel thresh="25000"/>
                      <a:extLst>
                        <a:ext uri="{28A0092B-C50C-407E-A947-70E740481C1C}">
                          <a14:useLocalDpi xmlns:a14="http://schemas.microsoft.com/office/drawing/2010/main"/>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cstate="email">
                      <a:biLevel thresh="25000"/>
                      <a:extLst>
                        <a:ext uri="{28A0092B-C50C-407E-A947-70E740481C1C}">
                          <a14:useLocalDpi xmlns:a14="http://schemas.microsoft.com/office/drawing/2010/main"/>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D Privileged</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Identity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cstate="email">
                      <a:extLst>
                        <a:ext uri="{28A0092B-C50C-407E-A947-70E740481C1C}">
                          <a14:useLocalDpi xmlns:a14="http://schemas.microsoft.com/office/drawing/2010/main"/>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Operational</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cstate="email">
                      <a:biLevel thresh="25000"/>
                      <a:extLst>
                        <a:ext uri="{28A0092B-C50C-407E-A947-70E740481C1C}">
                          <a14:useLocalDpi xmlns:a14="http://schemas.microsoft.com/office/drawing/2010/main"/>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zure AD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cstate="email">
                        <a:biLevel thresh="25000"/>
                        <a:extLst>
                          <a:ext uri="{28A0092B-C50C-407E-A947-70E740481C1C}">
                            <a14:useLocalDpi xmlns:a14="http://schemas.microsoft.com/office/drawing/2010/main"/>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err="1">
                          <a:gradFill>
                            <a:gsLst>
                              <a:gs pos="76250">
                                <a:srgbClr val="FFFFFF"/>
                              </a:gs>
                              <a:gs pos="31000">
                                <a:srgbClr val="FFFFFF"/>
                              </a:gs>
                            </a:gsLst>
                            <a:lin ang="5400000" scaled="0"/>
                          </a:gradFill>
                        </a:rPr>
                        <a:t>StorSimple</a:t>
                      </a:r>
                      <a:endParaRPr lang="en-US" kern="0" dirty="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cstate="email">
                      <a:biLevel thresh="25000"/>
                      <a:extLst>
                        <a:ext uri="{28A0092B-C50C-407E-A947-70E740481C1C}">
                          <a14:useLocalDpi xmlns:a14="http://schemas.microsoft.com/office/drawing/2010/main"/>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913927" fontAlgn="base">
                <a:lnSpc>
                  <a:spcPct val="90000"/>
                </a:lnSpc>
                <a:defRPr/>
              </a:pPr>
              <a:r>
                <a:rPr lang="en-US" sz="14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101965999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29542030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57200" y="479426"/>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200" y="880968"/>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399"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37380278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Accent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8127435"/>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1895006"/>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030325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74639" y="1212851"/>
            <a:ext cx="11887200" cy="1927761"/>
          </a:xfrm>
        </p:spPr>
        <p:txBody>
          <a:bodyPr/>
          <a:lstStyle>
            <a:lvl1pPr marL="0" indent="0">
              <a:buNone/>
              <a:defRPr sz="3672">
                <a:solidFill>
                  <a:schemeClr val="bg1"/>
                </a:solidFill>
              </a:defRPr>
            </a:lvl1pPr>
            <a:lvl2pPr marL="0" indent="0">
              <a:buFontTx/>
              <a:buNone/>
              <a:defRPr sz="1836">
                <a:solidFill>
                  <a:schemeClr val="bg1"/>
                </a:solidFill>
              </a:defRPr>
            </a:lvl2pPr>
            <a:lvl3pPr marL="228557" indent="0">
              <a:buNone/>
              <a:defRPr sz="1836">
                <a:solidFill>
                  <a:schemeClr val="bg1"/>
                </a:solidFill>
              </a:defRPr>
            </a:lvl3pPr>
            <a:lvl4pPr marL="457112" indent="0">
              <a:buNone/>
              <a:defRPr sz="1632">
                <a:solidFill>
                  <a:schemeClr val="bg1"/>
                </a:solidFill>
              </a:defRPr>
            </a:lvl4pPr>
            <a:lvl5pPr marL="685669" indent="0">
              <a:buNone/>
              <a:defRPr sz="1632">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6962587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80694923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891608"/>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34344156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971589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035238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270401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74640" y="983957"/>
            <a:ext cx="11889564" cy="696866"/>
          </a:xfrm>
        </p:spPr>
        <p:txBody>
          <a:bodyPr/>
          <a:lstStyle>
            <a:lvl1pPr marL="0" indent="0" algn="l" defTabSz="932563"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201534190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74640" y="1657504"/>
            <a:ext cx="11889564" cy="696866"/>
          </a:xfrm>
        </p:spPr>
        <p:txBody>
          <a:bodyPr/>
          <a:lstStyle>
            <a:lvl1pPr marL="0" indent="0" algn="l" defTabSz="932563"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75168924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94064"/>
          </a:xfrm>
          <a:noFill/>
        </p:spPr>
        <p:txBody>
          <a:bodyPr lIns="182880" tIns="146304" rIns="182880" bIns="146304">
            <a:sp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650559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Accent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0945385"/>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6311420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1626133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6157541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747515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2561999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1845390"/>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23446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3962075"/>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850058"/>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025070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223300540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5040"/>
            <a:ext cx="3291840" cy="705836"/>
          </a:xfrm>
          <a:prstGeom prst="rect">
            <a:avLst/>
          </a:prstGeom>
        </p:spPr>
      </p:pic>
    </p:spTree>
    <p:extLst>
      <p:ext uri="{BB962C8B-B14F-4D97-AF65-F5344CB8AC3E}">
        <p14:creationId xmlns:p14="http://schemas.microsoft.com/office/powerpoint/2010/main" val="284766704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1276727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451105"/>
            <a:ext cx="12436475" cy="543421"/>
          </a:xfrm>
          <a:prstGeom prst="rect">
            <a:avLst/>
          </a:prstGeom>
          <a:solidFill>
            <a:srgbClr val="409AE1"/>
          </a:solidFill>
          <a:ln w="28575">
            <a:noFill/>
          </a:ln>
        </p:spPr>
        <p:txBody>
          <a:bodyPr vert="horz" wrap="square" lIns="93247" tIns="46623" rIns="93247" bIns="46623" numCol="1" anchor="t" anchorCtr="0" compatLnSpc="1">
            <a:prstTxWarp prst="textNoShape">
              <a:avLst/>
            </a:prstTxWarp>
          </a:bodyPr>
          <a:lstStyle/>
          <a:p>
            <a:pPr marR="0" lvl="0" indent="0" defTabSz="951121" fontAlgn="auto">
              <a:lnSpc>
                <a:spcPct val="100000"/>
              </a:lnSpc>
              <a:spcBef>
                <a:spcPts val="0"/>
              </a:spcBef>
              <a:spcAft>
                <a:spcPts val="0"/>
              </a:spcAft>
              <a:buClrTx/>
              <a:buSzTx/>
              <a:buFontTx/>
              <a:buNone/>
              <a:tabLst/>
            </a:pPr>
            <a:endParaRPr kumimoji="0" lang="en-US" sz="1071"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490356" y="6077722"/>
            <a:ext cx="2007519" cy="110355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3247" tIns="46623" rIns="93247" bIns="46623" numCol="1" anchor="t" anchorCtr="0" compatLnSpc="1">
            <a:prstTxWarp prst="textNoShape">
              <a:avLst/>
            </a:prstTxWarp>
          </a:bodyPr>
          <a:lstStyle/>
          <a:p>
            <a:pPr marL="0" marR="0" lvl="0" indent="0" defTabSz="951121" eaLnBrk="1" fontAlgn="auto" latinLnBrk="0" hangingPunct="1">
              <a:lnSpc>
                <a:spcPct val="100000"/>
              </a:lnSpc>
              <a:spcBef>
                <a:spcPts val="0"/>
              </a:spcBef>
              <a:spcAft>
                <a:spcPts val="0"/>
              </a:spcAft>
              <a:buClrTx/>
              <a:buSzTx/>
              <a:buFontTx/>
              <a:buNone/>
              <a:tabLst/>
              <a:defRPr/>
            </a:pPr>
            <a:endParaRPr kumimoji="0" lang="en-US" sz="1071"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525833" y="6339910"/>
            <a:ext cx="1861214" cy="789126"/>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740442" y="3859666"/>
            <a:ext cx="186070" cy="56669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800305" y="6820877"/>
            <a:ext cx="3896736" cy="166767"/>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90781" y="5824226"/>
            <a:ext cx="8001150" cy="772911"/>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449450" y="6428114"/>
            <a:ext cx="723540" cy="271351"/>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482956"/>
            <a:ext cx="12436475" cy="97641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45" name="Bent Arrow 44"/>
          <p:cNvSpPr/>
          <p:nvPr userDrawn="1"/>
        </p:nvSpPr>
        <p:spPr bwMode="auto">
          <a:xfrm rot="16200000">
            <a:off x="11768145" y="6741743"/>
            <a:ext cx="332072" cy="271390"/>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477245" y="6731767"/>
            <a:ext cx="123999" cy="12398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520500" y="6591208"/>
            <a:ext cx="38209" cy="126864"/>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21962" y="6994525"/>
            <a:ext cx="12784400"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2" name="Rectangle 51"/>
          <p:cNvSpPr/>
          <p:nvPr userDrawn="1"/>
        </p:nvSpPr>
        <p:spPr bwMode="auto">
          <a:xfrm>
            <a:off x="-399744" y="6195152"/>
            <a:ext cx="399744"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3" name="Rectangle 52"/>
          <p:cNvSpPr/>
          <p:nvPr userDrawn="1"/>
        </p:nvSpPr>
        <p:spPr bwMode="auto">
          <a:xfrm>
            <a:off x="0" y="6471310"/>
            <a:ext cx="12436475" cy="523216"/>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74950" y="6620265"/>
            <a:ext cx="955390" cy="210480"/>
          </a:xfrm>
          <a:prstGeom prst="rect">
            <a:avLst/>
          </a:prstGeom>
        </p:spPr>
      </p:pic>
    </p:spTree>
    <p:extLst>
      <p:ext uri="{BB962C8B-B14F-4D97-AF65-F5344CB8AC3E}">
        <p14:creationId xmlns:p14="http://schemas.microsoft.com/office/powerpoint/2010/main" val="208078853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7660376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57200" y="479426"/>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200" y="880968"/>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399"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2103239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1895006"/>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700214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74639" y="1212851"/>
            <a:ext cx="11887200" cy="1927761"/>
          </a:xfrm>
        </p:spPr>
        <p:txBody>
          <a:bodyPr/>
          <a:lstStyle>
            <a:lvl1pPr marL="0" indent="0">
              <a:buNone/>
              <a:defRPr sz="3672">
                <a:solidFill>
                  <a:schemeClr val="bg1"/>
                </a:solidFill>
              </a:defRPr>
            </a:lvl1pPr>
            <a:lvl2pPr marL="0" indent="0">
              <a:buFontTx/>
              <a:buNone/>
              <a:defRPr sz="1836">
                <a:solidFill>
                  <a:schemeClr val="bg1"/>
                </a:solidFill>
              </a:defRPr>
            </a:lvl2pPr>
            <a:lvl3pPr marL="228557" indent="0">
              <a:buNone/>
              <a:defRPr sz="1836">
                <a:solidFill>
                  <a:schemeClr val="bg1"/>
                </a:solidFill>
              </a:defRPr>
            </a:lvl3pPr>
            <a:lvl4pPr marL="457112" indent="0">
              <a:buNone/>
              <a:defRPr sz="1632">
                <a:solidFill>
                  <a:schemeClr val="bg1"/>
                </a:solidFill>
              </a:defRPr>
            </a:lvl4pPr>
            <a:lvl5pPr marL="685669" indent="0">
              <a:buNone/>
              <a:defRPr sz="1632">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3053859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65641123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891608"/>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57257044"/>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1828318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9370640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7835" y="0"/>
            <a:ext cx="12912145" cy="697839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32398" fontAlgn="base">
                <a:spcBef>
                  <a:spcPct val="0"/>
                </a:spcBef>
                <a:spcAft>
                  <a:spcPct val="0"/>
                </a:spcAft>
                <a:defRPr/>
              </a:pPr>
              <a:endParaRPr lang="en-US" sz="2000" kern="0" dirty="0">
                <a:gradFill>
                  <a:gsLst>
                    <a:gs pos="16814">
                      <a:srgbClr val="FFFFFF"/>
                    </a:gs>
                    <a:gs pos="46000">
                      <a:srgbClr val="FFFFFF"/>
                    </a:gs>
                  </a:gsLst>
                  <a:lin ang="5400000" scaled="0"/>
                </a:gradFill>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32425">
                <a:defRPr/>
              </a:pPr>
              <a:endParaRPr lang="en-US" sz="1836" kern="0">
                <a:solidFill>
                  <a:srgbClr val="FFFFFF"/>
                </a:solidFill>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913927" fontAlgn="base">
                <a:lnSpc>
                  <a:spcPct val="90000"/>
                </a:lnSpc>
                <a:defRPr/>
              </a:pPr>
              <a:r>
                <a:rPr lang="en-US" sz="1600"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BLOB </a:t>
                  </a:r>
                  <a:br>
                    <a:rPr lang="en-US" sz="1000" kern="0" dirty="0">
                      <a:gradFill>
                        <a:gsLst>
                          <a:gs pos="0">
                            <a:srgbClr val="FFFFFF"/>
                          </a:gs>
                          <a:gs pos="100000">
                            <a:srgbClr val="FFFFFF"/>
                          </a:gs>
                        </a:gsLst>
                        <a:lin ang="5400000" scaled="0"/>
                      </a:gradFill>
                      <a:ea typeface="Segoe UI" pitchFamily="34" charset="0"/>
                      <a:cs typeface="Segoe UI" pitchFamily="34" charset="0"/>
                    </a:rPr>
                  </a:br>
                  <a:r>
                    <a:rPr lang="en-US" sz="1000" kern="0" dirty="0">
                      <a:gradFill>
                        <a:gsLst>
                          <a:gs pos="0">
                            <a:srgbClr val="FFFFFF"/>
                          </a:gs>
                          <a:gs pos="100000">
                            <a:srgbClr val="FFFFFF"/>
                          </a:gs>
                        </a:gsLst>
                        <a:lin ang="5400000" scaled="0"/>
                      </a:gradFill>
                      <a:ea typeface="Segoe UI" pitchFamily="34" charset="0"/>
                      <a:cs typeface="Segoe UI" pitchFamily="34" charset="0"/>
                    </a:rPr>
                    <a:t>Storage</a:t>
                  </a:r>
                </a:p>
              </p:txBody>
            </p:sp>
            <p:pic>
              <p:nvPicPr>
                <p:cNvPr id="516" name="Picture 231" descr="Storage blob.png"/>
                <p:cNvPicPr>
                  <a:picLocks noChangeAspect="1"/>
                </p:cNvPicPr>
                <p:nvPr/>
              </p:nvPicPr>
              <p:blipFill>
                <a:blip r:embed="rId2" cstate="email">
                  <a:biLevel thresh="25000"/>
                  <a:extLst>
                    <a:ext uri="{28A0092B-C50C-407E-A947-70E740481C1C}">
                      <a14:useLocalDpi xmlns:a14="http://schemas.microsoft.com/office/drawing/2010/main"/>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Azure </a:t>
                  </a:r>
                  <a:br>
                    <a:rPr lang="en-US" sz="1000" kern="0" dirty="0">
                      <a:gradFill>
                        <a:gsLst>
                          <a:gs pos="0">
                            <a:srgbClr val="FFFFFF"/>
                          </a:gs>
                          <a:gs pos="100000">
                            <a:srgbClr val="FFFFFF"/>
                          </a:gs>
                        </a:gsLst>
                        <a:lin ang="5400000" scaled="0"/>
                      </a:gradFill>
                      <a:ea typeface="Segoe UI" pitchFamily="34" charset="0"/>
                      <a:cs typeface="Segoe UI" pitchFamily="34" charset="0"/>
                    </a:rPr>
                  </a:br>
                  <a:r>
                    <a:rPr lang="en-US" sz="1000" kern="0" dirty="0">
                      <a:gradFill>
                        <a:gsLst>
                          <a:gs pos="0">
                            <a:srgbClr val="FFFFFF"/>
                          </a:gs>
                          <a:gs pos="100000">
                            <a:srgbClr val="FFFFFF"/>
                          </a:gs>
                        </a:gsLst>
                        <a:lin ang="5400000" scaled="0"/>
                      </a:gradFill>
                      <a:ea typeface="Segoe UI" pitchFamily="34" charset="0"/>
                      <a:cs typeface="Segoe UI" pitchFamily="34" charset="0"/>
                    </a:rPr>
                    <a:t>Files</a:t>
                  </a:r>
                </a:p>
              </p:txBody>
            </p:sp>
            <p:pic>
              <p:nvPicPr>
                <p:cNvPr id="514" name="Picture 232" descr="Storage blob.png"/>
                <p:cNvPicPr>
                  <a:picLocks noChangeAspect="1"/>
                </p:cNvPicPr>
                <p:nvPr/>
              </p:nvPicPr>
              <p:blipFill>
                <a:blip r:embed="rId2" cstate="email">
                  <a:biLevel thresh="25000"/>
                  <a:extLst>
                    <a:ext uri="{28A0092B-C50C-407E-A947-70E740481C1C}">
                      <a14:useLocalDpi xmlns:a14="http://schemas.microsoft.com/office/drawing/2010/main"/>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cstate="email">
                  <a:biLevel thresh="25000"/>
                  <a:extLst>
                    <a:ext uri="{28A0092B-C50C-407E-A947-70E740481C1C}">
                      <a14:useLocalDpi xmlns:a14="http://schemas.microsoft.com/office/drawing/2010/main"/>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Virtual</a:t>
                  </a:r>
                  <a:br>
                    <a:rPr lang="en-US" sz="1000" kern="0" dirty="0">
                      <a:gradFill>
                        <a:gsLst>
                          <a:gs pos="0">
                            <a:srgbClr val="FFFFFF"/>
                          </a:gs>
                          <a:gs pos="100000">
                            <a:srgbClr val="FFFFFF"/>
                          </a:gs>
                        </a:gsLst>
                        <a:lin ang="5400000" scaled="0"/>
                      </a:gradFill>
                      <a:ea typeface="Segoe UI" pitchFamily="34" charset="0"/>
                      <a:cs typeface="Segoe UI" pitchFamily="34" charset="0"/>
                    </a:rPr>
                  </a:br>
                  <a:r>
                    <a:rPr lang="en-US" sz="1000" kern="0" dirty="0">
                      <a:gradFill>
                        <a:gsLst>
                          <a:gs pos="0">
                            <a:srgbClr val="FFFFFF"/>
                          </a:gs>
                          <a:gs pos="100000">
                            <a:srgbClr val="FFFFFF"/>
                          </a:gs>
                        </a:gsLst>
                        <a:lin ang="5400000" scaled="0"/>
                      </a:gradFill>
                      <a:ea typeface="Segoe UI" pitchFamily="34" charset="0"/>
                      <a:cs typeface="Segoe UI" pitchFamily="34" charset="0"/>
                    </a:rPr>
                    <a:t>Machine</a:t>
                  </a:r>
                </a:p>
              </p:txBody>
            </p:sp>
            <p:pic>
              <p:nvPicPr>
                <p:cNvPr id="504" name="Picture 395"/>
                <p:cNvPicPr>
                  <a:picLocks noChangeAspect="1"/>
                </p:cNvPicPr>
                <p:nvPr/>
              </p:nvPicPr>
              <p:blipFill>
                <a:blip r:embed="rId3" cstate="email">
                  <a:biLevel thresh="25000"/>
                  <a:extLst>
                    <a:ext uri="{28A0092B-C50C-407E-A947-70E740481C1C}">
                      <a14:useLocalDpi xmlns:a14="http://schemas.microsoft.com/office/drawing/2010/main"/>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Virtual Network</a:t>
                  </a:r>
                </a:p>
              </p:txBody>
            </p:sp>
            <p:pic>
              <p:nvPicPr>
                <p:cNvPr id="483" name="Picture 226"/>
                <p:cNvPicPr>
                  <a:picLocks noChangeAspect="1"/>
                </p:cNvPicPr>
                <p:nvPr/>
              </p:nvPicPr>
              <p:blipFill>
                <a:blip r:embed="rId4" cstate="email">
                  <a:biLevel thresh="25000"/>
                  <a:extLst>
                    <a:ext uri="{28A0092B-C50C-407E-A947-70E740481C1C}">
                      <a14:useLocalDpi xmlns:a14="http://schemas.microsoft.com/office/drawing/2010/main"/>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Express</a:t>
                  </a:r>
                </a:p>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Route</a:t>
                  </a:r>
                </a:p>
              </p:txBody>
            </p:sp>
            <p:pic>
              <p:nvPicPr>
                <p:cNvPr id="481" name="Picture 227"/>
                <p:cNvPicPr>
                  <a:picLocks noChangeAspect="1"/>
                </p:cNvPicPr>
                <p:nvPr/>
              </p:nvPicPr>
              <p:blipFill>
                <a:blip r:embed="rId5" cstate="email">
                  <a:biLevel thresh="25000"/>
                  <a:extLst>
                    <a:ext uri="{28A0092B-C50C-407E-A947-70E740481C1C}">
                      <a14:useLocalDpi xmlns:a14="http://schemas.microsoft.com/office/drawing/2010/main"/>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Traffic Manager</a:t>
                  </a:r>
                </a:p>
              </p:txBody>
            </p:sp>
            <p:pic>
              <p:nvPicPr>
                <p:cNvPr id="479" name="Picture 88"/>
                <p:cNvPicPr>
                  <a:picLocks noChangeAspect="1"/>
                </p:cNvPicPr>
                <p:nvPr/>
              </p:nvPicPr>
              <p:blipFill>
                <a:blip r:embed="rId6" cstate="email">
                  <a:biLevel thresh="25000"/>
                  <a:extLst>
                    <a:ext uri="{28A0092B-C50C-407E-A947-70E740481C1C}">
                      <a14:useLocalDpi xmlns:a14="http://schemas.microsoft.com/office/drawing/2010/main"/>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DNS</a:t>
                  </a:r>
                </a:p>
              </p:txBody>
            </p:sp>
            <p:pic>
              <p:nvPicPr>
                <p:cNvPr id="475" name="Picture 3"/>
                <p:cNvPicPr>
                  <a:picLocks noChangeAspect="1"/>
                </p:cNvPicPr>
                <p:nvPr/>
              </p:nvPicPr>
              <p:blipFill>
                <a:blip r:embed="rId7" cstate="email">
                  <a:biLevel thresh="25000"/>
                  <a:extLst>
                    <a:ext uri="{28A0092B-C50C-407E-A947-70E740481C1C}">
                      <a14:useLocalDpi xmlns:a14="http://schemas.microsoft.com/office/drawing/2010/main"/>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VPN </a:t>
                  </a:r>
                  <a:br>
                    <a:rPr lang="en-US" sz="1000" kern="0" dirty="0">
                      <a:gradFill>
                        <a:gsLst>
                          <a:gs pos="0">
                            <a:srgbClr val="FFFFFF"/>
                          </a:gs>
                          <a:gs pos="100000">
                            <a:srgbClr val="FFFFFF"/>
                          </a:gs>
                        </a:gsLst>
                        <a:lin ang="5400000" scaled="0"/>
                      </a:gradFill>
                      <a:ea typeface="Segoe UI" pitchFamily="34" charset="0"/>
                      <a:cs typeface="Segoe UI" pitchFamily="34" charset="0"/>
                    </a:rPr>
                  </a:br>
                  <a:r>
                    <a:rPr lang="en-US" sz="1000" kern="0" dirty="0">
                      <a:gradFill>
                        <a:gsLst>
                          <a:gs pos="0">
                            <a:srgbClr val="FFFFFF"/>
                          </a:gs>
                          <a:gs pos="100000">
                            <a:srgbClr val="FFFFFF"/>
                          </a:gs>
                        </a:gsLst>
                        <a:lin ang="5400000" scaled="0"/>
                      </a:gradFill>
                      <a:ea typeface="Segoe UI" pitchFamily="34" charset="0"/>
                      <a:cs typeface="Segoe UI" pitchFamily="34" charset="0"/>
                    </a:rPr>
                    <a:t>Gateway</a:t>
                  </a:r>
                </a:p>
              </p:txBody>
            </p:sp>
            <p:pic>
              <p:nvPicPr>
                <p:cNvPr id="473" name="Picture 9"/>
                <p:cNvPicPr>
                  <a:picLocks noChangeAspect="1"/>
                </p:cNvPicPr>
                <p:nvPr/>
              </p:nvPicPr>
              <p:blipFill>
                <a:blip r:embed="rId8" cstate="email">
                  <a:biLevel thresh="25000"/>
                  <a:extLst>
                    <a:ext uri="{28A0092B-C50C-407E-A947-70E740481C1C}">
                      <a14:useLocalDpi xmlns:a14="http://schemas.microsoft.com/office/drawing/2010/main"/>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Load Balancer</a:t>
                  </a:r>
                </a:p>
              </p:txBody>
            </p:sp>
            <p:pic>
              <p:nvPicPr>
                <p:cNvPr id="471" name="Picture 11"/>
                <p:cNvPicPr>
                  <a:picLocks noChangeAspect="1"/>
                </p:cNvPicPr>
                <p:nvPr/>
              </p:nvPicPr>
              <p:blipFill>
                <a:blip r:embed="rId9" cstate="email">
                  <a:biLevel thresh="25000"/>
                  <a:extLst>
                    <a:ext uri="{28A0092B-C50C-407E-A947-70E740481C1C}">
                      <a14:useLocalDpi xmlns:a14="http://schemas.microsoft.com/office/drawing/2010/main"/>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600"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Web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cstate="email">
                      <a:biLevel thresh="25000"/>
                      <a:extLst>
                        <a:ext uri="{28A0092B-C50C-407E-A947-70E740481C1C}">
                          <a14:useLocalDpi xmlns:a14="http://schemas.microsoft.com/office/drawing/2010/main"/>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Mobil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cstate="email">
                      <a:biLevel thresh="25000"/>
                      <a:extLst>
                        <a:ext uri="{28A0092B-C50C-407E-A947-70E740481C1C}">
                          <a14:useLocalDpi xmlns:a14="http://schemas.microsoft.com/office/drawing/2010/main"/>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PI</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cstate="email">
                      <a:biLevel thresh="25000"/>
                      <a:extLst>
                        <a:ext uri="{28A0092B-C50C-407E-A947-70E740481C1C}">
                          <a14:useLocalDpi xmlns:a14="http://schemas.microsoft.com/office/drawing/2010/main"/>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PI</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cstate="email">
                      <a:biLevel thresh="25000"/>
                      <a:extLst>
                        <a:ext uri="{28A0092B-C50C-407E-A947-70E740481C1C}">
                          <a14:useLocalDpi xmlns:a14="http://schemas.microsoft.com/office/drawing/2010/main"/>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Logic</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cstate="email">
                      <a:biLevel thresh="25000"/>
                      <a:extLst>
                        <a:ext uri="{28A0092B-C50C-407E-A947-70E740481C1C}">
                          <a14:useLocalDpi xmlns:a14="http://schemas.microsoft.com/office/drawing/2010/main"/>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Notification</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cstate="email">
                      <a:biLevel thresh="25000"/>
                      <a:extLst>
                        <a:ext uri="{28A0092B-C50C-407E-A947-70E740481C1C}">
                          <a14:useLocalDpi xmlns:a14="http://schemas.microsoft.com/office/drawing/2010/main"/>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altLang="en-US" sz="900" kern="0" dirty="0">
                            <a:gradFill>
                              <a:gsLst>
                                <a:gs pos="76250">
                                  <a:srgbClr val="FFFFFF"/>
                                </a:gs>
                                <a:gs pos="31000">
                                  <a:srgbClr val="FFFFFF"/>
                                </a:gs>
                              </a:gsLst>
                              <a:lin ang="5400000" scaled="0"/>
                            </a:gradFill>
                          </a:rPr>
                          <a:t>Content Delivery</a:t>
                        </a:r>
                        <a:br>
                          <a:rPr lang="en-US" altLang="en-US" sz="900" kern="0" dirty="0">
                            <a:gradFill>
                              <a:gsLst>
                                <a:gs pos="76250">
                                  <a:srgbClr val="FFFFFF"/>
                                </a:gs>
                                <a:gs pos="31000">
                                  <a:srgbClr val="FFFFFF"/>
                                </a:gs>
                              </a:gsLst>
                              <a:lin ang="5400000" scaled="0"/>
                            </a:gradFill>
                          </a:rPr>
                        </a:br>
                        <a:r>
                          <a:rPr lang="en-US" altLang="en-US" sz="900" kern="0" dirty="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cstate="email">
                        <a:biLevel thresh="25000"/>
                        <a:extLst>
                          <a:ext uri="{28A0092B-C50C-407E-A947-70E740481C1C}">
                            <a14:useLocalDpi xmlns:a14="http://schemas.microsoft.com/office/drawing/2010/main"/>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Media</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cstate="email">
                        <a:biLevel thresh="25000"/>
                        <a:extLst>
                          <a:ext uri="{28A0092B-C50C-407E-A947-70E740481C1C}">
                            <a14:useLocalDpi xmlns:a14="http://schemas.microsoft.com/office/drawing/2010/main"/>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nd </a:t>
                    </a:r>
                    <a:r>
                      <a:rPr lang="en-US" sz="1200"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err="1">
                            <a:gradFill>
                              <a:gsLst>
                                <a:gs pos="76250">
                                  <a:srgbClr val="FFFFFF"/>
                                </a:gs>
                                <a:gs pos="31000">
                                  <a:srgbClr val="FFFFFF"/>
                                </a:gs>
                              </a:gsLst>
                              <a:lin ang="5400000" scaled="0"/>
                            </a:gradFill>
                          </a:rPr>
                          <a:t>HDInsight</a:t>
                        </a:r>
                        <a:endParaRPr lang="en-US" kern="0" dirty="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cstate="email">
                        <a:biLevel thresh="25000"/>
                        <a:extLst>
                          <a:ext uri="{28A0092B-C50C-407E-A947-70E740481C1C}">
                            <a14:useLocalDpi xmlns:a14="http://schemas.microsoft.com/office/drawing/2010/main"/>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Machin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cstate="email">
                        <a:biLevel thresh="25000"/>
                        <a:extLst>
                          <a:ext uri="{28A0092B-C50C-407E-A947-70E740481C1C}">
                            <a14:useLocalDpi xmlns:a14="http://schemas.microsoft.com/office/drawing/2010/main"/>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tream</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cstate="email">
                        <a:biLevel thresh="25000"/>
                        <a:extLst>
                          <a:ext uri="{28A0092B-C50C-407E-A947-70E740481C1C}">
                            <a14:useLocalDpi xmlns:a14="http://schemas.microsoft.com/office/drawing/2010/main"/>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Data</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cstate="email">
                        <a:biLevel thresh="25000"/>
                        <a:extLst>
                          <a:ext uri="{28A0092B-C50C-407E-A947-70E740481C1C}">
                            <a14:useLocalDpi xmlns:a14="http://schemas.microsoft.com/office/drawing/2010/main"/>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Event</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cstate="email">
                        <a:biLevel thresh="25000"/>
                        <a:extLst>
                          <a:ext uri="{28A0092B-C50C-407E-A947-70E740481C1C}">
                            <a14:useLocalDpi xmlns:a14="http://schemas.microsoft.com/office/drawing/2010/main"/>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Mobil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cstate="email">
                        <a:biLevel thresh="25000"/>
                        <a:extLst>
                          <a:ext uri="{28A0092B-C50C-407E-A947-70E740481C1C}">
                            <a14:useLocalDpi xmlns:a14="http://schemas.microsoft.com/office/drawing/2010/main"/>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err="1">
                            <a:gradFill>
                              <a:gsLst>
                                <a:gs pos="76250">
                                  <a:srgbClr val="FFFFFF"/>
                                </a:gs>
                                <a:gs pos="31000">
                                  <a:srgbClr val="FFFFFF"/>
                                </a:gs>
                              </a:gsLst>
                              <a:lin ang="5400000" scaled="0"/>
                            </a:gradFill>
                          </a:rPr>
                          <a:t>Biztalk</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cstate="email">
                        <a:biLevel thresh="25000"/>
                        <a:extLst>
                          <a:ext uri="{28A0092B-C50C-407E-A947-70E740481C1C}">
                            <a14:useLocalDpi xmlns:a14="http://schemas.microsoft.com/office/drawing/2010/main"/>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Hybrid</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cstate="email">
                        <a:biLevel thresh="25000"/>
                        <a:extLst>
                          <a:ext uri="{28A0092B-C50C-407E-A947-70E740481C1C}">
                            <a14:useLocalDpi xmlns:a14="http://schemas.microsoft.com/office/drawing/2010/main"/>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ervic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cstate="email">
                        <a:biLevel thresh="25000"/>
                        <a:extLst>
                          <a:ext uri="{28A0092B-C50C-407E-A947-70E740481C1C}">
                            <a14:useLocalDpi xmlns:a14="http://schemas.microsoft.com/office/drawing/2010/main"/>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torag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cstate="email">
                        <a:biLevel thresh="25000"/>
                        <a:extLst>
                          <a:ext uri="{28A0092B-C50C-407E-A947-70E740481C1C}">
                            <a14:useLocalDpi xmlns:a14="http://schemas.microsoft.com/office/drawing/2010/main"/>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QL</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cstate="email">
                        <a:biLevel thresh="25000"/>
                        <a:extLst>
                          <a:ext uri="{28A0092B-C50C-407E-A947-70E740481C1C}">
                            <a14:useLocalDpi xmlns:a14="http://schemas.microsoft.com/office/drawing/2010/main"/>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err="1">
                            <a:gradFill>
                              <a:gsLst>
                                <a:gs pos="76250">
                                  <a:srgbClr val="FFFFFF"/>
                                </a:gs>
                                <a:gs pos="31000">
                                  <a:srgbClr val="FFFFFF"/>
                                </a:gs>
                              </a:gsLst>
                              <a:lin ang="5400000" scaled="0"/>
                            </a:gradFill>
                          </a:rPr>
                          <a:t>DocumentDB</a:t>
                        </a:r>
                        <a:endParaRPr lang="en-US" kern="0" dirty="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cstate="email">
                        <a:biLevel thresh="25000"/>
                        <a:extLst>
                          <a:ext uri="{28A0092B-C50C-407E-A947-70E740481C1C}">
                            <a14:useLocalDpi xmlns:a14="http://schemas.microsoft.com/office/drawing/2010/main"/>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err="1">
                            <a:gradFill>
                              <a:gsLst>
                                <a:gs pos="76250">
                                  <a:srgbClr val="FFFFFF"/>
                                </a:gs>
                                <a:gs pos="31000">
                                  <a:srgbClr val="FFFFFF"/>
                                </a:gs>
                              </a:gsLst>
                              <a:lin ang="5400000" scaled="0"/>
                            </a:gradFill>
                          </a:rPr>
                          <a:t>Redis</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cstate="email">
                        <a:biLevel thresh="25000"/>
                        <a:extLst>
                          <a:ext uri="{28A0092B-C50C-407E-A947-70E740481C1C}">
                            <a14:useLocalDpi xmlns:a14="http://schemas.microsoft.com/office/drawing/2010/main"/>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cstate="email">
                        <a:biLevel thresh="25000"/>
                        <a:extLst>
                          <a:ext uri="{28A0092B-C50C-407E-A947-70E740481C1C}">
                            <a14:useLocalDpi xmlns:a14="http://schemas.microsoft.com/office/drawing/2010/main"/>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cstate="email">
                        <a:biLevel thresh="25000"/>
                        <a:extLst>
                          <a:ext uri="{28A0092B-C50C-407E-A947-70E740481C1C}">
                            <a14:useLocalDpi xmlns:a14="http://schemas.microsoft.com/office/drawing/2010/main"/>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cstate="email">
                        <a:extLst>
                          <a:ext uri="{28A0092B-C50C-407E-A947-70E740481C1C}">
                            <a14:useLocalDpi xmlns:a14="http://schemas.microsoft.com/office/drawing/2010/main"/>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QL Data</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Cloud</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cstate="email">
                      <a:biLevel thresh="25000"/>
                      <a:extLst>
                        <a:ext uri="{28A0092B-C50C-407E-A947-70E740481C1C}">
                          <a14:useLocalDpi xmlns:a14="http://schemas.microsoft.com/office/drawing/2010/main"/>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cstate="email">
                      <a:biLevel thresh="25000"/>
                      <a:extLst>
                        <a:ext uri="{28A0092B-C50C-407E-A947-70E740481C1C}">
                          <a14:useLocalDpi xmlns:a14="http://schemas.microsoft.com/office/drawing/2010/main"/>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Remote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cstate="email">
                      <a:biLevel thresh="25000"/>
                      <a:extLst>
                        <a:ext uri="{28A0092B-C50C-407E-A947-70E740481C1C}">
                          <a14:useLocalDpi xmlns:a14="http://schemas.microsoft.com/office/drawing/2010/main"/>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ervic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Visual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cstate="email">
                      <a:biLevel thresh="25000"/>
                      <a:extLst>
                        <a:ext uri="{28A0092B-C50C-407E-A947-70E740481C1C}">
                          <a14:useLocalDpi xmlns:a14="http://schemas.microsoft.com/office/drawing/2010/main"/>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pplication</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cstate="email">
                      <a:biLevel thresh="25000"/>
                      <a:extLst>
                        <a:ext uri="{28A0092B-C50C-407E-A947-70E740481C1C}">
                          <a14:useLocalDpi xmlns:a14="http://schemas.microsoft.com/office/drawing/2010/main"/>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cstate="email">
                      <a:biLevel thresh="25000"/>
                      <a:extLst>
                        <a:ext uri="{28A0092B-C50C-407E-A947-70E740481C1C}">
                          <a14:useLocalDpi xmlns:a14="http://schemas.microsoft.com/office/drawing/2010/main"/>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Team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913927" fontAlgn="base">
                    <a:lnSpc>
                      <a:spcPct val="90000"/>
                    </a:lnSpc>
                    <a:defRPr/>
                  </a:pPr>
                  <a:r>
                    <a:rPr lang="en-US" sz="14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ctiv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cstate="email">
                      <a:biLevel thresh="25000"/>
                      <a:extLst>
                        <a:ext uri="{28A0092B-C50C-407E-A947-70E740481C1C}">
                          <a14:useLocalDpi xmlns:a14="http://schemas.microsoft.com/office/drawing/2010/main"/>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Multi-factor</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cstate="email">
                      <a:biLevel thresh="25000"/>
                      <a:extLst>
                        <a:ext uri="{28A0092B-C50C-407E-A947-70E740481C1C}">
                          <a14:useLocalDpi xmlns:a14="http://schemas.microsoft.com/office/drawing/2010/main"/>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cstate="email">
                      <a:biLevel thresh="25000"/>
                      <a:extLst>
                        <a:ext uri="{28A0092B-C50C-407E-A947-70E740481C1C}">
                          <a14:useLocalDpi xmlns:a14="http://schemas.microsoft.com/office/drawing/2010/main"/>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32317" eaLnBrk="0" fontAlgn="base" hangingPunct="0">
                        <a:lnSpc>
                          <a:spcPct val="90000"/>
                        </a:lnSpc>
                        <a:spcBef>
                          <a:spcPts val="600"/>
                        </a:spcBef>
                        <a:spcAft>
                          <a:spcPct val="0"/>
                        </a:spcAft>
                        <a:defRPr/>
                      </a:pPr>
                      <a:r>
                        <a:rPr lang="en-US" sz="1000" kern="0" dirty="0">
                          <a:gradFill>
                            <a:gsLst>
                              <a:gs pos="76250">
                                <a:srgbClr val="FFFFFF"/>
                              </a:gs>
                              <a:gs pos="31000">
                                <a:srgbClr val="FFFFFF"/>
                              </a:gs>
                            </a:gsLst>
                            <a:lin ang="5400000" scaled="0"/>
                          </a:gradFill>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cstate="email">
                      <a:biLevel thresh="25000"/>
                      <a:extLst>
                        <a:ext uri="{28A0092B-C50C-407E-A947-70E740481C1C}">
                          <a14:useLocalDpi xmlns:a14="http://schemas.microsoft.com/office/drawing/2010/main"/>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cstate="email">
                      <a:extLst>
                        <a:ext uri="{28A0092B-C50C-407E-A947-70E740481C1C}">
                          <a14:useLocalDpi xmlns:a14="http://schemas.microsoft.com/office/drawing/2010/main"/>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tor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cstate="email">
                      <a:biLevel thresh="25000"/>
                      <a:extLst>
                        <a:ext uri="{28A0092B-C50C-407E-A947-70E740481C1C}">
                          <a14:useLocalDpi xmlns:a14="http://schemas.microsoft.com/office/drawing/2010/main"/>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cstate="email">
                      <a:biLevel thresh="25000"/>
                      <a:extLst>
                        <a:ext uri="{28A0092B-C50C-407E-A947-70E740481C1C}">
                          <a14:useLocalDpi xmlns:a14="http://schemas.microsoft.com/office/drawing/2010/main"/>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VM Image Gallery</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913927" fontAlgn="base">
                    <a:lnSpc>
                      <a:spcPct val="90000"/>
                    </a:lnSpc>
                    <a:defRPr/>
                  </a:pPr>
                  <a:r>
                    <a:rPr lang="en-US" sz="14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913927" fontAlgn="base">
                    <a:lnSpc>
                      <a:spcPct val="90000"/>
                    </a:lnSpc>
                    <a:defRPr/>
                  </a:pPr>
                  <a:r>
                    <a:rPr lang="en-US" sz="14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cstate="email">
                      <a:biLevel thresh="25000"/>
                      <a:extLst>
                        <a:ext uri="{28A0092B-C50C-407E-A947-70E740481C1C}">
                          <a14:useLocalDpi xmlns:a14="http://schemas.microsoft.com/office/drawing/2010/main"/>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it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cstate="email">
                      <a:biLevel thresh="25000"/>
                      <a:extLst>
                        <a:ext uri="{28A0092B-C50C-407E-A947-70E740481C1C}">
                          <a14:useLocalDpi xmlns:a14="http://schemas.microsoft.com/office/drawing/2010/main"/>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cstate="email">
                      <a:biLevel thresh="25000"/>
                      <a:extLst>
                        <a:ext uri="{28A0092B-C50C-407E-A947-70E740481C1C}">
                          <a14:useLocalDpi xmlns:a14="http://schemas.microsoft.com/office/drawing/2010/main"/>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D Privileged</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Identity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cstate="email">
                      <a:extLst>
                        <a:ext uri="{28A0092B-C50C-407E-A947-70E740481C1C}">
                          <a14:useLocalDpi xmlns:a14="http://schemas.microsoft.com/office/drawing/2010/main"/>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Operational</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cstate="email">
                      <a:biLevel thresh="25000"/>
                      <a:extLst>
                        <a:ext uri="{28A0092B-C50C-407E-A947-70E740481C1C}">
                          <a14:useLocalDpi xmlns:a14="http://schemas.microsoft.com/office/drawing/2010/main"/>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zure AD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cstate="email">
                        <a:biLevel thresh="25000"/>
                        <a:extLst>
                          <a:ext uri="{28A0092B-C50C-407E-A947-70E740481C1C}">
                            <a14:useLocalDpi xmlns:a14="http://schemas.microsoft.com/office/drawing/2010/main"/>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err="1">
                          <a:gradFill>
                            <a:gsLst>
                              <a:gs pos="76250">
                                <a:srgbClr val="FFFFFF"/>
                              </a:gs>
                              <a:gs pos="31000">
                                <a:srgbClr val="FFFFFF"/>
                              </a:gs>
                            </a:gsLst>
                            <a:lin ang="5400000" scaled="0"/>
                          </a:gradFill>
                        </a:rPr>
                        <a:t>StorSimple</a:t>
                      </a:r>
                      <a:endParaRPr lang="en-US" kern="0" dirty="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cstate="email">
                      <a:biLevel thresh="25000"/>
                      <a:extLst>
                        <a:ext uri="{28A0092B-C50C-407E-A947-70E740481C1C}">
                          <a14:useLocalDpi xmlns:a14="http://schemas.microsoft.com/office/drawing/2010/main"/>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913927" fontAlgn="base">
                <a:lnSpc>
                  <a:spcPct val="90000"/>
                </a:lnSpc>
                <a:defRPr/>
              </a:pPr>
              <a:r>
                <a:rPr lang="en-US" sz="14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330298379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7886305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74640" y="983957"/>
            <a:ext cx="11889564" cy="696866"/>
          </a:xfrm>
        </p:spPr>
        <p:txBody>
          <a:bodyPr/>
          <a:lstStyle>
            <a:lvl1pPr marL="0" indent="0" algn="l" defTabSz="932563"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919485901"/>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74640" y="1657504"/>
            <a:ext cx="11889564" cy="696866"/>
          </a:xfrm>
        </p:spPr>
        <p:txBody>
          <a:bodyPr/>
          <a:lstStyle>
            <a:lvl1pPr marL="0" indent="0" algn="l" defTabSz="932563"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38415965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94064"/>
          </a:xfrm>
          <a:noFill/>
        </p:spPr>
        <p:txBody>
          <a:bodyPr lIns="182880" tIns="146304" rIns="182880" bIns="146304">
            <a:sp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851920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532422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81732251"/>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3867009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6532950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3305712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226277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201" y="6149341"/>
            <a:ext cx="1707455" cy="365760"/>
          </a:xfrm>
          <a:prstGeom prst="rect">
            <a:avLst/>
          </a:prstGeom>
        </p:spPr>
      </p:pic>
      <p:sp>
        <p:nvSpPr>
          <p:cNvPr id="8" name="Rectangle 7"/>
          <p:cNvSpPr/>
          <p:nvPr userDrawn="1"/>
        </p:nvSpPr>
        <p:spPr bwMode="auto">
          <a:xfrm>
            <a:off x="457200" y="479426"/>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200" y="880968"/>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399"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10398926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922872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297344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641633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850058"/>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546725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223069307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74333050"/>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451105"/>
            <a:ext cx="12436475" cy="543421"/>
          </a:xfrm>
          <a:prstGeom prst="rect">
            <a:avLst/>
          </a:prstGeom>
          <a:solidFill>
            <a:srgbClr val="409AE1"/>
          </a:solidFill>
          <a:ln w="28575">
            <a:noFill/>
          </a:ln>
        </p:spPr>
        <p:txBody>
          <a:bodyPr vert="horz" wrap="square" lIns="93247" tIns="46623" rIns="93247" bIns="46623" numCol="1" anchor="t" anchorCtr="0" compatLnSpc="1">
            <a:prstTxWarp prst="textNoShape">
              <a:avLst/>
            </a:prstTxWarp>
          </a:bodyPr>
          <a:lstStyle/>
          <a:p>
            <a:pPr marR="0" lvl="0" indent="0" defTabSz="951121" fontAlgn="auto">
              <a:lnSpc>
                <a:spcPct val="100000"/>
              </a:lnSpc>
              <a:spcBef>
                <a:spcPts val="0"/>
              </a:spcBef>
              <a:spcAft>
                <a:spcPts val="0"/>
              </a:spcAft>
              <a:buClrTx/>
              <a:buSzTx/>
              <a:buFontTx/>
              <a:buNone/>
              <a:tabLst/>
            </a:pPr>
            <a:endParaRPr kumimoji="0" lang="en-US" sz="1071"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490356" y="6077722"/>
            <a:ext cx="2007519" cy="110355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3247" tIns="46623" rIns="93247" bIns="46623" numCol="1" anchor="t" anchorCtr="0" compatLnSpc="1">
            <a:prstTxWarp prst="textNoShape">
              <a:avLst/>
            </a:prstTxWarp>
          </a:bodyPr>
          <a:lstStyle/>
          <a:p>
            <a:pPr marL="0" marR="0" lvl="0" indent="0" defTabSz="951121" eaLnBrk="1" fontAlgn="auto" latinLnBrk="0" hangingPunct="1">
              <a:lnSpc>
                <a:spcPct val="100000"/>
              </a:lnSpc>
              <a:spcBef>
                <a:spcPts val="0"/>
              </a:spcBef>
              <a:spcAft>
                <a:spcPts val="0"/>
              </a:spcAft>
              <a:buClrTx/>
              <a:buSzTx/>
              <a:buFontTx/>
              <a:buNone/>
              <a:tabLst/>
              <a:defRPr/>
            </a:pPr>
            <a:endParaRPr kumimoji="0" lang="en-US" sz="1071"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525833" y="6339910"/>
            <a:ext cx="1861214" cy="789126"/>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740442" y="3859666"/>
            <a:ext cx="186070" cy="56669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800305" y="6820877"/>
            <a:ext cx="3896736" cy="166767"/>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90781" y="5824226"/>
            <a:ext cx="8001150" cy="772911"/>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449450" y="6428114"/>
            <a:ext cx="723540" cy="271351"/>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482956"/>
            <a:ext cx="12436475" cy="97641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45" name="Bent Arrow 44"/>
          <p:cNvSpPr/>
          <p:nvPr userDrawn="1"/>
        </p:nvSpPr>
        <p:spPr bwMode="auto">
          <a:xfrm rot="16200000">
            <a:off x="11768145" y="6741743"/>
            <a:ext cx="332072" cy="271390"/>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477245" y="6731767"/>
            <a:ext cx="123999" cy="12398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520500" y="6591208"/>
            <a:ext cx="38209" cy="126864"/>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21962" y="6994525"/>
            <a:ext cx="12784400"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2" name="Rectangle 51"/>
          <p:cNvSpPr/>
          <p:nvPr userDrawn="1"/>
        </p:nvSpPr>
        <p:spPr bwMode="auto">
          <a:xfrm>
            <a:off x="-399744" y="6195152"/>
            <a:ext cx="399744"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3" name="Rectangle 52"/>
          <p:cNvSpPr/>
          <p:nvPr userDrawn="1"/>
        </p:nvSpPr>
        <p:spPr bwMode="auto">
          <a:xfrm>
            <a:off x="0" y="6471310"/>
            <a:ext cx="12436475" cy="523216"/>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74950" y="6620265"/>
            <a:ext cx="955390" cy="210480"/>
          </a:xfrm>
          <a:prstGeom prst="rect">
            <a:avLst/>
          </a:prstGeom>
        </p:spPr>
      </p:pic>
    </p:spTree>
    <p:extLst>
      <p:ext uri="{BB962C8B-B14F-4D97-AF65-F5344CB8AC3E}">
        <p14:creationId xmlns:p14="http://schemas.microsoft.com/office/powerpoint/2010/main" val="242578240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543818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slideLayout" Target="../slideLayouts/slideLayout25.xml"/><Relationship Id="rId3" Type="http://schemas.openxmlformats.org/officeDocument/2006/relationships/slideLayout" Target="../slideLayouts/slideLayout10.xml"/><Relationship Id="rId21" Type="http://schemas.openxmlformats.org/officeDocument/2006/relationships/slideLayout" Target="../slideLayouts/slideLayout28.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5" Type="http://schemas.openxmlformats.org/officeDocument/2006/relationships/image" Target="../media/image1.png"/><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slideLayout" Target="../slideLayouts/slideLayout27.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theme" Target="../theme/theme2.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slideLayout" Target="../slideLayouts/slideLayout30.xml"/><Relationship Id="rId10" Type="http://schemas.openxmlformats.org/officeDocument/2006/relationships/slideLayout" Target="../slideLayouts/slideLayout17.xml"/><Relationship Id="rId19" Type="http://schemas.openxmlformats.org/officeDocument/2006/relationships/slideLayout" Target="../slideLayouts/slideLayout26.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10" Type="http://schemas.openxmlformats.org/officeDocument/2006/relationships/image" Target="../media/image1.png"/><Relationship Id="rId4" Type="http://schemas.openxmlformats.org/officeDocument/2006/relationships/slideLayout" Target="../slideLayouts/slideLayout34.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image" Target="../media/image1.png"/><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theme" Target="../theme/theme4.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5.xml"/><Relationship Id="rId1" Type="http://schemas.openxmlformats.org/officeDocument/2006/relationships/slideLayout" Target="../slideLayouts/slideLayout6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image" Target="../media/image1.png"/><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theme" Target="../theme/theme6.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36724771"/>
      </p:ext>
    </p:extLst>
  </p:cSld>
  <p:clrMap bg1="dk1" tx1="lt1" bg2="dk2" tx2="lt2" accent1="accent1" accent2="accent2" accent3="accent3" accent4="accent4" accent5="accent5" accent6="accent6" hlink="hlink" folHlink="folHlink"/>
  <p:sldLayoutIdLst>
    <p:sldLayoutId id="2147484307" r:id="rId1"/>
    <p:sldLayoutId id="2147484310" r:id="rId2"/>
    <p:sldLayoutId id="2147484311" r:id="rId3"/>
    <p:sldLayoutId id="2147484319" r:id="rId4"/>
    <p:sldLayoutId id="2147484321" r:id="rId5"/>
    <p:sldLayoutId id="2147484323" r:id="rId6"/>
    <p:sldLayoutId id="2147484402" r:id="rId7"/>
  </p:sldLayoutIdLst>
  <p:transition>
    <p:fade/>
  </p:transition>
  <p:txStyles>
    <p:titleStyle>
      <a:lvl1pPr algn="l" defTabSz="932742" rtl="0" eaLnBrk="1" latinLnBrk="0" hangingPunct="1">
        <a:lnSpc>
          <a:spcPct val="90000"/>
        </a:lnSpc>
        <a:spcBef>
          <a:spcPct val="0"/>
        </a:spcBef>
        <a:buNone/>
        <a:defRPr lang="en-US" sz="36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156786694"/>
      </p:ext>
    </p:extLst>
  </p:cSld>
  <p:clrMap bg1="dk1" tx1="lt1" bg2="dk2" tx2="lt2" accent1="accent1" accent2="accent2" accent3="accent3" accent4="accent4" accent5="accent5" accent6="accent6" hlink="hlink" folHlink="folHlink"/>
  <p:sldLayoutIdLst>
    <p:sldLayoutId id="2147484405" r:id="rId1"/>
    <p:sldLayoutId id="2147484406" r:id="rId2"/>
    <p:sldLayoutId id="2147484407" r:id="rId3"/>
    <p:sldLayoutId id="2147484408" r:id="rId4"/>
    <p:sldLayoutId id="2147484409" r:id="rId5"/>
    <p:sldLayoutId id="2147484410" r:id="rId6"/>
    <p:sldLayoutId id="2147484411" r:id="rId7"/>
    <p:sldLayoutId id="2147484412" r:id="rId8"/>
    <p:sldLayoutId id="2147484413" r:id="rId9"/>
    <p:sldLayoutId id="2147484414" r:id="rId10"/>
    <p:sldLayoutId id="2147484415" r:id="rId11"/>
    <p:sldLayoutId id="2147484416" r:id="rId12"/>
    <p:sldLayoutId id="2147484417" r:id="rId13"/>
    <p:sldLayoutId id="2147484418" r:id="rId14"/>
    <p:sldLayoutId id="2147484420" r:id="rId15"/>
    <p:sldLayoutId id="2147484421" r:id="rId16"/>
    <p:sldLayoutId id="2147484422" r:id="rId17"/>
    <p:sldLayoutId id="2147484423" r:id="rId18"/>
    <p:sldLayoutId id="2147484424" r:id="rId19"/>
    <p:sldLayoutId id="2147484425" r:id="rId20"/>
    <p:sldLayoutId id="2147484426" r:id="rId21"/>
    <p:sldLayoutId id="2147484428" r:id="rId22"/>
    <p:sldLayoutId id="2147484524" r:id="rId23"/>
  </p:sldLayoutIdLst>
  <p:transition>
    <p:fade/>
  </p:transition>
  <p:txStyles>
    <p:titleStyle>
      <a:lvl1pPr algn="l" defTabSz="932563" rtl="0" eaLnBrk="1" latinLnBrk="0" hangingPunct="1">
        <a:lnSpc>
          <a:spcPct val="90000"/>
        </a:lnSpc>
        <a:spcBef>
          <a:spcPct val="0"/>
        </a:spcBef>
        <a:buNone/>
        <a:defRPr lang="en-US" sz="36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336508984"/>
      </p:ext>
    </p:extLst>
  </p:cSld>
  <p:clrMap bg1="dk1" tx1="lt1" bg2="dk2" tx2="lt2" accent1="accent1" accent2="accent2" accent3="accent3" accent4="accent4" accent5="accent5" accent6="accent6" hlink="hlink" folHlink="folHlink"/>
  <p:sldLayoutIdLst>
    <p:sldLayoutId id="2147484456" r:id="rId1"/>
    <p:sldLayoutId id="2147484457" r:id="rId2"/>
    <p:sldLayoutId id="2147484458" r:id="rId3"/>
    <p:sldLayoutId id="2147484459" r:id="rId4"/>
    <p:sldLayoutId id="2147484460" r:id="rId5"/>
    <p:sldLayoutId id="2147484461" r:id="rId6"/>
    <p:sldLayoutId id="2147484462" r:id="rId7"/>
    <p:sldLayoutId id="2147484463" r:id="rId8"/>
  </p:sldLayoutIdLst>
  <p:transition>
    <p:fade/>
  </p:transition>
  <p:txStyles>
    <p:titleStyle>
      <a:lvl1pPr algn="l" defTabSz="932742" rtl="0" eaLnBrk="1" latinLnBrk="0" hangingPunct="1">
        <a:lnSpc>
          <a:spcPct val="90000"/>
        </a:lnSpc>
        <a:spcBef>
          <a:spcPct val="0"/>
        </a:spcBef>
        <a:buNone/>
        <a:defRPr lang="en-US" sz="36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2"/>
            <a:ext cx="11887198" cy="190539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712225639"/>
      </p:ext>
    </p:extLst>
  </p:cSld>
  <p:clrMap bg1="dk1" tx1="lt1" bg2="dk2" tx2="lt2" accent1="accent1" accent2="accent2" accent3="accent3" accent4="accent4" accent5="accent5" accent6="accent6" hlink="hlink" folHlink="folHlink"/>
  <p:sldLayoutIdLst>
    <p:sldLayoutId id="2147484466" r:id="rId1"/>
    <p:sldLayoutId id="2147484467" r:id="rId2"/>
    <p:sldLayoutId id="2147484468" r:id="rId3"/>
    <p:sldLayoutId id="2147484469" r:id="rId4"/>
    <p:sldLayoutId id="2147484470" r:id="rId5"/>
    <p:sldLayoutId id="2147484471" r:id="rId6"/>
    <p:sldLayoutId id="2147484472" r:id="rId7"/>
    <p:sldLayoutId id="2147484473" r:id="rId8"/>
    <p:sldLayoutId id="2147484474" r:id="rId9"/>
    <p:sldLayoutId id="2147484475" r:id="rId10"/>
    <p:sldLayoutId id="2147484476" r:id="rId11"/>
    <p:sldLayoutId id="2147484477" r:id="rId12"/>
    <p:sldLayoutId id="2147484478" r:id="rId13"/>
    <p:sldLayoutId id="2147484479" r:id="rId14"/>
    <p:sldLayoutId id="2147484480" r:id="rId15"/>
    <p:sldLayoutId id="2147484481" r:id="rId16"/>
    <p:sldLayoutId id="2147484484" r:id="rId17"/>
    <p:sldLayoutId id="2147484485" r:id="rId18"/>
    <p:sldLayoutId id="2147484486" r:id="rId19"/>
    <p:sldLayoutId id="2147484487" r:id="rId20"/>
    <p:sldLayoutId id="2147484488" r:id="rId21"/>
    <p:sldLayoutId id="2147484489" r:id="rId22"/>
    <p:sldLayoutId id="2147484491" r:id="rId23"/>
  </p:sldLayoutIdLst>
  <p:transition>
    <p:fade/>
  </p:transition>
  <p:txStyles>
    <p:titleStyle>
      <a:lvl1pPr algn="l" defTabSz="932563" rtl="0" eaLnBrk="1" latinLnBrk="0" hangingPunct="1">
        <a:lnSpc>
          <a:spcPct val="90000"/>
        </a:lnSpc>
        <a:spcBef>
          <a:spcPct val="0"/>
        </a:spcBef>
        <a:buNone/>
        <a:defRPr lang="en-US" sz="36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453355431"/>
      </p:ext>
    </p:extLst>
  </p:cSld>
  <p:clrMap bg1="lt1" tx1="dk1" bg2="lt2" tx2="dk2" accent1="accent1" accent2="accent2" accent3="accent3" accent4="accent4" accent5="accent5" accent6="accent6" hlink="hlink" folHlink="folHlink"/>
  <p:sldLayoutIdLst>
    <p:sldLayoutId id="2147484495" r:id="rId1"/>
  </p:sldLayoutIdLst>
  <p:transition>
    <p:fade/>
  </p:transition>
  <p:txStyles>
    <p:titleStyle>
      <a:lvl1pPr algn="l" defTabSz="932742" rtl="0" eaLnBrk="1" latinLnBrk="0" hangingPunct="1">
        <a:lnSpc>
          <a:spcPct val="90000"/>
        </a:lnSpc>
        <a:spcBef>
          <a:spcPct val="0"/>
        </a:spcBef>
        <a:buNone/>
        <a:defRPr lang="en-US" sz="36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2"/>
            <a:ext cx="11887198" cy="190539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919956767"/>
      </p:ext>
    </p:extLst>
  </p:cSld>
  <p:clrMap bg1="dk1" tx1="lt1" bg2="dk2" tx2="lt2" accent1="accent1" accent2="accent2" accent3="accent3" accent4="accent4" accent5="accent5" accent6="accent6" hlink="hlink" folHlink="folHlink"/>
  <p:sldLayoutIdLst>
    <p:sldLayoutId id="2147484498" r:id="rId1"/>
    <p:sldLayoutId id="2147484499" r:id="rId2"/>
    <p:sldLayoutId id="2147484500" r:id="rId3"/>
    <p:sldLayoutId id="2147484501" r:id="rId4"/>
    <p:sldLayoutId id="2147484502" r:id="rId5"/>
    <p:sldLayoutId id="2147484503" r:id="rId6"/>
    <p:sldLayoutId id="2147484504" r:id="rId7"/>
    <p:sldLayoutId id="2147484505" r:id="rId8"/>
    <p:sldLayoutId id="2147484506" r:id="rId9"/>
    <p:sldLayoutId id="2147484507" r:id="rId10"/>
    <p:sldLayoutId id="2147484508" r:id="rId11"/>
    <p:sldLayoutId id="2147484509" r:id="rId12"/>
    <p:sldLayoutId id="2147484510" r:id="rId13"/>
    <p:sldLayoutId id="2147484511" r:id="rId14"/>
    <p:sldLayoutId id="2147484512" r:id="rId15"/>
    <p:sldLayoutId id="2147484513" r:id="rId16"/>
    <p:sldLayoutId id="2147484515" r:id="rId17"/>
    <p:sldLayoutId id="2147484516" r:id="rId18"/>
    <p:sldLayoutId id="2147484517" r:id="rId19"/>
    <p:sldLayoutId id="2147484518" r:id="rId20"/>
    <p:sldLayoutId id="2147484519" r:id="rId21"/>
    <p:sldLayoutId id="2147484520" r:id="rId22"/>
    <p:sldLayoutId id="2147484521" r:id="rId23"/>
    <p:sldLayoutId id="2147484523" r:id="rId24"/>
  </p:sldLayoutIdLst>
  <p:transition>
    <p:fade/>
  </p:transition>
  <p:txStyles>
    <p:titleStyle>
      <a:lvl1pPr algn="l" defTabSz="932563" rtl="0" eaLnBrk="1" latinLnBrk="0" hangingPunct="1">
        <a:lnSpc>
          <a:spcPct val="90000"/>
        </a:lnSpc>
        <a:spcBef>
          <a:spcPct val="0"/>
        </a:spcBef>
        <a:buNone/>
        <a:defRPr lang="en-US" sz="36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0.xml"/><Relationship Id="rId1" Type="http://schemas.openxmlformats.org/officeDocument/2006/relationships/slideLayout" Target="../slideLayouts/slideLayout61.xml"/><Relationship Id="rId5" Type="http://schemas.openxmlformats.org/officeDocument/2006/relationships/image" Target="../media/image69.png"/><Relationship Id="rId4" Type="http://schemas.openxmlformats.org/officeDocument/2006/relationships/image" Target="../media/image68.png"/></Relationships>
</file>

<file path=ppt/slides/_rels/slide1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1.xml"/><Relationship Id="rId1" Type="http://schemas.openxmlformats.org/officeDocument/2006/relationships/slideLayout" Target="../slideLayouts/slideLayout61.xml"/><Relationship Id="rId5" Type="http://schemas.openxmlformats.org/officeDocument/2006/relationships/image" Target="../media/image62.png"/><Relationship Id="rId4" Type="http://schemas.openxmlformats.org/officeDocument/2006/relationships/image" Target="../media/image70.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1.xml"/></Relationships>
</file>

<file path=ppt/slides/_rels/slide1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3.xml"/><Relationship Id="rId1" Type="http://schemas.openxmlformats.org/officeDocument/2006/relationships/slideLayout" Target="../slideLayouts/slideLayout61.xml"/><Relationship Id="rId4" Type="http://schemas.openxmlformats.org/officeDocument/2006/relationships/image" Target="../media/image72.png"/></Relationships>
</file>

<file path=ppt/slides/_rels/slide1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4.xml"/><Relationship Id="rId1" Type="http://schemas.openxmlformats.org/officeDocument/2006/relationships/slideLayout" Target="../slideLayouts/slideLayout61.xml"/><Relationship Id="rId5" Type="http://schemas.openxmlformats.org/officeDocument/2006/relationships/image" Target="../media/image62.png"/><Relationship Id="rId4" Type="http://schemas.openxmlformats.org/officeDocument/2006/relationships/image" Target="../media/image61.png"/></Relationships>
</file>

<file path=ppt/slides/_rels/slide1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5.xml"/><Relationship Id="rId1" Type="http://schemas.openxmlformats.org/officeDocument/2006/relationships/slideLayout" Target="../slideLayouts/slideLayout61.xml"/><Relationship Id="rId5" Type="http://schemas.openxmlformats.org/officeDocument/2006/relationships/image" Target="../media/image62.png"/><Relationship Id="rId4" Type="http://schemas.openxmlformats.org/officeDocument/2006/relationships/image" Target="../media/image70.png"/></Relationships>
</file>

<file path=ppt/slides/_rels/slide16.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75.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74.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73.png"/><Relationship Id="rId5" Type="http://schemas.openxmlformats.org/officeDocument/2006/relationships/tags" Target="../tags/tag5.xml"/><Relationship Id="rId10" Type="http://schemas.openxmlformats.org/officeDocument/2006/relationships/notesSlide" Target="../notesSlides/notesSlide16.xml"/><Relationship Id="rId4" Type="http://schemas.openxmlformats.org/officeDocument/2006/relationships/tags" Target="../tags/tag4.xml"/><Relationship Id="rId9" Type="http://schemas.openxmlformats.org/officeDocument/2006/relationships/slideLayout" Target="../slideLayouts/slideLayout61.xml"/><Relationship Id="rId14" Type="http://schemas.microsoft.com/office/2007/relationships/hdphoto" Target="../media/hdphoto1.wdp"/></Relationships>
</file>

<file path=ppt/slides/_rels/slide17.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17.xml"/><Relationship Id="rId1" Type="http://schemas.openxmlformats.org/officeDocument/2006/relationships/slideLayout" Target="../slideLayouts/slideLayout61.xml"/></Relationships>
</file>

<file path=ppt/slides/_rels/slide1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8.xml"/><Relationship Id="rId1" Type="http://schemas.openxmlformats.org/officeDocument/2006/relationships/slideLayout" Target="../slideLayouts/slideLayout61.xml"/><Relationship Id="rId5" Type="http://schemas.openxmlformats.org/officeDocument/2006/relationships/image" Target="../media/image62.png"/><Relationship Id="rId4" Type="http://schemas.openxmlformats.org/officeDocument/2006/relationships/image" Target="../media/image70.png"/></Relationships>
</file>

<file path=ppt/slides/_rels/slide1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9.xml"/><Relationship Id="rId1" Type="http://schemas.openxmlformats.org/officeDocument/2006/relationships/slideLayout" Target="../slideLayouts/slideLayout61.xml"/><Relationship Id="rId4" Type="http://schemas.openxmlformats.org/officeDocument/2006/relationships/image" Target="../media/image7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1.xml"/></Relationships>
</file>

<file path=ppt/slides/_rels/slide2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0.xml"/><Relationship Id="rId1" Type="http://schemas.openxmlformats.org/officeDocument/2006/relationships/slideLayout" Target="../slideLayouts/slideLayout61.xml"/><Relationship Id="rId5" Type="http://schemas.openxmlformats.org/officeDocument/2006/relationships/image" Target="../media/image29.png"/><Relationship Id="rId4" Type="http://schemas.openxmlformats.org/officeDocument/2006/relationships/image" Target="../media/image3.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1.xml"/></Relationships>
</file>

<file path=ppt/slides/_rels/slide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2.xml"/><Relationship Id="rId1" Type="http://schemas.openxmlformats.org/officeDocument/2006/relationships/slideLayout" Target="../slideLayouts/slideLayout61.xml"/><Relationship Id="rId4" Type="http://schemas.openxmlformats.org/officeDocument/2006/relationships/image" Target="../media/image3.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9.xml"/></Relationships>
</file>

<file path=ppt/slides/_rels/slide2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4.xml"/><Relationship Id="rId1" Type="http://schemas.openxmlformats.org/officeDocument/2006/relationships/slideLayout" Target="../slideLayouts/slideLayout61.xml"/><Relationship Id="rId5" Type="http://schemas.openxmlformats.org/officeDocument/2006/relationships/image" Target="../media/image62.png"/><Relationship Id="rId4" Type="http://schemas.openxmlformats.org/officeDocument/2006/relationships/image" Target="../media/image70.png"/></Relationships>
</file>

<file path=ppt/slides/_rels/slide25.xml.rels><?xml version="1.0" encoding="UTF-8" standalone="yes"?>
<Relationships xmlns="http://schemas.openxmlformats.org/package/2006/relationships"><Relationship Id="rId3" Type="http://schemas.openxmlformats.org/officeDocument/2006/relationships/image" Target="../media/image80.png"/><Relationship Id="rId7" Type="http://schemas.microsoft.com/office/2007/relationships/hdphoto" Target="../media/hdphoto2.wdp"/><Relationship Id="rId2" Type="http://schemas.openxmlformats.org/officeDocument/2006/relationships/notesSlide" Target="../notesSlides/notesSlide25.xml"/><Relationship Id="rId1" Type="http://schemas.openxmlformats.org/officeDocument/2006/relationships/slideLayout" Target="../slideLayouts/slideLayout61.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2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6.xml"/><Relationship Id="rId1" Type="http://schemas.openxmlformats.org/officeDocument/2006/relationships/slideLayout" Target="../slideLayouts/slideLayout61.xml"/></Relationships>
</file>

<file path=ppt/slides/_rels/slide2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7.xml"/><Relationship Id="rId1" Type="http://schemas.openxmlformats.org/officeDocument/2006/relationships/slideLayout" Target="../slideLayouts/slideLayout61.xml"/><Relationship Id="rId4" Type="http://schemas.microsoft.com/office/2007/relationships/hdphoto" Target="../media/hdphoto3.wdp"/></Relationships>
</file>

<file path=ppt/slides/_rels/slide2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8.xml"/><Relationship Id="rId1" Type="http://schemas.openxmlformats.org/officeDocument/2006/relationships/slideLayout" Target="../slideLayouts/slideLayout61.xml"/><Relationship Id="rId5" Type="http://schemas.openxmlformats.org/officeDocument/2006/relationships/image" Target="../media/image69.png"/><Relationship Id="rId4" Type="http://schemas.openxmlformats.org/officeDocument/2006/relationships/image" Target="../media/image68.png"/></Relationships>
</file>

<file path=ppt/slides/_rels/slide29.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29.xml"/><Relationship Id="rId1" Type="http://schemas.openxmlformats.org/officeDocument/2006/relationships/slideLayout" Target="../slideLayouts/slideLayout61.xml"/></Relationships>
</file>

<file path=ppt/slides/_rels/slide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xml"/><Relationship Id="rId1" Type="http://schemas.openxmlformats.org/officeDocument/2006/relationships/slideLayout" Target="../slideLayouts/slideLayout61.xml"/><Relationship Id="rId5" Type="http://schemas.openxmlformats.org/officeDocument/2006/relationships/image" Target="../media/image62.png"/><Relationship Id="rId4" Type="http://schemas.openxmlformats.org/officeDocument/2006/relationships/image" Target="../media/image61.png"/></Relationships>
</file>

<file path=ppt/slides/_rels/slide3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0.xml"/><Relationship Id="rId1" Type="http://schemas.openxmlformats.org/officeDocument/2006/relationships/slideLayout" Target="../slideLayouts/slideLayout61.xml"/><Relationship Id="rId5" Type="http://schemas.openxmlformats.org/officeDocument/2006/relationships/image" Target="../media/image69.png"/><Relationship Id="rId4" Type="http://schemas.openxmlformats.org/officeDocument/2006/relationships/image" Target="../media/image68.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6.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86.xml"/><Relationship Id="rId1" Type="http://schemas.openxmlformats.org/officeDocument/2006/relationships/tags" Target="../tags/tag9.xml"/><Relationship Id="rId4" Type="http://schemas.openxmlformats.org/officeDocument/2006/relationships/image" Target="../media/image3.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36.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35.xml"/><Relationship Id="rId1" Type="http://schemas.openxmlformats.org/officeDocument/2006/relationships/slideLayout" Target="../slideLayouts/slideLayout86.xml"/><Relationship Id="rId4" Type="http://schemas.openxmlformats.org/officeDocument/2006/relationships/image" Target="../media/image88.png"/></Relationships>
</file>

<file path=ppt/slides/_rels/slide3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6.xml"/><Relationship Id="rId1" Type="http://schemas.openxmlformats.org/officeDocument/2006/relationships/slideLayout" Target="../slideLayouts/slideLayout86.xml"/><Relationship Id="rId6" Type="http://schemas.openxmlformats.org/officeDocument/2006/relationships/image" Target="../media/image65.png"/><Relationship Id="rId5" Type="http://schemas.openxmlformats.org/officeDocument/2006/relationships/hyperlink" Target="https://youtu.be/x1XARd8Xo7M" TargetMode="External"/><Relationship Id="rId4" Type="http://schemas.openxmlformats.org/officeDocument/2006/relationships/image" Target="../media/image64.png"/></Relationships>
</file>

<file path=ppt/slides/_rels/slide3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7.xml"/><Relationship Id="rId1" Type="http://schemas.openxmlformats.org/officeDocument/2006/relationships/slideLayout" Target="../slideLayouts/slideLayout86.xml"/><Relationship Id="rId4" Type="http://schemas.openxmlformats.org/officeDocument/2006/relationships/image" Target="../media/image90.jpeg"/></Relationships>
</file>

<file path=ppt/slides/_rels/slide3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8.xml"/><Relationship Id="rId1" Type="http://schemas.openxmlformats.org/officeDocument/2006/relationships/slideLayout" Target="../slideLayouts/slideLayout86.xml"/><Relationship Id="rId6" Type="http://schemas.openxmlformats.org/officeDocument/2006/relationships/image" Target="../media/image65.png"/><Relationship Id="rId5" Type="http://schemas.openxmlformats.org/officeDocument/2006/relationships/hyperlink" Target="https://www.youtube.com/watch?v=q2Ebn9TSK-I" TargetMode="External"/><Relationship Id="rId4" Type="http://schemas.openxmlformats.org/officeDocument/2006/relationships/image" Target="../media/image64.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1.xml"/></Relationships>
</file>

<file path=ppt/slides/_rels/slide40.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39.xml"/><Relationship Id="rId1" Type="http://schemas.openxmlformats.org/officeDocument/2006/relationships/slideLayout" Target="../slideLayouts/slideLayout86.xml"/><Relationship Id="rId4" Type="http://schemas.openxmlformats.org/officeDocument/2006/relationships/image" Target="../media/image93.png"/></Relationships>
</file>

<file path=ppt/slides/_rels/slide41.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40.xml"/><Relationship Id="rId1" Type="http://schemas.openxmlformats.org/officeDocument/2006/relationships/slideLayout" Target="../slideLayouts/slideLayout86.xml"/><Relationship Id="rId4" Type="http://schemas.openxmlformats.org/officeDocument/2006/relationships/image" Target="../media/image95.png"/></Relationships>
</file>

<file path=ppt/slides/_rels/slide42.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1.xml"/><Relationship Id="rId1" Type="http://schemas.openxmlformats.org/officeDocument/2006/relationships/slideLayout" Target="../slideLayouts/slideLayout86.xml"/><Relationship Id="rId6" Type="http://schemas.openxmlformats.org/officeDocument/2006/relationships/image" Target="../media/image65.png"/><Relationship Id="rId5" Type="http://schemas.openxmlformats.org/officeDocument/2006/relationships/hyperlink" Target="https://www.youtube.com/watch?v=iAxNtJVwcrE" TargetMode="External"/><Relationship Id="rId4" Type="http://schemas.openxmlformats.org/officeDocument/2006/relationships/image" Target="../media/image97.png"/></Relationships>
</file>

<file path=ppt/slides/_rels/slide43.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42.xml"/><Relationship Id="rId1" Type="http://schemas.openxmlformats.org/officeDocument/2006/relationships/slideLayout" Target="../slideLayouts/slideLayout86.xml"/><Relationship Id="rId4" Type="http://schemas.openxmlformats.org/officeDocument/2006/relationships/image" Target="../media/image99.jpeg"/></Relationships>
</file>

<file path=ppt/slides/_rels/slide44.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43.xml"/><Relationship Id="rId1" Type="http://schemas.openxmlformats.org/officeDocument/2006/relationships/slideLayout" Target="../slideLayouts/slideLayout86.xml"/><Relationship Id="rId6" Type="http://schemas.openxmlformats.org/officeDocument/2006/relationships/image" Target="../media/image97.png"/><Relationship Id="rId5" Type="http://schemas.openxmlformats.org/officeDocument/2006/relationships/image" Target="../media/image65.png"/><Relationship Id="rId4" Type="http://schemas.openxmlformats.org/officeDocument/2006/relationships/hyperlink" Target="https://www.youtube.com/watch?v=jhrhBgZphBw" TargetMode="External"/></Relationships>
</file>

<file path=ppt/slides/_rels/slide45.xml.rels><?xml version="1.0" encoding="UTF-8" standalone="yes"?>
<Relationships xmlns="http://schemas.openxmlformats.org/package/2006/relationships"><Relationship Id="rId8" Type="http://schemas.openxmlformats.org/officeDocument/2006/relationships/hyperlink" Target="https://azure.microsoft.com/en-us/solutions/cortana-analytics-suite/" TargetMode="External"/><Relationship Id="rId3" Type="http://schemas.openxmlformats.org/officeDocument/2006/relationships/hyperlink" Target="https://azure.microsoft.com/en-us/blog/tag/cortana-analytics-suite/" TargetMode="External"/><Relationship Id="rId7" Type="http://schemas.openxmlformats.org/officeDocument/2006/relationships/hyperlink" Target="http://cortanaanalyticspartners.azurewebsites.net/" TargetMode="External"/><Relationship Id="rId2" Type="http://schemas.openxmlformats.org/officeDocument/2006/relationships/notesSlide" Target="../notesSlides/notesSlide44.xml"/><Relationship Id="rId1" Type="http://schemas.openxmlformats.org/officeDocument/2006/relationships/slideLayout" Target="../slideLayouts/slideLayout61.xml"/><Relationship Id="rId6" Type="http://schemas.openxmlformats.org/officeDocument/2006/relationships/hyperlink" Target="https://partner.microsoft.com/en-US/Solutions/Cortana-Analytics#get-introduced" TargetMode="External"/><Relationship Id="rId5" Type="http://schemas.openxmlformats.org/officeDocument/2006/relationships/hyperlink" Target="https://channel9.msdn.com/Events/Cortana-Analytics-Suite" TargetMode="External"/><Relationship Id="rId4" Type="http://schemas.openxmlformats.org/officeDocument/2006/relationships/hyperlink" Target="https://www.edx.org/course/data-science-machine-learning-essentials-microsoft-dat203x-0"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45.xml"/><Relationship Id="rId1" Type="http://schemas.openxmlformats.org/officeDocument/2006/relationships/slideLayout" Target="../slideLayouts/slideLayout6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48.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notesSlide" Target="../notesSlides/notesSlide46.xml"/><Relationship Id="rId1" Type="http://schemas.openxmlformats.org/officeDocument/2006/relationships/slideLayout" Target="../slideLayouts/slideLayout61.xml"/><Relationship Id="rId4" Type="http://schemas.openxmlformats.org/officeDocument/2006/relationships/hyperlink" Target="https://www.youtube.com/watch?v=YxmAEMmwXYU" TargetMode="External"/></Relationships>
</file>

<file path=ppt/slides/_rels/slide49.xml.rels><?xml version="1.0" encoding="UTF-8" standalone="yes"?>
<Relationships xmlns="http://schemas.openxmlformats.org/package/2006/relationships"><Relationship Id="rId2" Type="http://schemas.openxmlformats.org/officeDocument/2006/relationships/image" Target="../media/image103.jpe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1.xml"/></Relationships>
</file>

<file path=ppt/slides/_rels/slide50.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47.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notesSlide" Target="../notesSlides/notesSlide48.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image" Target="../media/image105.png"/><Relationship Id="rId7" Type="http://schemas.openxmlformats.org/officeDocument/2006/relationships/image" Target="../media/image109.png"/><Relationship Id="rId2" Type="http://schemas.openxmlformats.org/officeDocument/2006/relationships/notesSlide" Target="../notesSlides/notesSlide49.xml"/><Relationship Id="rId1" Type="http://schemas.openxmlformats.org/officeDocument/2006/relationships/slideLayout" Target="../slideLayouts/slideLayout2.xml"/><Relationship Id="rId6" Type="http://schemas.openxmlformats.org/officeDocument/2006/relationships/image" Target="../media/image108.png"/><Relationship Id="rId5" Type="http://schemas.openxmlformats.org/officeDocument/2006/relationships/image" Target="../media/image107.png"/><Relationship Id="rId4" Type="http://schemas.openxmlformats.org/officeDocument/2006/relationships/image" Target="../media/image106.png"/></Relationships>
</file>

<file path=ppt/slides/_rels/slide53.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50.xml"/><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51.xml"/><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52.xml"/><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notesSlide" Target="../notesSlides/notesSlide53.xml"/><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5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1.xml"/></Relationships>
</file>

<file path=ppt/slides/_rels/slide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7.xml"/><Relationship Id="rId1" Type="http://schemas.openxmlformats.org/officeDocument/2006/relationships/slideLayout" Target="../slideLayouts/slideLayout61.xml"/><Relationship Id="rId6" Type="http://schemas.openxmlformats.org/officeDocument/2006/relationships/image" Target="../media/image65.png"/><Relationship Id="rId5" Type="http://schemas.openxmlformats.org/officeDocument/2006/relationships/hyperlink" Target="https://youtu.be/x1XARd8Xo7M" TargetMode="External"/><Relationship Id="rId4" Type="http://schemas.openxmlformats.org/officeDocument/2006/relationships/image" Target="../media/image64.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6.xml"/></Relationships>
</file>

<file path=ppt/slides/_rels/slide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9.xml"/><Relationship Id="rId1" Type="http://schemas.openxmlformats.org/officeDocument/2006/relationships/slideLayout" Target="../slideLayouts/slideLayout6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81" y="3433162"/>
            <a:ext cx="6403132" cy="3561363"/>
          </a:xfrm>
          <a:prstGeom prst="rect">
            <a:avLst/>
          </a:prstGeom>
          <a:solidFill>
            <a:schemeClr val="accent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5"/>
          <p:cNvSpPr>
            <a:spLocks noGrp="1"/>
          </p:cNvSpPr>
          <p:nvPr>
            <p:ph type="title"/>
          </p:nvPr>
        </p:nvSpPr>
        <p:spPr>
          <a:xfrm>
            <a:off x="342092" y="3566388"/>
            <a:ext cx="5408815" cy="1828800"/>
          </a:xfrm>
        </p:spPr>
        <p:txBody>
          <a:bodyPr/>
          <a:lstStyle/>
          <a:p>
            <a:r>
              <a:rPr lang="en-US" dirty="0"/>
              <a:t>Cortana </a:t>
            </a:r>
            <a:br>
              <a:rPr lang="en-US" dirty="0"/>
            </a:br>
            <a:r>
              <a:rPr lang="en-US" dirty="0"/>
              <a:t>Intelligence Suite</a:t>
            </a:r>
          </a:p>
        </p:txBody>
      </p:sp>
      <p:sp>
        <p:nvSpPr>
          <p:cNvPr id="7" name="Text Placeholder 6"/>
          <p:cNvSpPr>
            <a:spLocks noGrp="1"/>
          </p:cNvSpPr>
          <p:nvPr>
            <p:ph type="body" sz="quarter" idx="14"/>
          </p:nvPr>
        </p:nvSpPr>
        <p:spPr>
          <a:xfrm>
            <a:off x="340695" y="5395168"/>
            <a:ext cx="6063317" cy="1732583"/>
          </a:xfrm>
        </p:spPr>
        <p:txBody>
          <a:bodyPr/>
          <a:lstStyle/>
          <a:p>
            <a:r>
              <a:rPr lang="en-US" dirty="0"/>
              <a:t>Technical overview</a:t>
            </a:r>
          </a:p>
        </p:txBody>
      </p:sp>
    </p:spTree>
    <p:extLst>
      <p:ext uri="{BB962C8B-B14F-4D97-AF65-F5344CB8AC3E}">
        <p14:creationId xmlns:p14="http://schemas.microsoft.com/office/powerpoint/2010/main" val="2096601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p:cNvSpPr>
            <a:spLocks noGrp="1"/>
          </p:cNvSpPr>
          <p:nvPr>
            <p:ph type="title"/>
          </p:nvPr>
        </p:nvSpPr>
        <p:spPr/>
        <p:txBody>
          <a:bodyPr/>
          <a:lstStyle/>
          <a:p>
            <a:r>
              <a:rPr lang="en-US" dirty="0"/>
              <a:t>Transform data into intelligent action</a:t>
            </a:r>
          </a:p>
        </p:txBody>
      </p:sp>
      <p:sp>
        <p:nvSpPr>
          <p:cNvPr id="134" name="Rectangle 133"/>
          <p:cNvSpPr/>
          <p:nvPr/>
        </p:nvSpPr>
        <p:spPr bwMode="auto">
          <a:xfrm>
            <a:off x="8005941" y="1212849"/>
            <a:ext cx="1660373" cy="2928083"/>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telligence</a:t>
            </a:r>
          </a:p>
        </p:txBody>
      </p:sp>
      <p:sp>
        <p:nvSpPr>
          <p:cNvPr id="142" name="Rectangle 141"/>
          <p:cNvSpPr/>
          <p:nvPr/>
        </p:nvSpPr>
        <p:spPr bwMode="auto">
          <a:xfrm>
            <a:off x="8005941" y="4267723"/>
            <a:ext cx="1660373" cy="1293008"/>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Dashboards &amp; Visualizations</a:t>
            </a:r>
          </a:p>
        </p:txBody>
      </p:sp>
      <p:sp>
        <p:nvSpPr>
          <p:cNvPr id="131" name="Rectangle 130"/>
          <p:cNvSpPr/>
          <p:nvPr/>
        </p:nvSpPr>
        <p:spPr bwMode="auto">
          <a:xfrm>
            <a:off x="2679611" y="1212849"/>
            <a:ext cx="1660373" cy="434788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132" name="Rectangle 131"/>
          <p:cNvSpPr/>
          <p:nvPr/>
        </p:nvSpPr>
        <p:spPr bwMode="auto">
          <a:xfrm>
            <a:off x="4455055" y="1212850"/>
            <a:ext cx="1660373" cy="434788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Big Data Stores</a:t>
            </a:r>
          </a:p>
        </p:txBody>
      </p:sp>
      <p:sp>
        <p:nvSpPr>
          <p:cNvPr id="133" name="Rectangle 132"/>
          <p:cNvSpPr/>
          <p:nvPr/>
        </p:nvSpPr>
        <p:spPr bwMode="auto">
          <a:xfrm>
            <a:off x="6230498" y="1212850"/>
            <a:ext cx="1660373" cy="434788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Machine Learning and Analytics</a:t>
            </a:r>
          </a:p>
        </p:txBody>
      </p:sp>
      <p:sp>
        <p:nvSpPr>
          <p:cNvPr id="135" name="Rectangle 134"/>
          <p:cNvSpPr/>
          <p:nvPr/>
        </p:nvSpPr>
        <p:spPr>
          <a:xfrm>
            <a:off x="8647433" y="3601914"/>
            <a:ext cx="1212643" cy="253266"/>
          </a:xfrm>
          <a:prstGeom prst="rect">
            <a:avLst/>
          </a:prstGeom>
        </p:spPr>
        <p:txBody>
          <a:bodyPr wrap="square">
            <a:spAutoFit/>
          </a:bodyPr>
          <a:lstStyle/>
          <a:p>
            <a:r>
              <a:rPr lang="en-US" sz="1122" dirty="0">
                <a:cs typeface="Segoe UI Semilight" panose="020B0402040204020203" pitchFamily="34" charset="0"/>
              </a:rPr>
              <a:t>Cortana</a:t>
            </a:r>
          </a:p>
        </p:txBody>
      </p:sp>
      <p:grpSp>
        <p:nvGrpSpPr>
          <p:cNvPr id="136" name="Group 135"/>
          <p:cNvGrpSpPr/>
          <p:nvPr/>
        </p:nvGrpSpPr>
        <p:grpSpPr>
          <a:xfrm>
            <a:off x="8269003" y="3574270"/>
            <a:ext cx="301767" cy="301767"/>
            <a:chOff x="3236100" y="589298"/>
            <a:chExt cx="5641200" cy="5641200"/>
          </a:xfrm>
        </p:grpSpPr>
        <p:sp>
          <p:nvSpPr>
            <p:cNvPr id="137" name="Freeform 136"/>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sp>
          <p:nvSpPr>
            <p:cNvPr id="138" name="Freeform 137"/>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grpSp>
      <p:sp>
        <p:nvSpPr>
          <p:cNvPr id="141" name="Rectangle 140"/>
          <p:cNvSpPr/>
          <p:nvPr/>
        </p:nvSpPr>
        <p:spPr>
          <a:xfrm>
            <a:off x="3208175" y="3601914"/>
            <a:ext cx="1214695" cy="265009"/>
          </a:xfrm>
          <a:prstGeom prst="rect">
            <a:avLst/>
          </a:prstGeom>
        </p:spPr>
        <p:txBody>
          <a:bodyPr wrap="square">
            <a:spAutoFit/>
          </a:bodyPr>
          <a:lstStyle/>
          <a:p>
            <a:r>
              <a:rPr lang="en-US" sz="1122" dirty="0">
                <a:cs typeface="Segoe UI Semilight" panose="020B0402040204020203" pitchFamily="34" charset="0"/>
              </a:rPr>
              <a:t>Event Hubs</a:t>
            </a:r>
            <a:endParaRPr lang="en-US" sz="1122" dirty="0"/>
          </a:p>
        </p:txBody>
      </p:sp>
      <p:sp>
        <p:nvSpPr>
          <p:cNvPr id="143" name="Rectangle 142"/>
          <p:cNvSpPr/>
          <p:nvPr/>
        </p:nvSpPr>
        <p:spPr>
          <a:xfrm>
            <a:off x="6831635" y="3440138"/>
            <a:ext cx="1212643" cy="583314"/>
          </a:xfrm>
          <a:prstGeom prst="rect">
            <a:avLst/>
          </a:prstGeom>
        </p:spPr>
        <p:txBody>
          <a:bodyPr wrap="square">
            <a:spAutoFit/>
          </a:bodyPr>
          <a:lstStyle/>
          <a:p>
            <a:r>
              <a:rPr lang="en-US" sz="1122" dirty="0">
                <a:cs typeface="Segoe UI Semilight" panose="020B0402040204020203" pitchFamily="34" charset="0"/>
              </a:rPr>
              <a:t>HDInsight </a:t>
            </a:r>
          </a:p>
          <a:p>
            <a:r>
              <a:rPr lang="en-US" sz="1122" dirty="0">
                <a:cs typeface="Segoe UI Semilight" panose="020B0402040204020203" pitchFamily="34" charset="0"/>
              </a:rPr>
              <a:t>(Hadoop and Spark)</a:t>
            </a:r>
          </a:p>
        </p:txBody>
      </p:sp>
      <p:sp>
        <p:nvSpPr>
          <p:cNvPr id="140" name="Rectangle 139"/>
          <p:cNvSpPr/>
          <p:nvPr/>
        </p:nvSpPr>
        <p:spPr>
          <a:xfrm>
            <a:off x="6831635" y="4394523"/>
            <a:ext cx="866839" cy="410125"/>
          </a:xfrm>
          <a:prstGeom prst="rect">
            <a:avLst/>
          </a:prstGeom>
        </p:spPr>
        <p:txBody>
          <a:bodyPr wrap="square">
            <a:spAutoFit/>
          </a:bodyPr>
          <a:lstStyle/>
          <a:p>
            <a:r>
              <a:rPr lang="en-US" sz="1122" dirty="0">
                <a:cs typeface="Segoe UI Semilight" panose="020B0402040204020203" pitchFamily="34" charset="0"/>
              </a:rPr>
              <a:t>Stream Analytics</a:t>
            </a:r>
          </a:p>
        </p:txBody>
      </p:sp>
      <p:sp>
        <p:nvSpPr>
          <p:cNvPr id="189" name="Rectangle 188"/>
          <p:cNvSpPr/>
          <p:nvPr/>
        </p:nvSpPr>
        <p:spPr>
          <a:xfrm>
            <a:off x="2169343" y="5843791"/>
            <a:ext cx="892227" cy="306913"/>
          </a:xfrm>
          <a:prstGeom prst="rect">
            <a:avLst/>
          </a:prstGeom>
        </p:spPr>
        <p:txBody>
          <a:bodyPr wrap="none" lIns="0" tIns="0" rIns="0" bIns="0" anchor="ctr">
            <a:noAutofit/>
          </a:bodyPr>
          <a:lstStyle/>
          <a:p>
            <a:pPr>
              <a:lnSpc>
                <a:spcPct val="90000"/>
              </a:lnSpc>
            </a:pPr>
            <a:r>
              <a:rPr lang="en-US" sz="2448" dirty="0">
                <a:solidFill>
                  <a:schemeClr val="bg2"/>
                </a:solidFill>
                <a:latin typeface="+mj-lt"/>
              </a:rPr>
              <a:t>Data</a:t>
            </a:r>
          </a:p>
        </p:txBody>
      </p:sp>
      <p:sp>
        <p:nvSpPr>
          <p:cNvPr id="190" name="Rectangle 189"/>
          <p:cNvSpPr/>
          <p:nvPr/>
        </p:nvSpPr>
        <p:spPr>
          <a:xfrm>
            <a:off x="5471961" y="5817241"/>
            <a:ext cx="1420136" cy="360013"/>
          </a:xfrm>
          <a:prstGeom prst="rect">
            <a:avLst/>
          </a:prstGeom>
        </p:spPr>
        <p:txBody>
          <a:bodyPr wrap="none" lIns="0" tIns="0" rIns="0" bIns="0" anchor="ctr">
            <a:spAutoFit/>
          </a:bodyPr>
          <a:lstStyle/>
          <a:p>
            <a:pPr algn="ctr" defTabSz="739440">
              <a:spcBef>
                <a:spcPct val="0"/>
              </a:spcBef>
              <a:spcAft>
                <a:spcPct val="35000"/>
              </a:spcAft>
            </a:pPr>
            <a:r>
              <a:rPr lang="en-US" sz="2448" dirty="0">
                <a:solidFill>
                  <a:schemeClr val="bg2"/>
                </a:solidFill>
                <a:latin typeface="+mj-lt"/>
              </a:rPr>
              <a:t>Intelligence</a:t>
            </a:r>
            <a:endParaRPr lang="en-US" sz="1836" b="1" spc="-31" dirty="0">
              <a:solidFill>
                <a:schemeClr val="bg2"/>
              </a:solidFill>
              <a:latin typeface="Segoe UI Semilight" panose="020B0402040204020203" pitchFamily="34" charset="0"/>
              <a:cs typeface="Segoe UI Semilight" panose="020B0402040204020203" pitchFamily="34" charset="0"/>
            </a:endParaRPr>
          </a:p>
        </p:txBody>
      </p:sp>
      <p:cxnSp>
        <p:nvCxnSpPr>
          <p:cNvPr id="192" name="Straight Connector 191"/>
          <p:cNvCxnSpPr/>
          <p:nvPr/>
        </p:nvCxnSpPr>
        <p:spPr>
          <a:xfrm>
            <a:off x="3506929" y="5997833"/>
            <a:ext cx="1296574" cy="0"/>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3" name="Group 192"/>
          <p:cNvGrpSpPr/>
          <p:nvPr/>
        </p:nvGrpSpPr>
        <p:grpSpPr>
          <a:xfrm rot="13500000">
            <a:off x="4602109" y="5911816"/>
            <a:ext cx="173455" cy="170863"/>
            <a:chOff x="402446" y="5872915"/>
            <a:chExt cx="292608" cy="288235"/>
          </a:xfrm>
          <a:solidFill>
            <a:schemeClr val="tx1">
              <a:lumMod val="85000"/>
            </a:schemeClr>
          </a:solidFill>
        </p:grpSpPr>
        <p:cxnSp>
          <p:nvCxnSpPr>
            <p:cNvPr id="194" name="Straight Connector 193"/>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97" name="Straight Connector 196"/>
          <p:cNvCxnSpPr/>
          <p:nvPr/>
        </p:nvCxnSpPr>
        <p:spPr>
          <a:xfrm>
            <a:off x="7728636" y="5997833"/>
            <a:ext cx="1296574" cy="0"/>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8" name="Group 197"/>
          <p:cNvGrpSpPr/>
          <p:nvPr/>
        </p:nvGrpSpPr>
        <p:grpSpPr>
          <a:xfrm rot="13500000">
            <a:off x="8823816" y="5911816"/>
            <a:ext cx="173455" cy="170863"/>
            <a:chOff x="402446" y="5872915"/>
            <a:chExt cx="292608" cy="288235"/>
          </a:xfrm>
          <a:solidFill>
            <a:schemeClr val="tx1">
              <a:lumMod val="85000"/>
            </a:schemeClr>
          </a:solidFill>
        </p:grpSpPr>
        <p:cxnSp>
          <p:nvCxnSpPr>
            <p:cNvPr id="199" name="Straight Connector 198"/>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01" name="Rectangle 200"/>
          <p:cNvSpPr/>
          <p:nvPr/>
        </p:nvSpPr>
        <p:spPr>
          <a:xfrm>
            <a:off x="9775271" y="5840557"/>
            <a:ext cx="1434111" cy="313382"/>
          </a:xfrm>
          <a:prstGeom prst="rect">
            <a:avLst/>
          </a:prstGeom>
        </p:spPr>
        <p:txBody>
          <a:bodyPr wrap="none" lIns="0" tIns="0" rIns="0" bIns="0" anchor="ctr">
            <a:noAutofit/>
          </a:bodyPr>
          <a:lstStyle/>
          <a:p>
            <a:pPr>
              <a:lnSpc>
                <a:spcPct val="90000"/>
              </a:lnSpc>
            </a:pPr>
            <a:r>
              <a:rPr lang="en-US" sz="2448" dirty="0">
                <a:solidFill>
                  <a:schemeClr val="bg2"/>
                </a:solidFill>
                <a:latin typeface="+mj-lt"/>
              </a:rPr>
              <a:t>Action</a:t>
            </a:r>
          </a:p>
        </p:txBody>
      </p:sp>
      <p:sp>
        <p:nvSpPr>
          <p:cNvPr id="203" name="Freeform 202"/>
          <p:cNvSpPr/>
          <p:nvPr/>
        </p:nvSpPr>
        <p:spPr bwMode="auto">
          <a:xfrm>
            <a:off x="2476641" y="1221590"/>
            <a:ext cx="118369" cy="4360661"/>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36"/>
          </a:p>
        </p:txBody>
      </p:sp>
      <p:sp>
        <p:nvSpPr>
          <p:cNvPr id="206" name="Freeform 205"/>
          <p:cNvSpPr/>
          <p:nvPr/>
        </p:nvSpPr>
        <p:spPr bwMode="auto">
          <a:xfrm flipH="1">
            <a:off x="9754276" y="1221590"/>
            <a:ext cx="118369" cy="4360661"/>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36"/>
          </a:p>
        </p:txBody>
      </p:sp>
      <p:cxnSp>
        <p:nvCxnSpPr>
          <p:cNvPr id="207" name="Straight Connector 206"/>
          <p:cNvCxnSpPr/>
          <p:nvPr/>
        </p:nvCxnSpPr>
        <p:spPr>
          <a:xfrm flipH="1">
            <a:off x="9754276" y="3401919"/>
            <a:ext cx="294803"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8" name="TextBox 207"/>
          <p:cNvSpPr txBox="1"/>
          <p:nvPr/>
        </p:nvSpPr>
        <p:spPr>
          <a:xfrm>
            <a:off x="10512073" y="1520323"/>
            <a:ext cx="1041755" cy="441167"/>
          </a:xfrm>
          <a:prstGeom prst="rect">
            <a:avLst/>
          </a:prstGeom>
          <a:noFill/>
        </p:spPr>
        <p:txBody>
          <a:bodyPr wrap="square" lIns="186494" tIns="149195" rIns="186494" bIns="149195" rtlCol="0">
            <a:spAutoFit/>
          </a:bodyPr>
          <a:lstStyle/>
          <a:p>
            <a:pPr defTabSz="951121">
              <a:lnSpc>
                <a:spcPct val="90000"/>
              </a:lnSpc>
              <a:spcBef>
                <a:spcPct val="0"/>
              </a:spcBef>
              <a:spcAft>
                <a:spcPts val="612"/>
              </a:spcAft>
            </a:pPr>
            <a:r>
              <a:rPr lang="en-US" sz="1224" spc="-31" dirty="0">
                <a:solidFill>
                  <a:schemeClr val="bg2"/>
                </a:solidFill>
                <a:latin typeface="Segoe UI Semilight" panose="020B0402040204020203" pitchFamily="34" charset="0"/>
                <a:cs typeface="Segoe UI Semilight" panose="020B0402040204020203" pitchFamily="34" charset="0"/>
              </a:rPr>
              <a:t>People</a:t>
            </a:r>
          </a:p>
        </p:txBody>
      </p:sp>
      <p:sp>
        <p:nvSpPr>
          <p:cNvPr id="209" name="TextBox 208"/>
          <p:cNvSpPr txBox="1"/>
          <p:nvPr/>
        </p:nvSpPr>
        <p:spPr>
          <a:xfrm>
            <a:off x="10768954" y="4684216"/>
            <a:ext cx="829796" cy="324042"/>
          </a:xfrm>
          <a:prstGeom prst="rect">
            <a:avLst/>
          </a:prstGeom>
          <a:noFill/>
        </p:spPr>
        <p:txBody>
          <a:bodyPr wrap="square" lIns="0" tIns="0" rIns="0" bIns="0" rtlCol="0">
            <a:spAutoFit/>
          </a:bodyPr>
          <a:lstStyle/>
          <a:p>
            <a:pPr defTabSz="951121">
              <a:lnSpc>
                <a:spcPct val="90000"/>
              </a:lnSpc>
              <a:spcBef>
                <a:spcPct val="0"/>
              </a:spcBef>
              <a:spcAft>
                <a:spcPts val="612"/>
              </a:spcAft>
            </a:pPr>
            <a:r>
              <a:rPr lang="en-US" sz="1224" spc="-31" dirty="0">
                <a:solidFill>
                  <a:schemeClr val="bg2"/>
                </a:solidFill>
                <a:latin typeface="Segoe UI Semilight" panose="020B0402040204020203" pitchFamily="34" charset="0"/>
                <a:cs typeface="Segoe UI Semilight" panose="020B0402040204020203" pitchFamily="34" charset="0"/>
              </a:rPr>
              <a:t>Automated </a:t>
            </a:r>
            <a:br>
              <a:rPr lang="en-US" sz="1224" spc="-31" dirty="0">
                <a:solidFill>
                  <a:schemeClr val="bg2"/>
                </a:solidFill>
                <a:latin typeface="Segoe UI Semilight" panose="020B0402040204020203" pitchFamily="34" charset="0"/>
                <a:cs typeface="Segoe UI Semilight" panose="020B0402040204020203" pitchFamily="34" charset="0"/>
              </a:rPr>
            </a:br>
            <a:r>
              <a:rPr lang="en-US" sz="1224" spc="-31" dirty="0">
                <a:solidFill>
                  <a:schemeClr val="bg2"/>
                </a:solidFill>
                <a:latin typeface="Segoe UI Semilight" panose="020B0402040204020203" pitchFamily="34" charset="0"/>
                <a:cs typeface="Segoe UI Semilight" panose="020B0402040204020203" pitchFamily="34" charset="0"/>
              </a:rPr>
              <a:t>Systems</a:t>
            </a:r>
          </a:p>
        </p:txBody>
      </p:sp>
      <p:grpSp>
        <p:nvGrpSpPr>
          <p:cNvPr id="210" name="Group 209"/>
          <p:cNvGrpSpPr/>
          <p:nvPr/>
        </p:nvGrpSpPr>
        <p:grpSpPr>
          <a:xfrm>
            <a:off x="10132159" y="1556774"/>
            <a:ext cx="360512" cy="368265"/>
            <a:chOff x="6112510" y="6954657"/>
            <a:chExt cx="1181100" cy="1206500"/>
          </a:xfrm>
          <a:solidFill>
            <a:schemeClr val="accent2"/>
          </a:solidFill>
        </p:grpSpPr>
        <p:sp>
          <p:nvSpPr>
            <p:cNvPr id="211"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2"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3"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4"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215" name="Group 214"/>
          <p:cNvGrpSpPr/>
          <p:nvPr/>
        </p:nvGrpSpPr>
        <p:grpSpPr>
          <a:xfrm>
            <a:off x="10180112" y="4612640"/>
            <a:ext cx="368657" cy="460821"/>
            <a:chOff x="2954338" y="6831013"/>
            <a:chExt cx="1041400" cy="1301750"/>
          </a:xfrm>
          <a:solidFill>
            <a:schemeClr val="accent2"/>
          </a:solidFill>
        </p:grpSpPr>
        <p:sp>
          <p:nvSpPr>
            <p:cNvPr id="216"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3260" tIns="46630" rIns="93260" bIns="46630" numCol="1" anchor="t" anchorCtr="0" compatLnSpc="1">
              <a:prstTxWarp prst="textNoShape">
                <a:avLst/>
              </a:prstTxWarp>
            </a:bodyPr>
            <a:lstStyle/>
            <a:p>
              <a:endParaRPr lang="en-US" sz="1836"/>
            </a:p>
          </p:txBody>
        </p:sp>
        <p:sp>
          <p:nvSpPr>
            <p:cNvPr id="217"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3260" tIns="46630" rIns="93260" bIns="46630" numCol="1" anchor="t" anchorCtr="0" compatLnSpc="1">
              <a:prstTxWarp prst="textNoShape">
                <a:avLst/>
              </a:prstTxWarp>
            </a:bodyPr>
            <a:lstStyle/>
            <a:p>
              <a:endParaRPr lang="en-US" sz="1836"/>
            </a:p>
          </p:txBody>
        </p:sp>
      </p:grpSp>
      <p:grpSp>
        <p:nvGrpSpPr>
          <p:cNvPr id="10" name="Group 9"/>
          <p:cNvGrpSpPr/>
          <p:nvPr/>
        </p:nvGrpSpPr>
        <p:grpSpPr>
          <a:xfrm>
            <a:off x="10025677" y="2727690"/>
            <a:ext cx="1795634" cy="1474416"/>
            <a:chOff x="9910801" y="2434267"/>
            <a:chExt cx="1878892" cy="1542780"/>
          </a:xfrm>
          <a:solidFill>
            <a:schemeClr val="accent2"/>
          </a:solidFill>
        </p:grpSpPr>
        <p:sp>
          <p:nvSpPr>
            <p:cNvPr id="218" name="TextBox 217"/>
            <p:cNvSpPr txBox="1"/>
            <p:nvPr/>
          </p:nvSpPr>
          <p:spPr>
            <a:xfrm>
              <a:off x="9910801" y="3234749"/>
              <a:ext cx="1090058" cy="461622"/>
            </a:xfrm>
            <a:prstGeom prst="rect">
              <a:avLst/>
            </a:prstGeom>
            <a:noFill/>
          </p:spPr>
          <p:txBody>
            <a:bodyPr wrap="square" lIns="186494" tIns="149195" rIns="186494" bIns="149195" rtlCol="0">
              <a:spAutoFit/>
            </a:bodyPr>
            <a:lstStyle/>
            <a:p>
              <a:pPr defTabSz="951121">
                <a:lnSpc>
                  <a:spcPct val="90000"/>
                </a:lnSpc>
                <a:spcBef>
                  <a:spcPct val="0"/>
                </a:spcBef>
                <a:spcAft>
                  <a:spcPts val="612"/>
                </a:spcAft>
              </a:pPr>
              <a:r>
                <a:rPr lang="en-US" sz="1224" spc="-31" dirty="0">
                  <a:solidFill>
                    <a:schemeClr val="bg2"/>
                  </a:solidFill>
                  <a:latin typeface="Segoe UI Semilight" panose="020B0402040204020203" pitchFamily="34" charset="0"/>
                  <a:cs typeface="Segoe UI Semilight" panose="020B0402040204020203" pitchFamily="34" charset="0"/>
                </a:rPr>
                <a:t>Apps</a:t>
              </a:r>
            </a:p>
          </p:txBody>
        </p:sp>
        <p:grpSp>
          <p:nvGrpSpPr>
            <p:cNvPr id="219" name="Group 218"/>
            <p:cNvGrpSpPr/>
            <p:nvPr/>
          </p:nvGrpSpPr>
          <p:grpSpPr>
            <a:xfrm>
              <a:off x="10012430" y="2917883"/>
              <a:ext cx="462396" cy="357669"/>
              <a:chOff x="5007615" y="2323753"/>
              <a:chExt cx="649029" cy="502032"/>
            </a:xfrm>
            <a:grpFill/>
          </p:grpSpPr>
          <p:sp>
            <p:nvSpPr>
              <p:cNvPr id="220" name="Freeform 219"/>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3260" tIns="46630" rIns="93260" bIns="46630" numCol="1" anchor="t" anchorCtr="0" compatLnSpc="1">
                <a:prstTxWarp prst="textNoShape">
                  <a:avLst/>
                </a:prstTxWarp>
                <a:noAutofit/>
              </a:bodyPr>
              <a:lstStyle/>
              <a:p>
                <a:endParaRPr lang="en-US" sz="1836" dirty="0"/>
              </a:p>
            </p:txBody>
          </p:sp>
          <p:sp>
            <p:nvSpPr>
              <p:cNvPr id="221" name="Freeform 220"/>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endParaRPr lang="en-US" sz="1836" dirty="0"/>
              </a:p>
            </p:txBody>
          </p:sp>
        </p:grpSp>
        <p:grpSp>
          <p:nvGrpSpPr>
            <p:cNvPr id="222" name="Group 221"/>
            <p:cNvGrpSpPr/>
            <p:nvPr/>
          </p:nvGrpSpPr>
          <p:grpSpPr>
            <a:xfrm>
              <a:off x="10486805" y="2434267"/>
              <a:ext cx="1302888" cy="1542780"/>
              <a:chOff x="10486805" y="2923046"/>
              <a:chExt cx="1302888" cy="1542780"/>
            </a:xfrm>
            <a:grpFill/>
          </p:grpSpPr>
          <p:sp>
            <p:nvSpPr>
              <p:cNvPr id="223" name="Rectangle 222"/>
              <p:cNvSpPr/>
              <p:nvPr/>
            </p:nvSpPr>
            <p:spPr bwMode="auto">
              <a:xfrm>
                <a:off x="10802824" y="2923046"/>
                <a:ext cx="986869" cy="1542780"/>
              </a:xfrm>
              <a:prstGeom prst="rect">
                <a:avLst/>
              </a:prstGeom>
              <a:noFill/>
              <a:ln>
                <a:solidFill>
                  <a:schemeClr val="tx1">
                    <a:lumMod val="6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24" name="TextBox 223"/>
              <p:cNvSpPr txBox="1"/>
              <p:nvPr/>
            </p:nvSpPr>
            <p:spPr>
              <a:xfrm>
                <a:off x="11212738" y="3022354"/>
                <a:ext cx="473389" cy="164789"/>
              </a:xfrm>
              <a:prstGeom prst="rect">
                <a:avLst/>
              </a:prstGeom>
              <a:noFill/>
            </p:spPr>
            <p:txBody>
              <a:bodyPr wrap="square" lIns="0" tIns="0" rIns="0" bIns="0" rtlCol="0">
                <a:spAutoFit/>
              </a:bodyPr>
              <a:lstStyle/>
              <a:p>
                <a:pPr defTabSz="951121">
                  <a:spcBef>
                    <a:spcPct val="0"/>
                  </a:spcBef>
                  <a:spcAft>
                    <a:spcPts val="612"/>
                  </a:spcAft>
                </a:pPr>
                <a:r>
                  <a:rPr lang="en-US" sz="1071" dirty="0">
                    <a:solidFill>
                      <a:schemeClr val="accent2"/>
                    </a:solidFill>
                    <a:cs typeface="Segoe UI Semilight" panose="020B0402040204020203" pitchFamily="34" charset="0"/>
                  </a:rPr>
                  <a:t>Web</a:t>
                </a:r>
              </a:p>
            </p:txBody>
          </p:sp>
          <p:sp>
            <p:nvSpPr>
              <p:cNvPr id="225" name="TextBox 224"/>
              <p:cNvSpPr txBox="1"/>
              <p:nvPr/>
            </p:nvSpPr>
            <p:spPr>
              <a:xfrm>
                <a:off x="11212738" y="3571986"/>
                <a:ext cx="473389" cy="164789"/>
              </a:xfrm>
              <a:prstGeom prst="rect">
                <a:avLst/>
              </a:prstGeom>
              <a:noFill/>
            </p:spPr>
            <p:txBody>
              <a:bodyPr wrap="square" lIns="0" tIns="0" rIns="0" bIns="0" rtlCol="0">
                <a:spAutoFit/>
              </a:bodyPr>
              <a:lstStyle/>
              <a:p>
                <a:pPr defTabSz="951121">
                  <a:spcBef>
                    <a:spcPct val="0"/>
                  </a:spcBef>
                  <a:spcAft>
                    <a:spcPts val="612"/>
                  </a:spcAft>
                </a:pPr>
                <a:r>
                  <a:rPr lang="en-US" sz="1071" dirty="0">
                    <a:solidFill>
                      <a:schemeClr val="accent2"/>
                    </a:solidFill>
                    <a:cs typeface="Segoe UI Semilight" panose="020B0402040204020203" pitchFamily="34" charset="0"/>
                  </a:rPr>
                  <a:t>Mobile</a:t>
                </a:r>
              </a:p>
            </p:txBody>
          </p:sp>
          <p:sp>
            <p:nvSpPr>
              <p:cNvPr id="226" name="TextBox 225"/>
              <p:cNvSpPr txBox="1"/>
              <p:nvPr/>
            </p:nvSpPr>
            <p:spPr>
              <a:xfrm>
                <a:off x="11212738" y="4160203"/>
                <a:ext cx="473389" cy="164789"/>
              </a:xfrm>
              <a:prstGeom prst="rect">
                <a:avLst/>
              </a:prstGeom>
              <a:noFill/>
            </p:spPr>
            <p:txBody>
              <a:bodyPr wrap="square" lIns="0" tIns="0" rIns="0" bIns="0" rtlCol="0">
                <a:spAutoFit/>
              </a:bodyPr>
              <a:lstStyle/>
              <a:p>
                <a:pPr defTabSz="951121">
                  <a:spcBef>
                    <a:spcPct val="0"/>
                  </a:spcBef>
                  <a:spcAft>
                    <a:spcPts val="612"/>
                  </a:spcAft>
                </a:pPr>
                <a:r>
                  <a:rPr lang="en-US" sz="1071" dirty="0">
                    <a:solidFill>
                      <a:schemeClr val="accent2"/>
                    </a:solidFill>
                    <a:cs typeface="Segoe UI Semilight" panose="020B0402040204020203" pitchFamily="34" charset="0"/>
                  </a:rPr>
                  <a:t>Bots</a:t>
                </a:r>
              </a:p>
            </p:txBody>
          </p:sp>
          <p:sp>
            <p:nvSpPr>
              <p:cNvPr id="227" name="Freeform 226"/>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grpFill/>
              <a:ln>
                <a:noFill/>
              </a:ln>
            </p:spPr>
            <p:txBody>
              <a:bodyPr vert="horz" wrap="square" lIns="93260" tIns="46630" rIns="93260" bIns="46630" numCol="1" anchor="t" anchorCtr="0" compatLnSpc="1">
                <a:prstTxWarp prst="textNoShape">
                  <a:avLst/>
                </a:prstTxWarp>
                <a:noAutofit/>
              </a:bodyPr>
              <a:lstStyle/>
              <a:p>
                <a:endParaRPr lang="en-US" sz="1836" dirty="0"/>
              </a:p>
            </p:txBody>
          </p:sp>
          <p:sp>
            <p:nvSpPr>
              <p:cNvPr id="228" name="Freeform 227"/>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grpFill/>
              <a:ln>
                <a:noFill/>
              </a:ln>
            </p:spPr>
            <p:txBody>
              <a:bodyPr vert="horz" wrap="square" lIns="93260" tIns="46630" rIns="93260" bIns="46630" numCol="1" anchor="t" anchorCtr="0" compatLnSpc="1">
                <a:prstTxWarp prst="textNoShape">
                  <a:avLst/>
                </a:prstTxWarp>
                <a:noAutofit/>
              </a:bodyPr>
              <a:lstStyle/>
              <a:p>
                <a:endParaRPr lang="en-US" sz="1836"/>
              </a:p>
            </p:txBody>
          </p:sp>
          <p:sp>
            <p:nvSpPr>
              <p:cNvPr id="229" name="Freeform 228"/>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noFill/>
              <a:ln w="31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solidFill>
                    <a:schemeClr val="accent2"/>
                  </a:solidFill>
                  <a:ea typeface="Segoe UI" pitchFamily="34" charset="0"/>
                  <a:cs typeface="Segoe UI" pitchFamily="34" charset="0"/>
                </a:endParaRPr>
              </a:p>
            </p:txBody>
          </p:sp>
          <p:cxnSp>
            <p:nvCxnSpPr>
              <p:cNvPr id="230" name="Straight Connector 229"/>
              <p:cNvCxnSpPr/>
              <p:nvPr/>
            </p:nvCxnSpPr>
            <p:spPr>
              <a:xfrm flipH="1">
                <a:off x="10486805" y="3605293"/>
                <a:ext cx="308472" cy="0"/>
              </a:xfrm>
              <a:prstGeom prst="line">
                <a:avLst/>
              </a:prstGeom>
              <a:grpFill/>
              <a:ln>
                <a:solidFill>
                  <a:schemeClr val="tx1">
                    <a:lumMod val="6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sp>
        <p:nvSpPr>
          <p:cNvPr id="139" name="Rectangle 138"/>
          <p:cNvSpPr/>
          <p:nvPr/>
        </p:nvSpPr>
        <p:spPr>
          <a:xfrm>
            <a:off x="8647433" y="2739520"/>
            <a:ext cx="1212643" cy="418289"/>
          </a:xfrm>
          <a:prstGeom prst="rect">
            <a:avLst/>
          </a:prstGeom>
        </p:spPr>
        <p:txBody>
          <a:bodyPr wrap="square" anchor="ctr">
            <a:spAutoFit/>
          </a:bodyPr>
          <a:lstStyle/>
          <a:p>
            <a:r>
              <a:rPr lang="en-US" sz="1122" dirty="0">
                <a:cs typeface="Segoe UI Semilight" panose="020B0402040204020203" pitchFamily="34" charset="0"/>
              </a:rPr>
              <a:t>Bot </a:t>
            </a:r>
            <a:br>
              <a:rPr lang="en-US" sz="1122" dirty="0">
                <a:cs typeface="Segoe UI Semilight" panose="020B0402040204020203" pitchFamily="34" charset="0"/>
              </a:rPr>
            </a:br>
            <a:r>
              <a:rPr lang="en-US" sz="1122" dirty="0">
                <a:cs typeface="Segoe UI Semilight" panose="020B0402040204020203" pitchFamily="34" charset="0"/>
              </a:rPr>
              <a:t>Framework</a:t>
            </a:r>
          </a:p>
        </p:txBody>
      </p:sp>
      <p:sp>
        <p:nvSpPr>
          <p:cNvPr id="145" name="Rectangle 144"/>
          <p:cNvSpPr/>
          <p:nvPr/>
        </p:nvSpPr>
        <p:spPr>
          <a:xfrm>
            <a:off x="4944592" y="2742767"/>
            <a:ext cx="1214695" cy="418289"/>
          </a:xfrm>
          <a:prstGeom prst="rect">
            <a:avLst/>
          </a:prstGeom>
        </p:spPr>
        <p:txBody>
          <a:bodyPr wrap="square">
            <a:spAutoFit/>
          </a:bodyPr>
          <a:lstStyle/>
          <a:p>
            <a:r>
              <a:rPr lang="en-US" sz="1122" dirty="0">
                <a:cs typeface="Segoe UI Semilight" panose="020B0402040204020203" pitchFamily="34" charset="0"/>
              </a:rPr>
              <a:t>SQL Data </a:t>
            </a:r>
          </a:p>
          <a:p>
            <a:r>
              <a:rPr lang="en-US" sz="1122" dirty="0">
                <a:cs typeface="Segoe UI Semilight" panose="020B0402040204020203" pitchFamily="34" charset="0"/>
              </a:rPr>
              <a:t>Warehouse</a:t>
            </a:r>
          </a:p>
        </p:txBody>
      </p:sp>
      <p:sp>
        <p:nvSpPr>
          <p:cNvPr id="144" name="Rectangle 143"/>
          <p:cNvSpPr/>
          <p:nvPr/>
        </p:nvSpPr>
        <p:spPr>
          <a:xfrm>
            <a:off x="3208175" y="2843937"/>
            <a:ext cx="1214695" cy="253266"/>
          </a:xfrm>
          <a:prstGeom prst="rect">
            <a:avLst/>
          </a:prstGeom>
        </p:spPr>
        <p:txBody>
          <a:bodyPr wrap="square">
            <a:spAutoFit/>
          </a:bodyPr>
          <a:lstStyle/>
          <a:p>
            <a:r>
              <a:rPr lang="en-US" sz="1122" dirty="0">
                <a:cs typeface="Segoe UI Semilight" panose="020B0402040204020203" pitchFamily="34" charset="0"/>
              </a:rPr>
              <a:t>Data Catalog</a:t>
            </a:r>
          </a:p>
        </p:txBody>
      </p:sp>
      <p:grpSp>
        <p:nvGrpSpPr>
          <p:cNvPr id="231" name="Group 230"/>
          <p:cNvGrpSpPr/>
          <p:nvPr/>
        </p:nvGrpSpPr>
        <p:grpSpPr>
          <a:xfrm>
            <a:off x="2907222" y="2803374"/>
            <a:ext cx="262811" cy="279564"/>
            <a:chOff x="3232150" y="382588"/>
            <a:chExt cx="5727700" cy="6092825"/>
          </a:xfrm>
          <a:solidFill>
            <a:schemeClr val="tx1"/>
          </a:solidFill>
        </p:grpSpPr>
        <p:sp>
          <p:nvSpPr>
            <p:cNvPr id="232"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3"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4"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50" name="Rectangle 149"/>
          <p:cNvSpPr/>
          <p:nvPr/>
        </p:nvSpPr>
        <p:spPr>
          <a:xfrm>
            <a:off x="6831635" y="2742767"/>
            <a:ext cx="1212643" cy="418289"/>
          </a:xfrm>
          <a:prstGeom prst="rect">
            <a:avLst/>
          </a:prstGeom>
        </p:spPr>
        <p:txBody>
          <a:bodyPr wrap="square">
            <a:spAutoFit/>
          </a:bodyPr>
          <a:lstStyle/>
          <a:p>
            <a:r>
              <a:rPr lang="en-US" sz="1122" dirty="0">
                <a:cs typeface="Segoe UI Semilight" panose="020B0402040204020203" pitchFamily="34" charset="0"/>
              </a:rPr>
              <a:t>Data Lake Analytics</a:t>
            </a:r>
          </a:p>
        </p:txBody>
      </p:sp>
      <p:grpSp>
        <p:nvGrpSpPr>
          <p:cNvPr id="235" name="Group 234"/>
          <p:cNvGrpSpPr/>
          <p:nvPr/>
        </p:nvGrpSpPr>
        <p:grpSpPr>
          <a:xfrm>
            <a:off x="6477230" y="2822135"/>
            <a:ext cx="210864" cy="275835"/>
            <a:chOff x="3473450" y="4579938"/>
            <a:chExt cx="1741488" cy="2278062"/>
          </a:xfrm>
          <a:solidFill>
            <a:schemeClr val="tx1"/>
          </a:solidFill>
        </p:grpSpPr>
        <p:sp>
          <p:nvSpPr>
            <p:cNvPr id="236"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7"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8"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46" name="Rectangle 145"/>
          <p:cNvSpPr/>
          <p:nvPr/>
        </p:nvSpPr>
        <p:spPr>
          <a:xfrm>
            <a:off x="3208175" y="2045424"/>
            <a:ext cx="1214695" cy="253266"/>
          </a:xfrm>
          <a:prstGeom prst="rect">
            <a:avLst/>
          </a:prstGeom>
        </p:spPr>
        <p:txBody>
          <a:bodyPr wrap="square">
            <a:spAutoFit/>
          </a:bodyPr>
          <a:lstStyle/>
          <a:p>
            <a:r>
              <a:rPr lang="en-US" sz="1122" dirty="0">
                <a:cs typeface="Segoe UI Semilight" panose="020B0402040204020203" pitchFamily="34" charset="0"/>
              </a:rPr>
              <a:t>Data Factory </a:t>
            </a:r>
            <a:endParaRPr lang="en-US" sz="1122" dirty="0"/>
          </a:p>
        </p:txBody>
      </p:sp>
      <p:sp>
        <p:nvSpPr>
          <p:cNvPr id="149" name="Rectangle 148"/>
          <p:cNvSpPr/>
          <p:nvPr/>
        </p:nvSpPr>
        <p:spPr>
          <a:xfrm>
            <a:off x="6831635" y="1964537"/>
            <a:ext cx="1212643" cy="418289"/>
          </a:xfrm>
          <a:prstGeom prst="rect">
            <a:avLst/>
          </a:prstGeom>
        </p:spPr>
        <p:txBody>
          <a:bodyPr wrap="square">
            <a:spAutoFit/>
          </a:bodyPr>
          <a:lstStyle/>
          <a:p>
            <a:r>
              <a:rPr lang="en-US" sz="1122" dirty="0">
                <a:cs typeface="Segoe UI Semilight" panose="020B0402040204020203" pitchFamily="34" charset="0"/>
              </a:rPr>
              <a:t>Machine Learning</a:t>
            </a:r>
          </a:p>
        </p:txBody>
      </p:sp>
      <p:sp>
        <p:nvSpPr>
          <p:cNvPr id="147" name="Rectangle 146"/>
          <p:cNvSpPr/>
          <p:nvPr/>
        </p:nvSpPr>
        <p:spPr>
          <a:xfrm>
            <a:off x="4931387" y="2045424"/>
            <a:ext cx="1214695" cy="253266"/>
          </a:xfrm>
          <a:prstGeom prst="rect">
            <a:avLst/>
          </a:prstGeom>
        </p:spPr>
        <p:txBody>
          <a:bodyPr wrap="square">
            <a:spAutoFit/>
          </a:bodyPr>
          <a:lstStyle/>
          <a:p>
            <a:r>
              <a:rPr lang="en-US" sz="1122" dirty="0">
                <a:cs typeface="Segoe UI Semilight" panose="020B0402040204020203" pitchFamily="34" charset="0"/>
              </a:rPr>
              <a:t>Data Lake Store</a:t>
            </a:r>
          </a:p>
        </p:txBody>
      </p:sp>
      <p:grpSp>
        <p:nvGrpSpPr>
          <p:cNvPr id="239" name="Group 238"/>
          <p:cNvGrpSpPr/>
          <p:nvPr/>
        </p:nvGrpSpPr>
        <p:grpSpPr>
          <a:xfrm>
            <a:off x="4636526" y="2050402"/>
            <a:ext cx="240061" cy="240061"/>
            <a:chOff x="4068192" y="3363795"/>
            <a:chExt cx="324957" cy="324957"/>
          </a:xfrm>
        </p:grpSpPr>
        <p:sp>
          <p:nvSpPr>
            <p:cNvPr id="240" name="Rounded Rectangle 239"/>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1" name="Rectangle 240"/>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3" name="Oval 242"/>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Oval 243"/>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5" name="Rectangle 244"/>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7" name="Oval 246"/>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Oval 247"/>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9" name="Rectangle 248"/>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0" name="Rectangle 249"/>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1" name="Oval 250"/>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2" name="Oval 251"/>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Oval 254"/>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6" name="Oval 255"/>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1" name="Rectangle 150"/>
          <p:cNvSpPr/>
          <p:nvPr/>
        </p:nvSpPr>
        <p:spPr>
          <a:xfrm>
            <a:off x="8647433" y="1964537"/>
            <a:ext cx="1212643" cy="418289"/>
          </a:xfrm>
          <a:prstGeom prst="rect">
            <a:avLst/>
          </a:prstGeom>
        </p:spPr>
        <p:txBody>
          <a:bodyPr wrap="square">
            <a:spAutoFit/>
          </a:bodyPr>
          <a:lstStyle/>
          <a:p>
            <a:r>
              <a:rPr lang="en-US" sz="1122" dirty="0">
                <a:cs typeface="Segoe UI Semilight" panose="020B0402040204020203" pitchFamily="34" charset="0"/>
              </a:rPr>
              <a:t>Cognitive Services</a:t>
            </a:r>
          </a:p>
        </p:txBody>
      </p:sp>
      <p:grpSp>
        <p:nvGrpSpPr>
          <p:cNvPr id="13" name="Group 12"/>
          <p:cNvGrpSpPr/>
          <p:nvPr/>
        </p:nvGrpSpPr>
        <p:grpSpPr>
          <a:xfrm>
            <a:off x="8215641" y="2039467"/>
            <a:ext cx="408490" cy="261932"/>
            <a:chOff x="7822816" y="2717080"/>
            <a:chExt cx="427431" cy="274077"/>
          </a:xfrm>
        </p:grpSpPr>
        <p:sp>
          <p:nvSpPr>
            <p:cNvPr id="257" name="Freeform 256"/>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3260" tIns="46630" rIns="93260" bIns="46630" numCol="1" anchor="t" anchorCtr="0" compatLnSpc="1">
              <a:prstTxWarp prst="textNoShape">
                <a:avLst/>
              </a:prstTxWarp>
              <a:noAutofit/>
            </a:bodyPr>
            <a:lstStyle/>
            <a:p>
              <a:endParaRPr lang="en-US" sz="1836"/>
            </a:p>
          </p:txBody>
        </p:sp>
        <p:sp>
          <p:nvSpPr>
            <p:cNvPr id="258"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grpSp>
      <p:sp>
        <p:nvSpPr>
          <p:cNvPr id="263" name="Rectangle 262"/>
          <p:cNvSpPr/>
          <p:nvPr/>
        </p:nvSpPr>
        <p:spPr>
          <a:xfrm>
            <a:off x="8467066" y="5017712"/>
            <a:ext cx="1214695" cy="253266"/>
          </a:xfrm>
          <a:prstGeom prst="rect">
            <a:avLst/>
          </a:prstGeom>
        </p:spPr>
        <p:txBody>
          <a:bodyPr wrap="square">
            <a:spAutoFit/>
          </a:bodyPr>
          <a:lstStyle/>
          <a:p>
            <a:r>
              <a:rPr lang="en-US" sz="1122" dirty="0">
                <a:cs typeface="Segoe UI Semilight" panose="020B0402040204020203" pitchFamily="34" charset="0"/>
              </a:rPr>
              <a:t>Power BI</a:t>
            </a:r>
          </a:p>
        </p:txBody>
      </p:sp>
      <p:grpSp>
        <p:nvGrpSpPr>
          <p:cNvPr id="30" name="Group 29"/>
          <p:cNvGrpSpPr/>
          <p:nvPr/>
        </p:nvGrpSpPr>
        <p:grpSpPr>
          <a:xfrm>
            <a:off x="8125156" y="5043491"/>
            <a:ext cx="310508" cy="198461"/>
            <a:chOff x="7884058" y="5368509"/>
            <a:chExt cx="324905" cy="207663"/>
          </a:xfrm>
        </p:grpSpPr>
        <p:sp>
          <p:nvSpPr>
            <p:cNvPr id="26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6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6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6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6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grpSp>
      <p:sp>
        <p:nvSpPr>
          <p:cNvPr id="156" name="Freeform 155"/>
          <p:cNvSpPr/>
          <p:nvPr/>
        </p:nvSpPr>
        <p:spPr bwMode="auto">
          <a:xfrm>
            <a:off x="8241479" y="2823412"/>
            <a:ext cx="356814" cy="242549"/>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grpSp>
        <p:nvGrpSpPr>
          <p:cNvPr id="259" name="Group 258"/>
          <p:cNvGrpSpPr/>
          <p:nvPr/>
        </p:nvGrpSpPr>
        <p:grpSpPr>
          <a:xfrm>
            <a:off x="6416331" y="4396740"/>
            <a:ext cx="337028" cy="258901"/>
            <a:chOff x="1260022" y="5196402"/>
            <a:chExt cx="3273425" cy="2514600"/>
          </a:xfrm>
          <a:solidFill>
            <a:schemeClr val="tx1"/>
          </a:solidFill>
        </p:grpSpPr>
        <p:sp>
          <p:nvSpPr>
            <p:cNvPr id="260" name="Freeform 259"/>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261" name="Freeform 260"/>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262" name="Freeform 261"/>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270" name="Freeform 269"/>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grpSp>
      <p:sp>
        <p:nvSpPr>
          <p:cNvPr id="271" name="Freeform 270"/>
          <p:cNvSpPr>
            <a:spLocks/>
          </p:cNvSpPr>
          <p:nvPr/>
        </p:nvSpPr>
        <p:spPr bwMode="auto">
          <a:xfrm>
            <a:off x="6417588" y="3594543"/>
            <a:ext cx="350145" cy="264972"/>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3260" tIns="46630" rIns="93260" bIns="46630" numCol="1" anchor="t" anchorCtr="0" compatLnSpc="1">
            <a:prstTxWarp prst="textNoShape">
              <a:avLst/>
            </a:prstTxWarp>
          </a:bodyPr>
          <a:lstStyle/>
          <a:p>
            <a:endParaRPr lang="en-US" sz="1632" dirty="0"/>
          </a:p>
        </p:txBody>
      </p:sp>
      <p:sp>
        <p:nvSpPr>
          <p:cNvPr id="301" name="Freeform 300"/>
          <p:cNvSpPr/>
          <p:nvPr/>
        </p:nvSpPr>
        <p:spPr bwMode="auto">
          <a:xfrm>
            <a:off x="2903392" y="1986875"/>
            <a:ext cx="273767" cy="287691"/>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302" name="Freeform 301"/>
          <p:cNvSpPr/>
          <p:nvPr/>
        </p:nvSpPr>
        <p:spPr bwMode="auto">
          <a:xfrm>
            <a:off x="2922814" y="3606622"/>
            <a:ext cx="221312" cy="231596"/>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sp>
        <p:nvSpPr>
          <p:cNvPr id="303" name="Freeform 302"/>
          <p:cNvSpPr/>
          <p:nvPr/>
        </p:nvSpPr>
        <p:spPr bwMode="auto">
          <a:xfrm flipH="1">
            <a:off x="6458921" y="2039304"/>
            <a:ext cx="255409" cy="270286"/>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grpSp>
        <p:nvGrpSpPr>
          <p:cNvPr id="351" name="Group 350"/>
          <p:cNvGrpSpPr/>
          <p:nvPr/>
        </p:nvGrpSpPr>
        <p:grpSpPr>
          <a:xfrm>
            <a:off x="4637144" y="2803373"/>
            <a:ext cx="237255" cy="290582"/>
            <a:chOff x="-3084513" y="3390510"/>
            <a:chExt cx="2716213" cy="3363913"/>
          </a:xfrm>
          <a:solidFill>
            <a:schemeClr val="tx1"/>
          </a:solidFill>
        </p:grpSpPr>
        <p:sp>
          <p:nvSpPr>
            <p:cNvPr id="348"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9"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77" name="TextBox 176"/>
          <p:cNvSpPr txBox="1"/>
          <p:nvPr/>
        </p:nvSpPr>
        <p:spPr>
          <a:xfrm>
            <a:off x="1680530" y="1747940"/>
            <a:ext cx="495460" cy="302817"/>
          </a:xfrm>
          <a:prstGeom prst="rect">
            <a:avLst/>
          </a:prstGeom>
          <a:noFill/>
        </p:spPr>
        <p:txBody>
          <a:bodyPr wrap="square" lIns="0" tIns="0" rIns="0" bIns="0" rtlCol="0" anchor="ctr" anchorCtr="0">
            <a:spAutoFit/>
          </a:bodyPr>
          <a:lstStyle/>
          <a:p>
            <a:pPr defTabSz="932563">
              <a:spcAft>
                <a:spcPts val="600"/>
              </a:spcAft>
            </a:pPr>
            <a:r>
              <a:rPr lang="en-US" sz="1050" dirty="0">
                <a:solidFill>
                  <a:schemeClr val="bg2"/>
                </a:solidFill>
                <a:cs typeface="Segoe UI Semilight" panose="020B0402040204020203" pitchFamily="34" charset="0"/>
              </a:rPr>
              <a:t>Data Sources</a:t>
            </a:r>
          </a:p>
        </p:txBody>
      </p:sp>
      <p:sp>
        <p:nvSpPr>
          <p:cNvPr id="179" name="TextBox 178"/>
          <p:cNvSpPr txBox="1"/>
          <p:nvPr/>
        </p:nvSpPr>
        <p:spPr>
          <a:xfrm>
            <a:off x="1680530" y="3052915"/>
            <a:ext cx="495460" cy="151409"/>
          </a:xfrm>
          <a:prstGeom prst="rect">
            <a:avLst/>
          </a:prstGeom>
          <a:noFill/>
        </p:spPr>
        <p:txBody>
          <a:bodyPr wrap="square" lIns="0" tIns="0" rIns="0" bIns="0" rtlCol="0" anchor="ctr" anchorCtr="0">
            <a:spAutoFit/>
          </a:bodyPr>
          <a:lstStyle/>
          <a:p>
            <a:pPr defTabSz="932563">
              <a:spcBef>
                <a:spcPct val="0"/>
              </a:spcBef>
              <a:spcAft>
                <a:spcPts val="600"/>
              </a:spcAft>
            </a:pPr>
            <a:r>
              <a:rPr lang="en-US" sz="1050" dirty="0">
                <a:solidFill>
                  <a:schemeClr val="bg2"/>
                </a:solidFill>
                <a:cs typeface="Segoe UI Semilight" panose="020B0402040204020203" pitchFamily="34" charset="0"/>
              </a:rPr>
              <a:t>Apps</a:t>
            </a:r>
          </a:p>
        </p:txBody>
      </p:sp>
      <p:sp>
        <p:nvSpPr>
          <p:cNvPr id="181" name="TextBox 180"/>
          <p:cNvSpPr txBox="1"/>
          <p:nvPr/>
        </p:nvSpPr>
        <p:spPr>
          <a:xfrm>
            <a:off x="1680530" y="4381349"/>
            <a:ext cx="689402" cy="302817"/>
          </a:xfrm>
          <a:prstGeom prst="rect">
            <a:avLst/>
          </a:prstGeom>
          <a:noFill/>
        </p:spPr>
        <p:txBody>
          <a:bodyPr wrap="square" lIns="0" tIns="0" rIns="0" bIns="0" rtlCol="0" anchor="ctr" anchorCtr="0">
            <a:spAutoFit/>
          </a:bodyPr>
          <a:lstStyle/>
          <a:p>
            <a:pPr defTabSz="932563">
              <a:spcBef>
                <a:spcPct val="0"/>
              </a:spcBef>
              <a:spcAft>
                <a:spcPts val="600"/>
              </a:spcAft>
            </a:pPr>
            <a:r>
              <a:rPr lang="en-US" sz="1050" dirty="0">
                <a:solidFill>
                  <a:schemeClr val="bg2"/>
                </a:solidFill>
                <a:cs typeface="Segoe UI Semilight" panose="020B0402040204020203" pitchFamily="34" charset="0"/>
              </a:rPr>
              <a:t>Sensors </a:t>
            </a:r>
            <a:br>
              <a:rPr lang="en-US" sz="1050" dirty="0">
                <a:solidFill>
                  <a:schemeClr val="bg2"/>
                </a:solidFill>
                <a:cs typeface="Segoe UI Semilight" panose="020B0402040204020203" pitchFamily="34" charset="0"/>
              </a:rPr>
            </a:br>
            <a:r>
              <a:rPr lang="en-US" sz="1050" dirty="0">
                <a:solidFill>
                  <a:schemeClr val="bg2"/>
                </a:solidFill>
                <a:cs typeface="Segoe UI Semilight" panose="020B0402040204020203" pitchFamily="34" charset="0"/>
              </a:rPr>
              <a:t>and devices</a:t>
            </a:r>
          </a:p>
        </p:txBody>
      </p:sp>
      <p:sp>
        <p:nvSpPr>
          <p:cNvPr id="182" name="TextBox 181"/>
          <p:cNvSpPr txBox="1"/>
          <p:nvPr/>
        </p:nvSpPr>
        <p:spPr>
          <a:xfrm>
            <a:off x="1344921" y="5221341"/>
            <a:ext cx="444613" cy="259557"/>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r>
              <a:rPr lang="en-US" sz="1800" dirty="0">
                <a:solidFill>
                  <a:schemeClr val="bg2"/>
                </a:solidFill>
                <a:latin typeface="+mn-lt"/>
              </a:rPr>
              <a:t>Data</a:t>
            </a:r>
          </a:p>
        </p:txBody>
      </p:sp>
      <p:cxnSp>
        <p:nvCxnSpPr>
          <p:cNvPr id="202" name="Straight Connector 201"/>
          <p:cNvCxnSpPr/>
          <p:nvPr/>
        </p:nvCxnSpPr>
        <p:spPr>
          <a:xfrm>
            <a:off x="2254104" y="3145210"/>
            <a:ext cx="289049" cy="0"/>
          </a:xfrm>
          <a:prstGeom prst="line">
            <a:avLst/>
          </a:prstGeom>
          <a:solidFill>
            <a:srgbClr val="0078D7"/>
          </a:solid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89" name="Picture 28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23336" y="2764378"/>
            <a:ext cx="727305" cy="850995"/>
          </a:xfrm>
          <a:prstGeom prst="rect">
            <a:avLst/>
          </a:prstGeom>
        </p:spPr>
      </p:pic>
      <p:pic>
        <p:nvPicPr>
          <p:cNvPr id="290" name="Picture 28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01500" y="4119978"/>
            <a:ext cx="705564" cy="825558"/>
          </a:xfrm>
          <a:prstGeom prst="rect">
            <a:avLst/>
          </a:prstGeom>
        </p:spPr>
      </p:pic>
      <p:pic>
        <p:nvPicPr>
          <p:cNvPr id="291" name="Picture 29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01636" y="1501621"/>
            <a:ext cx="642611" cy="751899"/>
          </a:xfrm>
          <a:prstGeom prst="rect">
            <a:avLst/>
          </a:prstGeom>
        </p:spPr>
      </p:pic>
    </p:spTree>
    <p:extLst>
      <p:ext uri="{BB962C8B-B14F-4D97-AF65-F5344CB8AC3E}">
        <p14:creationId xmlns:p14="http://schemas.microsoft.com/office/powerpoint/2010/main" val="2989661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dirty="0">
                <a:solidFill>
                  <a:schemeClr val="bg1"/>
                </a:solidFill>
              </a:rPr>
              <a:t>Information Management</a:t>
            </a:r>
          </a:p>
        </p:txBody>
      </p:sp>
      <p:grpSp>
        <p:nvGrpSpPr>
          <p:cNvPr id="2" name="Group 1"/>
          <p:cNvGrpSpPr/>
          <p:nvPr/>
        </p:nvGrpSpPr>
        <p:grpSpPr>
          <a:xfrm>
            <a:off x="249407" y="1673484"/>
            <a:ext cx="3880400" cy="4292631"/>
            <a:chOff x="249407" y="1649551"/>
            <a:chExt cx="3880400" cy="4292631"/>
          </a:xfrm>
        </p:grpSpPr>
        <p:sp>
          <p:nvSpPr>
            <p:cNvPr id="130" name="TextBox 129"/>
            <p:cNvSpPr txBox="1"/>
            <p:nvPr/>
          </p:nvSpPr>
          <p:spPr>
            <a:xfrm>
              <a:off x="1164202" y="1958379"/>
              <a:ext cx="528754" cy="323165"/>
            </a:xfrm>
            <a:prstGeom prst="rect">
              <a:avLst/>
            </a:prstGeom>
            <a:noFill/>
          </p:spPr>
          <p:txBody>
            <a:bodyPr wrap="square" lIns="0" tIns="0" rIns="0" bIns="0" rtlCol="0" anchor="ctr" anchorCtr="0">
              <a:spAutoFit/>
            </a:bodyPr>
            <a:lstStyle/>
            <a:p>
              <a:pPr defTabSz="932563">
                <a:spcAft>
                  <a:spcPts val="600"/>
                </a:spcAft>
              </a:pPr>
              <a:r>
                <a:rPr lang="en-US" sz="1050" dirty="0">
                  <a:solidFill>
                    <a:schemeClr val="bg2"/>
                  </a:solidFill>
                  <a:cs typeface="Segoe UI Semilight" panose="020B0402040204020203" pitchFamily="34" charset="0"/>
                </a:rPr>
                <a:t>Data Sources</a:t>
              </a:r>
            </a:p>
          </p:txBody>
        </p:sp>
        <p:sp>
          <p:nvSpPr>
            <p:cNvPr id="143" name="TextBox 142"/>
            <p:cNvSpPr txBox="1"/>
            <p:nvPr/>
          </p:nvSpPr>
          <p:spPr>
            <a:xfrm>
              <a:off x="1164202" y="3351045"/>
              <a:ext cx="528754" cy="161583"/>
            </a:xfrm>
            <a:prstGeom prst="rect">
              <a:avLst/>
            </a:prstGeom>
            <a:noFill/>
          </p:spPr>
          <p:txBody>
            <a:bodyPr wrap="square" lIns="0" tIns="0" rIns="0" bIns="0" rtlCol="0" anchor="ctr" anchorCtr="0">
              <a:spAutoFit/>
            </a:bodyPr>
            <a:lstStyle/>
            <a:p>
              <a:pPr defTabSz="932563">
                <a:spcBef>
                  <a:spcPct val="0"/>
                </a:spcBef>
                <a:spcAft>
                  <a:spcPts val="600"/>
                </a:spcAft>
              </a:pPr>
              <a:r>
                <a:rPr lang="en-US" sz="1050" dirty="0">
                  <a:solidFill>
                    <a:schemeClr val="bg2"/>
                  </a:solidFill>
                  <a:cs typeface="Segoe UI Semilight" panose="020B0402040204020203" pitchFamily="34" charset="0"/>
                </a:rPr>
                <a:t>Apps</a:t>
              </a:r>
            </a:p>
          </p:txBody>
        </p:sp>
        <p:sp>
          <p:nvSpPr>
            <p:cNvPr id="150" name="TextBox 149"/>
            <p:cNvSpPr txBox="1"/>
            <p:nvPr/>
          </p:nvSpPr>
          <p:spPr>
            <a:xfrm>
              <a:off x="1164202" y="4768746"/>
              <a:ext cx="735728" cy="323165"/>
            </a:xfrm>
            <a:prstGeom prst="rect">
              <a:avLst/>
            </a:prstGeom>
            <a:noFill/>
          </p:spPr>
          <p:txBody>
            <a:bodyPr wrap="square" lIns="0" tIns="0" rIns="0" bIns="0" rtlCol="0" anchor="ctr" anchorCtr="0">
              <a:spAutoFit/>
            </a:bodyPr>
            <a:lstStyle/>
            <a:p>
              <a:pPr defTabSz="932563">
                <a:spcBef>
                  <a:spcPct val="0"/>
                </a:spcBef>
                <a:spcAft>
                  <a:spcPts val="600"/>
                </a:spcAft>
              </a:pPr>
              <a:r>
                <a:rPr lang="en-US" sz="1050" dirty="0">
                  <a:solidFill>
                    <a:schemeClr val="bg2"/>
                  </a:solidFill>
                  <a:cs typeface="Segoe UI Semilight" panose="020B0402040204020203" pitchFamily="34" charset="0"/>
                </a:rPr>
                <a:t>Sensors </a:t>
              </a:r>
              <a:br>
                <a:rPr lang="en-US" sz="1050" dirty="0">
                  <a:solidFill>
                    <a:schemeClr val="bg2"/>
                  </a:solidFill>
                  <a:cs typeface="Segoe UI Semilight" panose="020B0402040204020203" pitchFamily="34" charset="0"/>
                </a:rPr>
              </a:br>
              <a:r>
                <a:rPr lang="en-US" sz="1050" dirty="0">
                  <a:solidFill>
                    <a:schemeClr val="bg2"/>
                  </a:solidFill>
                  <a:cs typeface="Segoe UI Semilight" panose="020B0402040204020203" pitchFamily="34" charset="0"/>
                </a:rPr>
                <a:t>and devices</a:t>
              </a:r>
            </a:p>
          </p:txBody>
        </p:sp>
        <p:sp>
          <p:nvSpPr>
            <p:cNvPr id="151" name="TextBox 150"/>
            <p:cNvSpPr txBox="1"/>
            <p:nvPr/>
          </p:nvSpPr>
          <p:spPr>
            <a:xfrm>
              <a:off x="806041" y="5665183"/>
              <a:ext cx="474490" cy="276999"/>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r>
                <a:rPr lang="en-US" sz="1800" dirty="0">
                  <a:solidFill>
                    <a:schemeClr val="bg2"/>
                  </a:solidFill>
                  <a:latin typeface="+mn-lt"/>
                </a:rPr>
                <a:t>Data</a:t>
              </a:r>
            </a:p>
          </p:txBody>
        </p:sp>
        <p:grpSp>
          <p:nvGrpSpPr>
            <p:cNvPr id="152" name="Group 151"/>
            <p:cNvGrpSpPr/>
            <p:nvPr/>
          </p:nvGrpSpPr>
          <p:grpSpPr>
            <a:xfrm>
              <a:off x="1776319" y="1668481"/>
              <a:ext cx="308472" cy="3830198"/>
              <a:chOff x="1810439" y="1858178"/>
              <a:chExt cx="308472" cy="3830198"/>
            </a:xfrm>
            <a:solidFill>
              <a:srgbClr val="0078D7"/>
            </a:solidFill>
          </p:grpSpPr>
          <p:sp>
            <p:nvSpPr>
              <p:cNvPr id="153" name="Freeform 152"/>
              <p:cNvSpPr/>
              <p:nvPr/>
            </p:nvSpPr>
            <p:spPr bwMode="auto">
              <a:xfrm>
                <a:off x="1995054" y="1858178"/>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p>
            </p:txBody>
          </p:sp>
          <p:cxnSp>
            <p:nvCxnSpPr>
              <p:cNvPr id="154" name="Straight Connector 153"/>
              <p:cNvCxnSpPr/>
              <p:nvPr/>
            </p:nvCxnSpPr>
            <p:spPr>
              <a:xfrm>
                <a:off x="1810439" y="3639239"/>
                <a:ext cx="308472" cy="0"/>
              </a:xfrm>
              <a:prstGeom prst="line">
                <a:avLst/>
              </a:prstGeom>
              <a:grpFill/>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8" name="Rectangle 67"/>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69" name="Rectangle 68"/>
            <p:cNvSpPr/>
            <p:nvPr/>
          </p:nvSpPr>
          <p:spPr>
            <a:xfrm>
              <a:off x="2833488" y="4199155"/>
              <a:ext cx="1296319" cy="270285"/>
            </a:xfrm>
            <a:prstGeom prst="rect">
              <a:avLst/>
            </a:prstGeom>
          </p:spPr>
          <p:txBody>
            <a:bodyPr wrap="square">
              <a:spAutoFit/>
            </a:bodyPr>
            <a:lstStyle/>
            <a:p>
              <a:r>
                <a:rPr lang="en-US" sz="1122" dirty="0">
                  <a:cs typeface="Segoe UI Semilight" panose="020B0402040204020203" pitchFamily="34" charset="0"/>
                </a:rPr>
                <a:t>Event Hubs</a:t>
              </a:r>
              <a:endParaRPr lang="en-US" sz="1122" dirty="0"/>
            </a:p>
          </p:txBody>
        </p:sp>
        <p:sp>
          <p:nvSpPr>
            <p:cNvPr id="70" name="Rectangle 69"/>
            <p:cNvSpPr/>
            <p:nvPr/>
          </p:nvSpPr>
          <p:spPr>
            <a:xfrm>
              <a:off x="2833488" y="3390244"/>
              <a:ext cx="1296319" cy="270285"/>
            </a:xfrm>
            <a:prstGeom prst="rect">
              <a:avLst/>
            </a:prstGeom>
          </p:spPr>
          <p:txBody>
            <a:bodyPr wrap="square">
              <a:spAutoFit/>
            </a:bodyPr>
            <a:lstStyle/>
            <a:p>
              <a:r>
                <a:rPr lang="en-US" sz="1122" dirty="0">
                  <a:cs typeface="Segoe UI Semilight" panose="020B0402040204020203" pitchFamily="34" charset="0"/>
                </a:rPr>
                <a:t>Data Catalog</a:t>
              </a:r>
            </a:p>
          </p:txBody>
        </p:sp>
        <p:grpSp>
          <p:nvGrpSpPr>
            <p:cNvPr id="71" name="Group 70"/>
            <p:cNvGrpSpPr/>
            <p:nvPr/>
          </p:nvGrpSpPr>
          <p:grpSpPr>
            <a:xfrm>
              <a:off x="2512312" y="3346955"/>
              <a:ext cx="280471" cy="298350"/>
              <a:chOff x="3232150" y="382588"/>
              <a:chExt cx="5727700" cy="6092825"/>
            </a:xfrm>
            <a:solidFill>
              <a:schemeClr val="tx1"/>
            </a:solidFill>
          </p:grpSpPr>
          <p:sp>
            <p:nvSpPr>
              <p:cNvPr id="72"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3"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75" name="Rectangle 74"/>
            <p:cNvSpPr/>
            <p:nvPr/>
          </p:nvSpPr>
          <p:spPr>
            <a:xfrm>
              <a:off x="2833488" y="2538073"/>
              <a:ext cx="1296319" cy="270285"/>
            </a:xfrm>
            <a:prstGeom prst="rect">
              <a:avLst/>
            </a:prstGeom>
          </p:spPr>
          <p:txBody>
            <a:bodyPr wrap="square">
              <a:spAutoFit/>
            </a:bodyPr>
            <a:lstStyle/>
            <a:p>
              <a:r>
                <a:rPr lang="en-US" sz="1122" dirty="0">
                  <a:cs typeface="Segoe UI Semilight" panose="020B0402040204020203" pitchFamily="34" charset="0"/>
                </a:rPr>
                <a:t>Data Factory </a:t>
              </a:r>
              <a:endParaRPr lang="en-US" sz="1122" dirty="0"/>
            </a:p>
          </p:txBody>
        </p:sp>
        <p:sp>
          <p:nvSpPr>
            <p:cNvPr id="76" name="Freeform 75"/>
            <p:cNvSpPr/>
            <p:nvPr/>
          </p:nvSpPr>
          <p:spPr bwMode="auto">
            <a:xfrm>
              <a:off x="2508225" y="2475589"/>
              <a:ext cx="292163" cy="307023"/>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77" name="Freeform 76"/>
            <p:cNvSpPr/>
            <p:nvPr/>
          </p:nvSpPr>
          <p:spPr bwMode="auto">
            <a:xfrm>
              <a:off x="2528952" y="4204179"/>
              <a:ext cx="236184" cy="247159"/>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pic>
          <p:nvPicPr>
            <p:cNvPr id="46" name="Picture 4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9407" y="3043119"/>
              <a:ext cx="776178" cy="908180"/>
            </a:xfrm>
            <a:prstGeom prst="rect">
              <a:avLst/>
            </a:prstGeom>
          </p:spPr>
        </p:pic>
        <p:pic>
          <p:nvPicPr>
            <p:cNvPr id="47" name="Picture 4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2823" y="4489811"/>
              <a:ext cx="752976" cy="881033"/>
            </a:xfrm>
            <a:prstGeom prst="rect">
              <a:avLst/>
            </a:prstGeom>
          </p:spPr>
        </p:pic>
        <p:pic>
          <p:nvPicPr>
            <p:cNvPr id="48" name="Picture 4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32969" y="1695508"/>
              <a:ext cx="685793" cy="802425"/>
            </a:xfrm>
            <a:prstGeom prst="rect">
              <a:avLst/>
            </a:prstGeom>
          </p:spPr>
        </p:pic>
      </p:grpSp>
    </p:spTree>
    <p:extLst>
      <p:ext uri="{BB962C8B-B14F-4D97-AF65-F5344CB8AC3E}">
        <p14:creationId xmlns:p14="http://schemas.microsoft.com/office/powerpoint/2010/main" val="2505010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2.42788E-6 -1.87472E-6 L -0.18331 -1.87472E-6 " pathEditMode="relative" rAng="0" ptsTypes="AA">
                                      <p:cBhvr>
                                        <p:cTn id="6" dur="2000" fill="hold"/>
                                        <p:tgtEl>
                                          <p:spTgt spid="2"/>
                                        </p:tgtEl>
                                        <p:attrNameLst>
                                          <p:attrName>ppt_x</p:attrName>
                                          <p:attrName>ppt_y</p:attrName>
                                        </p:attrNameLst>
                                      </p:cBhvr>
                                      <p:rCtr x="-916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06" name="Rectangle 305"/>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lvl="0" defTabSz="914400">
              <a:spcBef>
                <a:spcPts val="0"/>
              </a:spcBef>
              <a:spcAft>
                <a:spcPts val="600"/>
              </a:spcAft>
              <a:defRPr/>
            </a:pPr>
            <a:r>
              <a:rPr lang="en-US" kern="0" spc="0" dirty="0">
                <a:ln>
                  <a:noFill/>
                </a:ln>
                <a:solidFill>
                  <a:schemeClr val="bg1"/>
                </a:solidFill>
              </a:rPr>
              <a:t>Compose and orchestrate data services at scale</a:t>
            </a:r>
          </a:p>
        </p:txBody>
      </p:sp>
      <p:grpSp>
        <p:nvGrpSpPr>
          <p:cNvPr id="3" name="Group 2"/>
          <p:cNvGrpSpPr/>
          <p:nvPr/>
        </p:nvGrpSpPr>
        <p:grpSpPr>
          <a:xfrm>
            <a:off x="11143674" y="1556376"/>
            <a:ext cx="7373407" cy="2862438"/>
            <a:chOff x="8333265" y="1782586"/>
            <a:chExt cx="7373407" cy="2862438"/>
          </a:xfrm>
          <a:solidFill>
            <a:srgbClr val="0078D7"/>
          </a:solidFill>
        </p:grpSpPr>
        <p:cxnSp>
          <p:nvCxnSpPr>
            <p:cNvPr id="571" name="Straight Connector 570"/>
            <p:cNvCxnSpPr>
              <a:stCxn id="715" idx="6"/>
              <a:endCxn id="574" idx="2"/>
            </p:cNvCxnSpPr>
            <p:nvPr/>
          </p:nvCxnSpPr>
          <p:spPr>
            <a:xfrm>
              <a:off x="9662441" y="3393670"/>
              <a:ext cx="168632" cy="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72" name="Straight Connector 571"/>
            <p:cNvCxnSpPr>
              <a:stCxn id="588" idx="6"/>
              <a:endCxn id="630" idx="2"/>
            </p:cNvCxnSpPr>
            <p:nvPr/>
          </p:nvCxnSpPr>
          <p:spPr>
            <a:xfrm>
              <a:off x="12658057" y="3393670"/>
              <a:ext cx="168631" cy="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73" name="Group 572"/>
            <p:cNvGrpSpPr/>
            <p:nvPr/>
          </p:nvGrpSpPr>
          <p:grpSpPr>
            <a:xfrm>
              <a:off x="9831073" y="2729082"/>
              <a:ext cx="1329176" cy="1329176"/>
              <a:chOff x="6330582" y="2729082"/>
              <a:chExt cx="1329176" cy="1329176"/>
            </a:xfrm>
            <a:grpFill/>
          </p:grpSpPr>
          <p:sp>
            <p:nvSpPr>
              <p:cNvPr id="574" name="Oval 573"/>
              <p:cNvSpPr/>
              <p:nvPr/>
            </p:nvSpPr>
            <p:spPr bwMode="auto">
              <a:xfrm>
                <a:off x="6330582" y="2729082"/>
                <a:ext cx="1329176" cy="1329176"/>
              </a:xfrm>
              <a:prstGeom prst="ellipse">
                <a:avLst/>
              </a:prstGeom>
              <a:noFill/>
              <a:ln w="19050">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1005840" numCol="1" rtlCol="0" anchor="t"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accent2">
                        <a:lumMod val="75000"/>
                      </a:schemeClr>
                    </a:solidFill>
                    <a:effectLst/>
                    <a:uLnTx/>
                    <a:uFillTx/>
                  </a:rPr>
                  <a:t>PREPARE</a:t>
                </a:r>
              </a:p>
            </p:txBody>
          </p:sp>
          <p:sp>
            <p:nvSpPr>
              <p:cNvPr id="575" name="Freeform 574"/>
              <p:cNvSpPr>
                <a:spLocks/>
              </p:cNvSpPr>
              <p:nvPr/>
            </p:nvSpPr>
            <p:spPr bwMode="auto">
              <a:xfrm>
                <a:off x="6539636" y="3209358"/>
                <a:ext cx="268592" cy="346642"/>
              </a:xfrm>
              <a:custGeom>
                <a:avLst/>
                <a:gdLst>
                  <a:gd name="connsiteX0" fmla="*/ 134296 w 268592"/>
                  <a:gd name="connsiteY0" fmla="*/ 12674 h 346642"/>
                  <a:gd name="connsiteX1" fmla="*/ 10863 w 268592"/>
                  <a:gd name="connsiteY1" fmla="*/ 61971 h 346642"/>
                  <a:gd name="connsiteX2" fmla="*/ 134296 w 268592"/>
                  <a:gd name="connsiteY2" fmla="*/ 111268 h 346642"/>
                  <a:gd name="connsiteX3" fmla="*/ 257730 w 268592"/>
                  <a:gd name="connsiteY3" fmla="*/ 61971 h 346642"/>
                  <a:gd name="connsiteX4" fmla="*/ 134296 w 268592"/>
                  <a:gd name="connsiteY4" fmla="*/ 12674 h 346642"/>
                  <a:gd name="connsiteX5" fmla="*/ 134296 w 268592"/>
                  <a:gd name="connsiteY5" fmla="*/ 0 h 346642"/>
                  <a:gd name="connsiteX6" fmla="*/ 227250 w 268592"/>
                  <a:gd name="connsiteY6" fmla="*/ 16693 h 346642"/>
                  <a:gd name="connsiteX7" fmla="*/ 268592 w 268592"/>
                  <a:gd name="connsiteY7" fmla="*/ 61731 h 346642"/>
                  <a:gd name="connsiteX8" fmla="*/ 268199 w 268592"/>
                  <a:gd name="connsiteY8" fmla="*/ 65510 h 346642"/>
                  <a:gd name="connsiteX9" fmla="*/ 268592 w 268592"/>
                  <a:gd name="connsiteY9" fmla="*/ 65510 h 346642"/>
                  <a:gd name="connsiteX10" fmla="*/ 268592 w 268592"/>
                  <a:gd name="connsiteY10" fmla="*/ 221257 h 346642"/>
                  <a:gd name="connsiteX11" fmla="*/ 258196 w 268592"/>
                  <a:gd name="connsiteY11" fmla="*/ 221257 h 346642"/>
                  <a:gd name="connsiteX12" fmla="*/ 258196 w 268592"/>
                  <a:gd name="connsiteY12" fmla="*/ 129929 h 346642"/>
                  <a:gd name="connsiteX13" fmla="*/ 257730 w 268592"/>
                  <a:gd name="connsiteY13" fmla="*/ 129929 h 346642"/>
                  <a:gd name="connsiteX14" fmla="*/ 257730 w 268592"/>
                  <a:gd name="connsiteY14" fmla="*/ 86865 h 346642"/>
                  <a:gd name="connsiteX15" fmla="*/ 252087 w 268592"/>
                  <a:gd name="connsiteY15" fmla="*/ 92264 h 346642"/>
                  <a:gd name="connsiteX16" fmla="*/ 227250 w 268592"/>
                  <a:gd name="connsiteY16" fmla="*/ 107085 h 346642"/>
                  <a:gd name="connsiteX17" fmla="*/ 134296 w 268592"/>
                  <a:gd name="connsiteY17" fmla="*/ 123777 h 346642"/>
                  <a:gd name="connsiteX18" fmla="*/ 41343 w 268592"/>
                  <a:gd name="connsiteY18" fmla="*/ 107085 h 346642"/>
                  <a:gd name="connsiteX19" fmla="*/ 16506 w 268592"/>
                  <a:gd name="connsiteY19" fmla="*/ 92264 h 346642"/>
                  <a:gd name="connsiteX20" fmla="*/ 10863 w 268592"/>
                  <a:gd name="connsiteY20" fmla="*/ 86865 h 346642"/>
                  <a:gd name="connsiteX21" fmla="*/ 10863 w 268592"/>
                  <a:gd name="connsiteY21" fmla="*/ 129929 h 346642"/>
                  <a:gd name="connsiteX22" fmla="*/ 10632 w 268592"/>
                  <a:gd name="connsiteY22" fmla="*/ 129929 h 346642"/>
                  <a:gd name="connsiteX23" fmla="*/ 10632 w 268592"/>
                  <a:gd name="connsiteY23" fmla="*/ 280560 h 346642"/>
                  <a:gd name="connsiteX24" fmla="*/ 10863 w 268592"/>
                  <a:gd name="connsiteY24" fmla="*/ 280560 h 346642"/>
                  <a:gd name="connsiteX25" fmla="*/ 10863 w 268592"/>
                  <a:gd name="connsiteY25" fmla="*/ 284918 h 346642"/>
                  <a:gd name="connsiteX26" fmla="*/ 10809 w 268592"/>
                  <a:gd name="connsiteY26" fmla="*/ 284918 h 346642"/>
                  <a:gd name="connsiteX27" fmla="*/ 134296 w 268592"/>
                  <a:gd name="connsiteY27" fmla="*/ 334045 h 346642"/>
                  <a:gd name="connsiteX28" fmla="*/ 248711 w 268592"/>
                  <a:gd name="connsiteY28" fmla="*/ 302426 h 346642"/>
                  <a:gd name="connsiteX29" fmla="*/ 249655 w 268592"/>
                  <a:gd name="connsiteY29" fmla="*/ 300604 h 346642"/>
                  <a:gd name="connsiteX30" fmla="*/ 261884 w 268592"/>
                  <a:gd name="connsiteY30" fmla="*/ 300604 h 346642"/>
                  <a:gd name="connsiteX31" fmla="*/ 257953 w 268592"/>
                  <a:gd name="connsiteY31" fmla="*/ 309797 h 346642"/>
                  <a:gd name="connsiteX32" fmla="*/ 227250 w 268592"/>
                  <a:gd name="connsiteY32" fmla="*/ 329952 h 346642"/>
                  <a:gd name="connsiteX33" fmla="*/ 134296 w 268592"/>
                  <a:gd name="connsiteY33" fmla="*/ 346642 h 346642"/>
                  <a:gd name="connsiteX34" fmla="*/ 41343 w 268592"/>
                  <a:gd name="connsiteY34" fmla="*/ 329952 h 346642"/>
                  <a:gd name="connsiteX35" fmla="*/ 0 w 268592"/>
                  <a:gd name="connsiteY35" fmla="*/ 284918 h 346642"/>
                  <a:gd name="connsiteX36" fmla="*/ 0 w 268592"/>
                  <a:gd name="connsiteY36" fmla="*/ 212166 h 346642"/>
                  <a:gd name="connsiteX37" fmla="*/ 0 w 268592"/>
                  <a:gd name="connsiteY37" fmla="*/ 132995 h 346642"/>
                  <a:gd name="connsiteX38" fmla="*/ 0 w 268592"/>
                  <a:gd name="connsiteY38" fmla="*/ 65510 h 346642"/>
                  <a:gd name="connsiteX39" fmla="*/ 393 w 268592"/>
                  <a:gd name="connsiteY39" fmla="*/ 65510 h 346642"/>
                  <a:gd name="connsiteX40" fmla="*/ 0 w 268592"/>
                  <a:gd name="connsiteY40" fmla="*/ 61731 h 346642"/>
                  <a:gd name="connsiteX41" fmla="*/ 41343 w 268592"/>
                  <a:gd name="connsiteY41" fmla="*/ 16693 h 346642"/>
                  <a:gd name="connsiteX42" fmla="*/ 134296 w 268592"/>
                  <a:gd name="connsiteY42" fmla="*/ 0 h 346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68592" h="346642">
                    <a:moveTo>
                      <a:pt x="134296" y="12674"/>
                    </a:moveTo>
                    <a:cubicBezTo>
                      <a:pt x="66126" y="12674"/>
                      <a:pt x="10863" y="34745"/>
                      <a:pt x="10863" y="61971"/>
                    </a:cubicBezTo>
                    <a:cubicBezTo>
                      <a:pt x="10863" y="89197"/>
                      <a:pt x="66126" y="111268"/>
                      <a:pt x="134296" y="111268"/>
                    </a:cubicBezTo>
                    <a:cubicBezTo>
                      <a:pt x="202467" y="111268"/>
                      <a:pt x="257730" y="89197"/>
                      <a:pt x="257730" y="61971"/>
                    </a:cubicBezTo>
                    <a:cubicBezTo>
                      <a:pt x="257730" y="34745"/>
                      <a:pt x="202467" y="12674"/>
                      <a:pt x="134296" y="12674"/>
                    </a:cubicBezTo>
                    <a:close/>
                    <a:moveTo>
                      <a:pt x="134296" y="0"/>
                    </a:moveTo>
                    <a:cubicBezTo>
                      <a:pt x="169424" y="0"/>
                      <a:pt x="202390" y="5984"/>
                      <a:pt x="227250" y="16693"/>
                    </a:cubicBezTo>
                    <a:cubicBezTo>
                      <a:pt x="254001" y="28031"/>
                      <a:pt x="268592" y="44094"/>
                      <a:pt x="268592" y="61731"/>
                    </a:cubicBezTo>
                    <a:lnTo>
                      <a:pt x="268199" y="65510"/>
                    </a:lnTo>
                    <a:lnTo>
                      <a:pt x="268592" y="65510"/>
                    </a:lnTo>
                    <a:lnTo>
                      <a:pt x="268592" y="221257"/>
                    </a:lnTo>
                    <a:lnTo>
                      <a:pt x="258196" y="221257"/>
                    </a:lnTo>
                    <a:lnTo>
                      <a:pt x="258196" y="129929"/>
                    </a:lnTo>
                    <a:lnTo>
                      <a:pt x="257730" y="129929"/>
                    </a:lnTo>
                    <a:lnTo>
                      <a:pt x="257730" y="86865"/>
                    </a:lnTo>
                    <a:lnTo>
                      <a:pt x="252087" y="92264"/>
                    </a:lnTo>
                    <a:cubicBezTo>
                      <a:pt x="245603" y="97725"/>
                      <a:pt x="237281" y="102715"/>
                      <a:pt x="227250" y="107085"/>
                    </a:cubicBezTo>
                    <a:cubicBezTo>
                      <a:pt x="202390" y="117793"/>
                      <a:pt x="169424" y="123777"/>
                      <a:pt x="134296" y="123777"/>
                    </a:cubicBezTo>
                    <a:cubicBezTo>
                      <a:pt x="99168" y="123777"/>
                      <a:pt x="66203" y="117793"/>
                      <a:pt x="41343" y="107085"/>
                    </a:cubicBezTo>
                    <a:cubicBezTo>
                      <a:pt x="31311" y="102715"/>
                      <a:pt x="22990" y="97725"/>
                      <a:pt x="16506" y="92264"/>
                    </a:cubicBezTo>
                    <a:lnTo>
                      <a:pt x="10863" y="86865"/>
                    </a:lnTo>
                    <a:lnTo>
                      <a:pt x="10863" y="129929"/>
                    </a:lnTo>
                    <a:lnTo>
                      <a:pt x="10632" y="129929"/>
                    </a:lnTo>
                    <a:lnTo>
                      <a:pt x="10632" y="280560"/>
                    </a:lnTo>
                    <a:lnTo>
                      <a:pt x="10863" y="280560"/>
                    </a:lnTo>
                    <a:lnTo>
                      <a:pt x="10863" y="284918"/>
                    </a:lnTo>
                    <a:lnTo>
                      <a:pt x="10809" y="284918"/>
                    </a:lnTo>
                    <a:cubicBezTo>
                      <a:pt x="10809" y="308222"/>
                      <a:pt x="61609" y="334045"/>
                      <a:pt x="134296" y="334045"/>
                    </a:cubicBezTo>
                    <a:cubicBezTo>
                      <a:pt x="188812" y="334045"/>
                      <a:pt x="231016" y="319520"/>
                      <a:pt x="248711" y="302426"/>
                    </a:cubicBezTo>
                    <a:lnTo>
                      <a:pt x="249655" y="300604"/>
                    </a:lnTo>
                    <a:lnTo>
                      <a:pt x="261884" y="300604"/>
                    </a:lnTo>
                    <a:lnTo>
                      <a:pt x="257953" y="309797"/>
                    </a:lnTo>
                    <a:cubicBezTo>
                      <a:pt x="250961" y="317434"/>
                      <a:pt x="240625" y="324283"/>
                      <a:pt x="227250" y="329952"/>
                    </a:cubicBezTo>
                    <a:cubicBezTo>
                      <a:pt x="202390" y="340659"/>
                      <a:pt x="169424" y="346642"/>
                      <a:pt x="134296" y="346642"/>
                    </a:cubicBezTo>
                    <a:cubicBezTo>
                      <a:pt x="99168" y="346642"/>
                      <a:pt x="66203" y="340659"/>
                      <a:pt x="41343" y="329952"/>
                    </a:cubicBezTo>
                    <a:cubicBezTo>
                      <a:pt x="14592" y="318615"/>
                      <a:pt x="0" y="302554"/>
                      <a:pt x="0" y="284918"/>
                    </a:cubicBezTo>
                    <a:lnTo>
                      <a:pt x="0" y="212166"/>
                    </a:lnTo>
                    <a:lnTo>
                      <a:pt x="0" y="132995"/>
                    </a:lnTo>
                    <a:lnTo>
                      <a:pt x="0" y="65510"/>
                    </a:lnTo>
                    <a:lnTo>
                      <a:pt x="393" y="65510"/>
                    </a:lnTo>
                    <a:lnTo>
                      <a:pt x="0" y="61731"/>
                    </a:lnTo>
                    <a:cubicBezTo>
                      <a:pt x="0" y="44094"/>
                      <a:pt x="14592" y="28031"/>
                      <a:pt x="41343" y="16693"/>
                    </a:cubicBezTo>
                    <a:cubicBezTo>
                      <a:pt x="66203" y="5984"/>
                      <a:pt x="99168" y="0"/>
                      <a:pt x="134296" y="0"/>
                    </a:cubicBezTo>
                    <a:close/>
                  </a:path>
                </a:pathLst>
              </a:custGeom>
              <a:grpFill/>
              <a:ln>
                <a:noFill/>
              </a:ln>
            </p:spPr>
            <p:txBody>
              <a:bodyPr vert="horz" wrap="square" lIns="0" tIns="137160" rIns="0" bIns="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chemeClr val="accent2">
                      <a:lumMod val="75000"/>
                    </a:schemeClr>
                  </a:solidFill>
                  <a:effectLst/>
                  <a:uLnTx/>
                  <a:uFillTx/>
                </a:endParaRPr>
              </a:p>
            </p:txBody>
          </p:sp>
          <p:sp>
            <p:nvSpPr>
              <p:cNvPr id="576" name="Freeform 575"/>
              <p:cNvSpPr>
                <a:spLocks noChangeArrowheads="1"/>
              </p:cNvSpPr>
              <p:nvPr/>
            </p:nvSpPr>
            <p:spPr bwMode="auto">
              <a:xfrm flipH="1">
                <a:off x="7083210" y="3221555"/>
                <a:ext cx="359782" cy="302695"/>
              </a:xfrm>
              <a:custGeom>
                <a:avLst/>
                <a:gdLst>
                  <a:gd name="connsiteX0" fmla="*/ 179965 w 359782"/>
                  <a:gd name="connsiteY0" fmla="*/ 201781 h 302695"/>
                  <a:gd name="connsiteX1" fmla="*/ 144234 w 359782"/>
                  <a:gd name="connsiteY1" fmla="*/ 216559 h 302695"/>
                  <a:gd name="connsiteX2" fmla="*/ 140431 w 359782"/>
                  <a:gd name="connsiteY2" fmla="*/ 225728 h 302695"/>
                  <a:gd name="connsiteX3" fmla="*/ 151884 w 359782"/>
                  <a:gd name="connsiteY3" fmla="*/ 225728 h 302695"/>
                  <a:gd name="connsiteX4" fmla="*/ 152336 w 359782"/>
                  <a:gd name="connsiteY4" fmla="*/ 224640 h 302695"/>
                  <a:gd name="connsiteX5" fmla="*/ 180040 w 359782"/>
                  <a:gd name="connsiteY5" fmla="*/ 213208 h 302695"/>
                  <a:gd name="connsiteX6" fmla="*/ 219218 w 359782"/>
                  <a:gd name="connsiteY6" fmla="*/ 252238 h 302695"/>
                  <a:gd name="connsiteX7" fmla="*/ 180040 w 359782"/>
                  <a:gd name="connsiteY7" fmla="*/ 291268 h 302695"/>
                  <a:gd name="connsiteX8" fmla="*/ 179736 w 359782"/>
                  <a:gd name="connsiteY8" fmla="*/ 291143 h 302695"/>
                  <a:gd name="connsiteX9" fmla="*/ 179736 w 359782"/>
                  <a:gd name="connsiteY9" fmla="*/ 302649 h 302695"/>
                  <a:gd name="connsiteX10" fmla="*/ 179965 w 359782"/>
                  <a:gd name="connsiteY10" fmla="*/ 302695 h 302695"/>
                  <a:gd name="connsiteX11" fmla="*/ 230497 w 359782"/>
                  <a:gd name="connsiteY11" fmla="*/ 252238 h 302695"/>
                  <a:gd name="connsiteX12" fmla="*/ 179965 w 359782"/>
                  <a:gd name="connsiteY12" fmla="*/ 201781 h 302695"/>
                  <a:gd name="connsiteX13" fmla="*/ 179933 w 359782"/>
                  <a:gd name="connsiteY13" fmla="*/ 134440 h 302695"/>
                  <a:gd name="connsiteX14" fmla="*/ 96831 w 359782"/>
                  <a:gd name="connsiteY14" fmla="*/ 168824 h 302695"/>
                  <a:gd name="connsiteX15" fmla="*/ 96831 w 359782"/>
                  <a:gd name="connsiteY15" fmla="*/ 177082 h 302695"/>
                  <a:gd name="connsiteX16" fmla="*/ 100807 w 359782"/>
                  <a:gd name="connsiteY16" fmla="*/ 178506 h 302695"/>
                  <a:gd name="connsiteX17" fmla="*/ 104783 w 359782"/>
                  <a:gd name="connsiteY17" fmla="*/ 177082 h 302695"/>
                  <a:gd name="connsiteX18" fmla="*/ 255013 w 359782"/>
                  <a:gd name="connsiteY18" fmla="*/ 177082 h 302695"/>
                  <a:gd name="connsiteX19" fmla="*/ 263248 w 359782"/>
                  <a:gd name="connsiteY19" fmla="*/ 177082 h 302695"/>
                  <a:gd name="connsiteX20" fmla="*/ 263248 w 359782"/>
                  <a:gd name="connsiteY20" fmla="*/ 168824 h 302695"/>
                  <a:gd name="connsiteX21" fmla="*/ 179933 w 359782"/>
                  <a:gd name="connsiteY21" fmla="*/ 134440 h 302695"/>
                  <a:gd name="connsiteX22" fmla="*/ 179966 w 359782"/>
                  <a:gd name="connsiteY22" fmla="*/ 67031 h 302695"/>
                  <a:gd name="connsiteX23" fmla="*/ 49342 w 359782"/>
                  <a:gd name="connsiteY23" fmla="*/ 121348 h 302695"/>
                  <a:gd name="connsiteX24" fmla="*/ 49342 w 359782"/>
                  <a:gd name="connsiteY24" fmla="*/ 129311 h 302695"/>
                  <a:gd name="connsiteX25" fmla="*/ 53317 w 359782"/>
                  <a:gd name="connsiteY25" fmla="*/ 131017 h 302695"/>
                  <a:gd name="connsiteX26" fmla="*/ 57293 w 359782"/>
                  <a:gd name="connsiteY26" fmla="*/ 129311 h 302695"/>
                  <a:gd name="connsiteX27" fmla="*/ 179966 w 359782"/>
                  <a:gd name="connsiteY27" fmla="*/ 78406 h 302695"/>
                  <a:gd name="connsiteX28" fmla="*/ 302638 w 359782"/>
                  <a:gd name="connsiteY28" fmla="*/ 129311 h 302695"/>
                  <a:gd name="connsiteX29" fmla="*/ 310589 w 359782"/>
                  <a:gd name="connsiteY29" fmla="*/ 129311 h 302695"/>
                  <a:gd name="connsiteX30" fmla="*/ 310589 w 359782"/>
                  <a:gd name="connsiteY30" fmla="*/ 121348 h 302695"/>
                  <a:gd name="connsiteX31" fmla="*/ 179966 w 359782"/>
                  <a:gd name="connsiteY31" fmla="*/ 67031 h 302695"/>
                  <a:gd name="connsiteX32" fmla="*/ 180033 w 359782"/>
                  <a:gd name="connsiteY32" fmla="*/ 0 h 302695"/>
                  <a:gd name="connsiteX33" fmla="*/ 1704 w 359782"/>
                  <a:gd name="connsiteY33" fmla="*/ 73869 h 302695"/>
                  <a:gd name="connsiteX34" fmla="*/ 1704 w 359782"/>
                  <a:gd name="connsiteY34" fmla="*/ 81824 h 302695"/>
                  <a:gd name="connsiteX35" fmla="*/ 9655 w 359782"/>
                  <a:gd name="connsiteY35" fmla="*/ 81824 h 302695"/>
                  <a:gd name="connsiteX36" fmla="*/ 350128 w 359782"/>
                  <a:gd name="connsiteY36" fmla="*/ 81824 h 302695"/>
                  <a:gd name="connsiteX37" fmla="*/ 354103 w 359782"/>
                  <a:gd name="connsiteY37" fmla="*/ 83529 h 302695"/>
                  <a:gd name="connsiteX38" fmla="*/ 358079 w 359782"/>
                  <a:gd name="connsiteY38" fmla="*/ 81824 h 302695"/>
                  <a:gd name="connsiteX39" fmla="*/ 358079 w 359782"/>
                  <a:gd name="connsiteY39" fmla="*/ 73869 h 302695"/>
                  <a:gd name="connsiteX40" fmla="*/ 180033 w 359782"/>
                  <a:gd name="connsiteY40" fmla="*/ 0 h 302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9782" h="302695">
                    <a:moveTo>
                      <a:pt x="179965" y="201781"/>
                    </a:moveTo>
                    <a:cubicBezTo>
                      <a:pt x="166011" y="201781"/>
                      <a:pt x="153379" y="207428"/>
                      <a:pt x="144234" y="216559"/>
                    </a:cubicBezTo>
                    <a:lnTo>
                      <a:pt x="140431" y="225728"/>
                    </a:lnTo>
                    <a:lnTo>
                      <a:pt x="151884" y="225728"/>
                    </a:lnTo>
                    <a:lnTo>
                      <a:pt x="152336" y="224640"/>
                    </a:lnTo>
                    <a:cubicBezTo>
                      <a:pt x="159426" y="217576"/>
                      <a:pt x="169221" y="213208"/>
                      <a:pt x="180040" y="213208"/>
                    </a:cubicBezTo>
                    <a:cubicBezTo>
                      <a:pt x="201677" y="213208"/>
                      <a:pt x="219218" y="230682"/>
                      <a:pt x="219218" y="252238"/>
                    </a:cubicBezTo>
                    <a:cubicBezTo>
                      <a:pt x="219218" y="273794"/>
                      <a:pt x="201677" y="291268"/>
                      <a:pt x="180040" y="291268"/>
                    </a:cubicBezTo>
                    <a:lnTo>
                      <a:pt x="179736" y="291143"/>
                    </a:lnTo>
                    <a:lnTo>
                      <a:pt x="179736" y="302649"/>
                    </a:lnTo>
                    <a:lnTo>
                      <a:pt x="179965" y="302695"/>
                    </a:lnTo>
                    <a:cubicBezTo>
                      <a:pt x="207873" y="302695"/>
                      <a:pt x="230497" y="280105"/>
                      <a:pt x="230497" y="252238"/>
                    </a:cubicBezTo>
                    <a:cubicBezTo>
                      <a:pt x="230497" y="224371"/>
                      <a:pt x="207873" y="201781"/>
                      <a:pt x="179965" y="201781"/>
                    </a:cubicBezTo>
                    <a:close/>
                    <a:moveTo>
                      <a:pt x="179933" y="134440"/>
                    </a:moveTo>
                    <a:cubicBezTo>
                      <a:pt x="149795" y="134440"/>
                      <a:pt x="119692" y="145901"/>
                      <a:pt x="96831" y="168824"/>
                    </a:cubicBezTo>
                    <a:cubicBezTo>
                      <a:pt x="94559" y="171102"/>
                      <a:pt x="94559" y="174804"/>
                      <a:pt x="96831" y="177082"/>
                    </a:cubicBezTo>
                    <a:cubicBezTo>
                      <a:pt x="97967" y="177936"/>
                      <a:pt x="99387" y="178506"/>
                      <a:pt x="100807" y="178506"/>
                    </a:cubicBezTo>
                    <a:cubicBezTo>
                      <a:pt x="102227" y="178506"/>
                      <a:pt x="103647" y="177936"/>
                      <a:pt x="104783" y="177082"/>
                    </a:cubicBezTo>
                    <a:cubicBezTo>
                      <a:pt x="146245" y="135508"/>
                      <a:pt x="213834" y="135508"/>
                      <a:pt x="255013" y="177082"/>
                    </a:cubicBezTo>
                    <a:cubicBezTo>
                      <a:pt x="257285" y="179075"/>
                      <a:pt x="260976" y="179075"/>
                      <a:pt x="263248" y="177082"/>
                    </a:cubicBezTo>
                    <a:cubicBezTo>
                      <a:pt x="265520" y="174804"/>
                      <a:pt x="265520" y="171102"/>
                      <a:pt x="263248" y="168824"/>
                    </a:cubicBezTo>
                    <a:cubicBezTo>
                      <a:pt x="240245" y="145901"/>
                      <a:pt x="210071" y="134440"/>
                      <a:pt x="179933" y="134440"/>
                    </a:cubicBezTo>
                    <a:close/>
                    <a:moveTo>
                      <a:pt x="179966" y="67031"/>
                    </a:moveTo>
                    <a:cubicBezTo>
                      <a:pt x="130556" y="67031"/>
                      <a:pt x="83985" y="86369"/>
                      <a:pt x="49342" y="121348"/>
                    </a:cubicBezTo>
                    <a:cubicBezTo>
                      <a:pt x="47070" y="123623"/>
                      <a:pt x="47070" y="127036"/>
                      <a:pt x="49342" y="129311"/>
                    </a:cubicBezTo>
                    <a:cubicBezTo>
                      <a:pt x="50194" y="130449"/>
                      <a:pt x="51897" y="131017"/>
                      <a:pt x="53317" y="131017"/>
                    </a:cubicBezTo>
                    <a:cubicBezTo>
                      <a:pt x="54737" y="131017"/>
                      <a:pt x="56157" y="130449"/>
                      <a:pt x="57293" y="129311"/>
                    </a:cubicBezTo>
                    <a:cubicBezTo>
                      <a:pt x="89949" y="96607"/>
                      <a:pt x="133679" y="78406"/>
                      <a:pt x="179966" y="78406"/>
                    </a:cubicBezTo>
                    <a:cubicBezTo>
                      <a:pt x="226252" y="78406"/>
                      <a:pt x="269698" y="96607"/>
                      <a:pt x="302638" y="129311"/>
                    </a:cubicBezTo>
                    <a:cubicBezTo>
                      <a:pt x="304910" y="131586"/>
                      <a:pt x="308318" y="131586"/>
                      <a:pt x="310589" y="129311"/>
                    </a:cubicBezTo>
                    <a:cubicBezTo>
                      <a:pt x="312861" y="127036"/>
                      <a:pt x="312861" y="123623"/>
                      <a:pt x="310589" y="121348"/>
                    </a:cubicBezTo>
                    <a:cubicBezTo>
                      <a:pt x="275662" y="86369"/>
                      <a:pt x="229375" y="67031"/>
                      <a:pt x="179966" y="67031"/>
                    </a:cubicBezTo>
                    <a:close/>
                    <a:moveTo>
                      <a:pt x="180033" y="0"/>
                    </a:moveTo>
                    <a:cubicBezTo>
                      <a:pt x="112734" y="0"/>
                      <a:pt x="49410" y="26138"/>
                      <a:pt x="1704" y="73869"/>
                    </a:cubicBezTo>
                    <a:cubicBezTo>
                      <a:pt x="-568" y="75858"/>
                      <a:pt x="-568" y="79551"/>
                      <a:pt x="1704" y="81824"/>
                    </a:cubicBezTo>
                    <a:cubicBezTo>
                      <a:pt x="3976" y="84097"/>
                      <a:pt x="7667" y="84097"/>
                      <a:pt x="9655" y="81824"/>
                    </a:cubicBezTo>
                    <a:cubicBezTo>
                      <a:pt x="103647" y="-12217"/>
                      <a:pt x="256420" y="-11933"/>
                      <a:pt x="350128" y="81824"/>
                    </a:cubicBezTo>
                    <a:cubicBezTo>
                      <a:pt x="351263" y="82961"/>
                      <a:pt x="352683" y="83529"/>
                      <a:pt x="354103" y="83529"/>
                    </a:cubicBezTo>
                    <a:cubicBezTo>
                      <a:pt x="355523" y="83529"/>
                      <a:pt x="356943" y="82961"/>
                      <a:pt x="358079" y="81824"/>
                    </a:cubicBezTo>
                    <a:cubicBezTo>
                      <a:pt x="360350" y="79551"/>
                      <a:pt x="360350" y="76142"/>
                      <a:pt x="358079" y="73869"/>
                    </a:cubicBezTo>
                    <a:cubicBezTo>
                      <a:pt x="310657" y="26138"/>
                      <a:pt x="247333" y="0"/>
                      <a:pt x="180033"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lumMod val="75000"/>
                    </a:schemeClr>
                  </a:solidFill>
                  <a:effectLst/>
                  <a:uLnTx/>
                  <a:uFillTx/>
                </a:endParaRPr>
              </a:p>
            </p:txBody>
          </p:sp>
          <p:sp>
            <p:nvSpPr>
              <p:cNvPr id="577" name="Freeform 576"/>
              <p:cNvSpPr>
                <a:spLocks/>
              </p:cNvSpPr>
              <p:nvPr/>
            </p:nvSpPr>
            <p:spPr bwMode="auto">
              <a:xfrm>
                <a:off x="6763784" y="3678867"/>
                <a:ext cx="325481" cy="190824"/>
              </a:xfrm>
              <a:custGeom>
                <a:avLst/>
                <a:gdLst>
                  <a:gd name="connsiteX0" fmla="*/ 141535 w 325481"/>
                  <a:gd name="connsiteY0" fmla="*/ 0 h 190824"/>
                  <a:gd name="connsiteX1" fmla="*/ 217726 w 325481"/>
                  <a:gd name="connsiteY1" fmla="*/ 50621 h 190824"/>
                  <a:gd name="connsiteX2" fmla="*/ 217726 w 325481"/>
                  <a:gd name="connsiteY2" fmla="*/ 51152 h 190824"/>
                  <a:gd name="connsiteX3" fmla="*/ 219048 w 325481"/>
                  <a:gd name="connsiteY3" fmla="*/ 54597 h 190824"/>
                  <a:gd name="connsiteX4" fmla="*/ 237038 w 325481"/>
                  <a:gd name="connsiteY4" fmla="*/ 51947 h 190824"/>
                  <a:gd name="connsiteX5" fmla="*/ 277646 w 325481"/>
                  <a:gd name="connsiteY5" fmla="*/ 66523 h 190824"/>
                  <a:gd name="connsiteX6" fmla="*/ 294713 w 325481"/>
                  <a:gd name="connsiteY6" fmla="*/ 94648 h 190824"/>
                  <a:gd name="connsiteX7" fmla="*/ 283124 w 325481"/>
                  <a:gd name="connsiteY7" fmla="*/ 94648 h 190824"/>
                  <a:gd name="connsiteX8" fmla="*/ 270834 w 325481"/>
                  <a:gd name="connsiteY8" fmla="*/ 74651 h 190824"/>
                  <a:gd name="connsiteX9" fmla="*/ 236970 w 325481"/>
                  <a:gd name="connsiteY9" fmla="*/ 62566 h 190824"/>
                  <a:gd name="connsiteX10" fmla="*/ 221097 w 325481"/>
                  <a:gd name="connsiteY10" fmla="*/ 64950 h 190824"/>
                  <a:gd name="connsiteX11" fmla="*/ 217393 w 325481"/>
                  <a:gd name="connsiteY11" fmla="*/ 66274 h 190824"/>
                  <a:gd name="connsiteX12" fmla="*/ 213160 w 325481"/>
                  <a:gd name="connsiteY12" fmla="*/ 66274 h 190824"/>
                  <a:gd name="connsiteX13" fmla="*/ 210515 w 325481"/>
                  <a:gd name="connsiteY13" fmla="*/ 63096 h 190824"/>
                  <a:gd name="connsiteX14" fmla="*/ 207869 w 325481"/>
                  <a:gd name="connsiteY14" fmla="*/ 54354 h 190824"/>
                  <a:gd name="connsiteX15" fmla="*/ 141465 w 325481"/>
                  <a:gd name="connsiteY15" fmla="*/ 10648 h 190824"/>
                  <a:gd name="connsiteX16" fmla="*/ 75061 w 325481"/>
                  <a:gd name="connsiteY16" fmla="*/ 54354 h 190824"/>
                  <a:gd name="connsiteX17" fmla="*/ 71093 w 325481"/>
                  <a:gd name="connsiteY17" fmla="*/ 67069 h 190824"/>
                  <a:gd name="connsiteX18" fmla="*/ 65802 w 325481"/>
                  <a:gd name="connsiteY18" fmla="*/ 70778 h 190824"/>
                  <a:gd name="connsiteX19" fmla="*/ 65273 w 325481"/>
                  <a:gd name="connsiteY19" fmla="*/ 70778 h 190824"/>
                  <a:gd name="connsiteX20" fmla="*/ 10509 w 325481"/>
                  <a:gd name="connsiteY20" fmla="*/ 125610 h 190824"/>
                  <a:gd name="connsiteX21" fmla="*/ 59717 w 325481"/>
                  <a:gd name="connsiteY21" fmla="*/ 179912 h 190824"/>
                  <a:gd name="connsiteX22" fmla="*/ 64479 w 325481"/>
                  <a:gd name="connsiteY22" fmla="*/ 180177 h 190824"/>
                  <a:gd name="connsiteX23" fmla="*/ 65008 w 325481"/>
                  <a:gd name="connsiteY23" fmla="*/ 180177 h 190824"/>
                  <a:gd name="connsiteX24" fmla="*/ 291205 w 325481"/>
                  <a:gd name="connsiteY24" fmla="*/ 180177 h 190824"/>
                  <a:gd name="connsiteX25" fmla="*/ 291734 w 325481"/>
                  <a:gd name="connsiteY25" fmla="*/ 180177 h 190824"/>
                  <a:gd name="connsiteX26" fmla="*/ 298083 w 325481"/>
                  <a:gd name="connsiteY26" fmla="*/ 179647 h 190824"/>
                  <a:gd name="connsiteX27" fmla="*/ 307210 w 325481"/>
                  <a:gd name="connsiteY27" fmla="*/ 173995 h 190824"/>
                  <a:gd name="connsiteX28" fmla="*/ 325481 w 325481"/>
                  <a:gd name="connsiteY28" fmla="*/ 173995 h 190824"/>
                  <a:gd name="connsiteX29" fmla="*/ 325233 w 325481"/>
                  <a:gd name="connsiteY29" fmla="*/ 174690 h 190824"/>
                  <a:gd name="connsiteX30" fmla="*/ 300001 w 325481"/>
                  <a:gd name="connsiteY30" fmla="*/ 190029 h 190824"/>
                  <a:gd name="connsiteX31" fmla="*/ 299472 w 325481"/>
                  <a:gd name="connsiteY31" fmla="*/ 190029 h 190824"/>
                  <a:gd name="connsiteX32" fmla="*/ 293916 w 325481"/>
                  <a:gd name="connsiteY32" fmla="*/ 190559 h 190824"/>
                  <a:gd name="connsiteX33" fmla="*/ 292329 w 325481"/>
                  <a:gd name="connsiteY33" fmla="*/ 190824 h 190824"/>
                  <a:gd name="connsiteX34" fmla="*/ 64286 w 325481"/>
                  <a:gd name="connsiteY34" fmla="*/ 190824 h 190824"/>
                  <a:gd name="connsiteX35" fmla="*/ 62963 w 325481"/>
                  <a:gd name="connsiteY35" fmla="*/ 190824 h 190824"/>
                  <a:gd name="connsiteX36" fmla="*/ 58995 w 325481"/>
                  <a:gd name="connsiteY36" fmla="*/ 190559 h 190824"/>
                  <a:gd name="connsiteX37" fmla="*/ 58731 w 325481"/>
                  <a:gd name="connsiteY37" fmla="*/ 190559 h 190824"/>
                  <a:gd name="connsiteX38" fmla="*/ 0 w 325481"/>
                  <a:gd name="connsiteY38" fmla="*/ 125626 h 190824"/>
                  <a:gd name="connsiteX39" fmla="*/ 62434 w 325481"/>
                  <a:gd name="connsiteY39" fmla="*/ 60163 h 190824"/>
                  <a:gd name="connsiteX40" fmla="*/ 65080 w 325481"/>
                  <a:gd name="connsiteY40" fmla="*/ 51152 h 190824"/>
                  <a:gd name="connsiteX41" fmla="*/ 65344 w 325481"/>
                  <a:gd name="connsiteY41" fmla="*/ 50621 h 190824"/>
                  <a:gd name="connsiteX42" fmla="*/ 141535 w 325481"/>
                  <a:gd name="connsiteY42" fmla="*/ 0 h 190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25481" h="190824">
                    <a:moveTo>
                      <a:pt x="141535" y="0"/>
                    </a:moveTo>
                    <a:cubicBezTo>
                      <a:pt x="174868" y="0"/>
                      <a:pt x="204763" y="19878"/>
                      <a:pt x="217726" y="50621"/>
                    </a:cubicBezTo>
                    <a:cubicBezTo>
                      <a:pt x="217726" y="50621"/>
                      <a:pt x="217726" y="50887"/>
                      <a:pt x="217726" y="51152"/>
                    </a:cubicBezTo>
                    <a:cubicBezTo>
                      <a:pt x="219048" y="54597"/>
                      <a:pt x="219048" y="54597"/>
                      <a:pt x="219048" y="54597"/>
                    </a:cubicBezTo>
                    <a:cubicBezTo>
                      <a:pt x="224868" y="52742"/>
                      <a:pt x="230953" y="51947"/>
                      <a:pt x="237038" y="51947"/>
                    </a:cubicBezTo>
                    <a:cubicBezTo>
                      <a:pt x="252249" y="51947"/>
                      <a:pt x="266469" y="57380"/>
                      <a:pt x="277646" y="66523"/>
                    </a:cubicBezTo>
                    <a:lnTo>
                      <a:pt x="294713" y="94648"/>
                    </a:lnTo>
                    <a:lnTo>
                      <a:pt x="283124" y="94648"/>
                    </a:lnTo>
                    <a:lnTo>
                      <a:pt x="270834" y="74651"/>
                    </a:lnTo>
                    <a:cubicBezTo>
                      <a:pt x="261508" y="67069"/>
                      <a:pt x="249669" y="62566"/>
                      <a:pt x="236970" y="62566"/>
                    </a:cubicBezTo>
                    <a:cubicBezTo>
                      <a:pt x="231679" y="62566"/>
                      <a:pt x="226124" y="63361"/>
                      <a:pt x="221097" y="64950"/>
                    </a:cubicBezTo>
                    <a:cubicBezTo>
                      <a:pt x="217393" y="66274"/>
                      <a:pt x="217393" y="66274"/>
                      <a:pt x="217393" y="66274"/>
                    </a:cubicBezTo>
                    <a:cubicBezTo>
                      <a:pt x="215806" y="66804"/>
                      <a:pt x="214483" y="66804"/>
                      <a:pt x="213160" y="66274"/>
                    </a:cubicBezTo>
                    <a:cubicBezTo>
                      <a:pt x="211838" y="65480"/>
                      <a:pt x="210779" y="64420"/>
                      <a:pt x="210515" y="63096"/>
                    </a:cubicBezTo>
                    <a:cubicBezTo>
                      <a:pt x="207869" y="54354"/>
                      <a:pt x="207869" y="54354"/>
                      <a:pt x="207869" y="54354"/>
                    </a:cubicBezTo>
                    <a:cubicBezTo>
                      <a:pt x="196493" y="27865"/>
                      <a:pt x="170302" y="10648"/>
                      <a:pt x="141465" y="10648"/>
                    </a:cubicBezTo>
                    <a:cubicBezTo>
                      <a:pt x="112629" y="10648"/>
                      <a:pt x="86437" y="27865"/>
                      <a:pt x="75061" y="54354"/>
                    </a:cubicBezTo>
                    <a:cubicBezTo>
                      <a:pt x="71093" y="67069"/>
                      <a:pt x="71093" y="67069"/>
                      <a:pt x="71093" y="67069"/>
                    </a:cubicBezTo>
                    <a:cubicBezTo>
                      <a:pt x="70564" y="69453"/>
                      <a:pt x="68183" y="71042"/>
                      <a:pt x="65802" y="70778"/>
                    </a:cubicBezTo>
                    <a:cubicBezTo>
                      <a:pt x="65273" y="70778"/>
                      <a:pt x="65273" y="70778"/>
                      <a:pt x="65273" y="70778"/>
                    </a:cubicBezTo>
                    <a:cubicBezTo>
                      <a:pt x="35113" y="70778"/>
                      <a:pt x="10509" y="95412"/>
                      <a:pt x="10509" y="125610"/>
                    </a:cubicBezTo>
                    <a:cubicBezTo>
                      <a:pt x="10509" y="153688"/>
                      <a:pt x="31674" y="176998"/>
                      <a:pt x="59717" y="179912"/>
                    </a:cubicBezTo>
                    <a:cubicBezTo>
                      <a:pt x="64479" y="180177"/>
                      <a:pt x="64479" y="180177"/>
                      <a:pt x="64479" y="180177"/>
                    </a:cubicBezTo>
                    <a:cubicBezTo>
                      <a:pt x="64479" y="180177"/>
                      <a:pt x="64744" y="180177"/>
                      <a:pt x="65008" y="180177"/>
                    </a:cubicBezTo>
                    <a:cubicBezTo>
                      <a:pt x="291205" y="180177"/>
                      <a:pt x="291205" y="180177"/>
                      <a:pt x="291205" y="180177"/>
                    </a:cubicBezTo>
                    <a:cubicBezTo>
                      <a:pt x="291469" y="180177"/>
                      <a:pt x="291469" y="180177"/>
                      <a:pt x="291734" y="180177"/>
                    </a:cubicBezTo>
                    <a:cubicBezTo>
                      <a:pt x="298083" y="179647"/>
                      <a:pt x="298083" y="179647"/>
                      <a:pt x="298083" y="179647"/>
                    </a:cubicBezTo>
                    <a:lnTo>
                      <a:pt x="307210" y="173995"/>
                    </a:lnTo>
                    <a:lnTo>
                      <a:pt x="325481" y="173995"/>
                    </a:lnTo>
                    <a:lnTo>
                      <a:pt x="325233" y="174690"/>
                    </a:lnTo>
                    <a:cubicBezTo>
                      <a:pt x="318983" y="182343"/>
                      <a:pt x="310186" y="187909"/>
                      <a:pt x="300001" y="190029"/>
                    </a:cubicBezTo>
                    <a:cubicBezTo>
                      <a:pt x="300001" y="190029"/>
                      <a:pt x="299736" y="190029"/>
                      <a:pt x="299472" y="190029"/>
                    </a:cubicBezTo>
                    <a:cubicBezTo>
                      <a:pt x="293916" y="190559"/>
                      <a:pt x="293916" y="190559"/>
                      <a:pt x="293916" y="190559"/>
                    </a:cubicBezTo>
                    <a:cubicBezTo>
                      <a:pt x="293387" y="190824"/>
                      <a:pt x="292858" y="190824"/>
                      <a:pt x="292329" y="190824"/>
                    </a:cubicBezTo>
                    <a:cubicBezTo>
                      <a:pt x="64286" y="190824"/>
                      <a:pt x="64286" y="190824"/>
                      <a:pt x="64286" y="190824"/>
                    </a:cubicBezTo>
                    <a:cubicBezTo>
                      <a:pt x="63757" y="190824"/>
                      <a:pt x="63492" y="190824"/>
                      <a:pt x="62963" y="190824"/>
                    </a:cubicBezTo>
                    <a:cubicBezTo>
                      <a:pt x="58995" y="190559"/>
                      <a:pt x="58995" y="190559"/>
                      <a:pt x="58995" y="190559"/>
                    </a:cubicBezTo>
                    <a:cubicBezTo>
                      <a:pt x="58995" y="190559"/>
                      <a:pt x="58995" y="190559"/>
                      <a:pt x="58731" y="190559"/>
                    </a:cubicBezTo>
                    <a:cubicBezTo>
                      <a:pt x="25397" y="187114"/>
                      <a:pt x="0" y="159285"/>
                      <a:pt x="0" y="125626"/>
                    </a:cubicBezTo>
                    <a:cubicBezTo>
                      <a:pt x="0" y="90642"/>
                      <a:pt x="27778" y="62018"/>
                      <a:pt x="62434" y="60163"/>
                    </a:cubicBezTo>
                    <a:cubicBezTo>
                      <a:pt x="65080" y="51152"/>
                      <a:pt x="65080" y="51152"/>
                      <a:pt x="65080" y="51152"/>
                    </a:cubicBezTo>
                    <a:cubicBezTo>
                      <a:pt x="65344" y="50887"/>
                      <a:pt x="65344" y="50621"/>
                      <a:pt x="65344" y="50621"/>
                    </a:cubicBezTo>
                    <a:cubicBezTo>
                      <a:pt x="78307" y="19878"/>
                      <a:pt x="108202" y="0"/>
                      <a:pt x="141535"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lumMod val="75000"/>
                    </a:schemeClr>
                  </a:solidFill>
                  <a:effectLst/>
                  <a:uLnTx/>
                  <a:uFillTx/>
                </a:endParaRPr>
              </a:p>
            </p:txBody>
          </p:sp>
          <p:grpSp>
            <p:nvGrpSpPr>
              <p:cNvPr id="578" name="Group 577"/>
              <p:cNvGrpSpPr/>
              <p:nvPr/>
            </p:nvGrpSpPr>
            <p:grpSpPr>
              <a:xfrm>
                <a:off x="6770791" y="3423638"/>
                <a:ext cx="166584" cy="78932"/>
                <a:chOff x="6265966" y="3966563"/>
                <a:chExt cx="937472" cy="444202"/>
              </a:xfrm>
              <a:grpFill/>
            </p:grpSpPr>
            <p:sp>
              <p:nvSpPr>
                <p:cNvPr id="585" name="Rectangle 584"/>
                <p:cNvSpPr/>
                <p:nvPr/>
              </p:nvSpPr>
              <p:spPr bwMode="auto">
                <a:xfrm rot="2990979">
                  <a:off x="6084049" y="4148480"/>
                  <a:ext cx="444202"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586" name="Rectangle 585"/>
                <p:cNvSpPr/>
                <p:nvPr/>
              </p:nvSpPr>
              <p:spPr bwMode="auto">
                <a:xfrm rot="19191831">
                  <a:off x="6289038" y="4019160"/>
                  <a:ext cx="914400"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nvGrpSpPr>
              <p:cNvPr id="579" name="Group 578"/>
              <p:cNvGrpSpPr/>
              <p:nvPr/>
            </p:nvGrpSpPr>
            <p:grpSpPr>
              <a:xfrm>
                <a:off x="7039873" y="3766538"/>
                <a:ext cx="166584" cy="78932"/>
                <a:chOff x="6265966" y="3966563"/>
                <a:chExt cx="937472" cy="444202"/>
              </a:xfrm>
              <a:grpFill/>
            </p:grpSpPr>
            <p:sp>
              <p:nvSpPr>
                <p:cNvPr id="583" name="Rectangle 582"/>
                <p:cNvSpPr/>
                <p:nvPr/>
              </p:nvSpPr>
              <p:spPr bwMode="auto">
                <a:xfrm rot="2990979">
                  <a:off x="6084049" y="4148480"/>
                  <a:ext cx="444202"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584" name="Rectangle 583"/>
                <p:cNvSpPr/>
                <p:nvPr/>
              </p:nvSpPr>
              <p:spPr bwMode="auto">
                <a:xfrm rot="19191831">
                  <a:off x="6289038" y="4019160"/>
                  <a:ext cx="914400"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nvGrpSpPr>
              <p:cNvPr id="580" name="Group 579"/>
              <p:cNvGrpSpPr/>
              <p:nvPr/>
            </p:nvGrpSpPr>
            <p:grpSpPr>
              <a:xfrm>
                <a:off x="7277998" y="3440306"/>
                <a:ext cx="166584" cy="78932"/>
                <a:chOff x="6265966" y="3966563"/>
                <a:chExt cx="937472" cy="444202"/>
              </a:xfrm>
              <a:grpFill/>
            </p:grpSpPr>
            <p:sp>
              <p:nvSpPr>
                <p:cNvPr id="581" name="Rectangle 580"/>
                <p:cNvSpPr/>
                <p:nvPr/>
              </p:nvSpPr>
              <p:spPr bwMode="auto">
                <a:xfrm rot="2990979">
                  <a:off x="6084049" y="4148480"/>
                  <a:ext cx="444202"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582" name="Rectangle 581"/>
                <p:cNvSpPr/>
                <p:nvPr/>
              </p:nvSpPr>
              <p:spPr bwMode="auto">
                <a:xfrm rot="19191831">
                  <a:off x="6289038" y="4019160"/>
                  <a:ext cx="914400"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grpSp>
          <p:nvGrpSpPr>
            <p:cNvPr id="587" name="Group 586"/>
            <p:cNvGrpSpPr/>
            <p:nvPr/>
          </p:nvGrpSpPr>
          <p:grpSpPr>
            <a:xfrm>
              <a:off x="11328881" y="2729082"/>
              <a:ext cx="1329176" cy="1329176"/>
              <a:chOff x="7853491" y="2729082"/>
              <a:chExt cx="1329176" cy="1329176"/>
            </a:xfrm>
            <a:grpFill/>
          </p:grpSpPr>
          <p:sp>
            <p:nvSpPr>
              <p:cNvPr id="588" name="Oval 587"/>
              <p:cNvSpPr/>
              <p:nvPr/>
            </p:nvSpPr>
            <p:spPr bwMode="auto">
              <a:xfrm>
                <a:off x="7853491" y="2729082"/>
                <a:ext cx="1329176" cy="1329176"/>
              </a:xfrm>
              <a:prstGeom prst="ellipse">
                <a:avLst/>
              </a:prstGeom>
              <a:noFill/>
              <a:ln w="19050">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91440" rIns="0" bIns="1005840" numCol="1" rtlCol="0" anchor="t"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accent2">
                        <a:lumMod val="75000"/>
                      </a:schemeClr>
                    </a:solidFill>
                    <a:effectLst/>
                    <a:uLnTx/>
                    <a:uFillTx/>
                  </a:rPr>
                  <a:t>TRANSFORM &amp; ANALYZE</a:t>
                </a:r>
              </a:p>
            </p:txBody>
          </p:sp>
          <p:sp>
            <p:nvSpPr>
              <p:cNvPr id="589" name="Freeform 588"/>
              <p:cNvSpPr/>
              <p:nvPr/>
            </p:nvSpPr>
            <p:spPr bwMode="auto">
              <a:xfrm>
                <a:off x="8237254" y="3735127"/>
                <a:ext cx="194753" cy="216927"/>
              </a:xfrm>
              <a:custGeom>
                <a:avLst/>
                <a:gdLst>
                  <a:gd name="connsiteX0" fmla="*/ 840105 w 2099417"/>
                  <a:gd name="connsiteY0" fmla="*/ 193365 h 2338449"/>
                  <a:gd name="connsiteX1" fmla="*/ 840105 w 2099417"/>
                  <a:gd name="connsiteY1" fmla="*/ 637578 h 2338449"/>
                  <a:gd name="connsiteX2" fmla="*/ 706532 w 2099417"/>
                  <a:gd name="connsiteY2" fmla="*/ 898901 h 2338449"/>
                  <a:gd name="connsiteX3" fmla="*/ 170288 w 2099417"/>
                  <a:gd name="connsiteY3" fmla="*/ 1975105 h 2338449"/>
                  <a:gd name="connsiteX4" fmla="*/ 322383 w 2099417"/>
                  <a:gd name="connsiteY4" fmla="*/ 2220285 h 2338449"/>
                  <a:gd name="connsiteX5" fmla="*/ 1777036 w 2099417"/>
                  <a:gd name="connsiteY5" fmla="*/ 2220285 h 2338449"/>
                  <a:gd name="connsiteX6" fmla="*/ 1929130 w 2099417"/>
                  <a:gd name="connsiteY6" fmla="*/ 1975105 h 2338449"/>
                  <a:gd name="connsiteX7" fmla="*/ 1395989 w 2099417"/>
                  <a:gd name="connsiteY7" fmla="*/ 905127 h 2338449"/>
                  <a:gd name="connsiteX8" fmla="*/ 1261586 w 2099417"/>
                  <a:gd name="connsiteY8" fmla="*/ 642306 h 2338449"/>
                  <a:gd name="connsiteX9" fmla="*/ 1261586 w 2099417"/>
                  <a:gd name="connsiteY9" fmla="*/ 193365 h 2338449"/>
                  <a:gd name="connsiteX10" fmla="*/ 510540 w 2099417"/>
                  <a:gd name="connsiteY10" fmla="*/ 0 h 2338449"/>
                  <a:gd name="connsiteX11" fmla="*/ 1592580 w 2099417"/>
                  <a:gd name="connsiteY11" fmla="*/ 0 h 2338449"/>
                  <a:gd name="connsiteX12" fmla="*/ 1592580 w 2099417"/>
                  <a:gd name="connsiteY12" fmla="*/ 193365 h 2338449"/>
                  <a:gd name="connsiteX13" fmla="*/ 1463040 w 2099417"/>
                  <a:gd name="connsiteY13" fmla="*/ 193365 h 2338449"/>
                  <a:gd name="connsiteX14" fmla="*/ 1463040 w 2099417"/>
                  <a:gd name="connsiteY14" fmla="*/ 620444 h 2338449"/>
                  <a:gd name="connsiteX15" fmla="*/ 2099417 w 2099417"/>
                  <a:gd name="connsiteY15" fmla="*/ 1991685 h 2338449"/>
                  <a:gd name="connsiteX16" fmla="*/ 1901297 w 2099417"/>
                  <a:gd name="connsiteY16" fmla="*/ 2334585 h 2338449"/>
                  <a:gd name="connsiteX17" fmla="*/ 1463040 w 2099417"/>
                  <a:gd name="connsiteY17" fmla="*/ 2338417 h 2338449"/>
                  <a:gd name="connsiteX18" fmla="*/ 1463040 w 2099417"/>
                  <a:gd name="connsiteY18" fmla="*/ 2338449 h 2338449"/>
                  <a:gd name="connsiteX19" fmla="*/ 1459337 w 2099417"/>
                  <a:gd name="connsiteY19" fmla="*/ 2338449 h 2338449"/>
                  <a:gd name="connsiteX20" fmla="*/ 640080 w 2099417"/>
                  <a:gd name="connsiteY20" fmla="*/ 2338449 h 2338449"/>
                  <a:gd name="connsiteX21" fmla="*/ 198120 w 2099417"/>
                  <a:gd name="connsiteY21" fmla="*/ 2334585 h 2338449"/>
                  <a:gd name="connsiteX22" fmla="*/ 0 w 2099417"/>
                  <a:gd name="connsiteY22" fmla="*/ 1991685 h 2338449"/>
                  <a:gd name="connsiteX23" fmla="*/ 640080 w 2099417"/>
                  <a:gd name="connsiteY23" fmla="*/ 612465 h 2338449"/>
                  <a:gd name="connsiteX24" fmla="*/ 640080 w 2099417"/>
                  <a:gd name="connsiteY24" fmla="*/ 193365 h 2338449"/>
                  <a:gd name="connsiteX25" fmla="*/ 510540 w 2099417"/>
                  <a:gd name="connsiteY25" fmla="*/ 193365 h 233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99417" h="2338449">
                    <a:moveTo>
                      <a:pt x="840105" y="193365"/>
                    </a:moveTo>
                    <a:lnTo>
                      <a:pt x="840105" y="637578"/>
                    </a:lnTo>
                    <a:lnTo>
                      <a:pt x="706532" y="898901"/>
                    </a:lnTo>
                    <a:lnTo>
                      <a:pt x="170288" y="1975105"/>
                    </a:lnTo>
                    <a:lnTo>
                      <a:pt x="322383" y="2220285"/>
                    </a:lnTo>
                    <a:lnTo>
                      <a:pt x="1777036" y="2220285"/>
                    </a:lnTo>
                    <a:lnTo>
                      <a:pt x="1929130" y="1975105"/>
                    </a:lnTo>
                    <a:lnTo>
                      <a:pt x="1395989" y="905127"/>
                    </a:lnTo>
                    <a:lnTo>
                      <a:pt x="1261586" y="642306"/>
                    </a:lnTo>
                    <a:lnTo>
                      <a:pt x="1261586" y="193365"/>
                    </a:lnTo>
                    <a:close/>
                    <a:moveTo>
                      <a:pt x="510540" y="0"/>
                    </a:moveTo>
                    <a:lnTo>
                      <a:pt x="1592580" y="0"/>
                    </a:lnTo>
                    <a:lnTo>
                      <a:pt x="1592580" y="193365"/>
                    </a:lnTo>
                    <a:lnTo>
                      <a:pt x="1463040" y="193365"/>
                    </a:lnTo>
                    <a:lnTo>
                      <a:pt x="1463040" y="620444"/>
                    </a:lnTo>
                    <a:lnTo>
                      <a:pt x="2099417" y="1991685"/>
                    </a:lnTo>
                    <a:lnTo>
                      <a:pt x="1901297" y="2334585"/>
                    </a:lnTo>
                    <a:lnTo>
                      <a:pt x="1463040" y="2338417"/>
                    </a:lnTo>
                    <a:lnTo>
                      <a:pt x="1463040" y="2338449"/>
                    </a:lnTo>
                    <a:lnTo>
                      <a:pt x="1459337" y="2338449"/>
                    </a:lnTo>
                    <a:lnTo>
                      <a:pt x="640080" y="2338449"/>
                    </a:lnTo>
                    <a:lnTo>
                      <a:pt x="198120" y="2334585"/>
                    </a:lnTo>
                    <a:lnTo>
                      <a:pt x="0" y="1991685"/>
                    </a:lnTo>
                    <a:lnTo>
                      <a:pt x="640080" y="612465"/>
                    </a:lnTo>
                    <a:lnTo>
                      <a:pt x="640080" y="193365"/>
                    </a:lnTo>
                    <a:lnTo>
                      <a:pt x="510540" y="19336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solidFill>
                    <a:schemeClr val="accent2">
                      <a:lumMod val="75000"/>
                    </a:schemeClr>
                  </a:solidFill>
                  <a:effectLst/>
                  <a:uLnTx/>
                  <a:uFillTx/>
                  <a:ea typeface="Segoe UI" pitchFamily="34" charset="0"/>
                  <a:cs typeface="Segoe UI" pitchFamily="34" charset="0"/>
                </a:endParaRPr>
              </a:p>
            </p:txBody>
          </p:sp>
          <p:grpSp>
            <p:nvGrpSpPr>
              <p:cNvPr id="590" name="Group 589"/>
              <p:cNvGrpSpPr/>
              <p:nvPr/>
            </p:nvGrpSpPr>
            <p:grpSpPr>
              <a:xfrm>
                <a:off x="7985542" y="3325887"/>
                <a:ext cx="1065075" cy="341257"/>
                <a:chOff x="8007488" y="3207777"/>
                <a:chExt cx="1065075" cy="341257"/>
              </a:xfrm>
              <a:grpFill/>
            </p:grpSpPr>
            <p:sp>
              <p:nvSpPr>
                <p:cNvPr id="607" name="Freeform 606"/>
                <p:cNvSpPr/>
                <p:nvPr/>
              </p:nvSpPr>
              <p:spPr bwMode="auto">
                <a:xfrm>
                  <a:off x="8166808" y="3207777"/>
                  <a:ext cx="91927" cy="91927"/>
                </a:xfrm>
                <a:custGeom>
                  <a:avLst/>
                  <a:gdLst>
                    <a:gd name="connsiteX0" fmla="*/ 61913 w 914400"/>
                    <a:gd name="connsiteY0" fmla="*/ 61913 h 914400"/>
                    <a:gd name="connsiteX1" fmla="*/ 61913 w 914400"/>
                    <a:gd name="connsiteY1" fmla="*/ 852488 h 914400"/>
                    <a:gd name="connsiteX2" fmla="*/ 852488 w 914400"/>
                    <a:gd name="connsiteY2" fmla="*/ 852488 h 914400"/>
                    <a:gd name="connsiteX3" fmla="*/ 852488 w 914400"/>
                    <a:gd name="connsiteY3" fmla="*/ 61913 h 914400"/>
                    <a:gd name="connsiteX4" fmla="*/ 0 w 914400"/>
                    <a:gd name="connsiteY4" fmla="*/ 0 h 914400"/>
                    <a:gd name="connsiteX5" fmla="*/ 914400 w 914400"/>
                    <a:gd name="connsiteY5" fmla="*/ 0 h 914400"/>
                    <a:gd name="connsiteX6" fmla="*/ 914400 w 914400"/>
                    <a:gd name="connsiteY6" fmla="*/ 914400 h 914400"/>
                    <a:gd name="connsiteX7" fmla="*/ 0 w 914400"/>
                    <a:gd name="connsiteY7"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 h="914400">
                      <a:moveTo>
                        <a:pt x="61913" y="61913"/>
                      </a:moveTo>
                      <a:lnTo>
                        <a:pt x="61913" y="852488"/>
                      </a:lnTo>
                      <a:lnTo>
                        <a:pt x="852488" y="852488"/>
                      </a:lnTo>
                      <a:lnTo>
                        <a:pt x="852488" y="61913"/>
                      </a:lnTo>
                      <a:close/>
                      <a:moveTo>
                        <a:pt x="0" y="0"/>
                      </a:moveTo>
                      <a:lnTo>
                        <a:pt x="914400" y="0"/>
                      </a:lnTo>
                      <a:lnTo>
                        <a:pt x="914400" y="914400"/>
                      </a:lnTo>
                      <a:lnTo>
                        <a:pt x="0" y="91440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08" name="Freeform 607"/>
                <p:cNvSpPr/>
                <p:nvPr/>
              </p:nvSpPr>
              <p:spPr bwMode="auto">
                <a:xfrm>
                  <a:off x="8007488" y="3292650"/>
                  <a:ext cx="96013" cy="96013"/>
                </a:xfrm>
                <a:custGeom>
                  <a:avLst/>
                  <a:gdLst>
                    <a:gd name="connsiteX0" fmla="*/ 457200 w 914400"/>
                    <a:gd name="connsiteY0" fmla="*/ 45244 h 914400"/>
                    <a:gd name="connsiteX1" fmla="*/ 45244 w 914400"/>
                    <a:gd name="connsiteY1" fmla="*/ 457200 h 914400"/>
                    <a:gd name="connsiteX2" fmla="*/ 457200 w 914400"/>
                    <a:gd name="connsiteY2" fmla="*/ 869156 h 914400"/>
                    <a:gd name="connsiteX3" fmla="*/ 869156 w 914400"/>
                    <a:gd name="connsiteY3" fmla="*/ 457200 h 914400"/>
                    <a:gd name="connsiteX4" fmla="*/ 457200 w 914400"/>
                    <a:gd name="connsiteY4" fmla="*/ 45244 h 914400"/>
                    <a:gd name="connsiteX5" fmla="*/ 457200 w 914400"/>
                    <a:gd name="connsiteY5" fmla="*/ 0 h 914400"/>
                    <a:gd name="connsiteX6" fmla="*/ 914400 w 914400"/>
                    <a:gd name="connsiteY6" fmla="*/ 457200 h 914400"/>
                    <a:gd name="connsiteX7" fmla="*/ 457200 w 914400"/>
                    <a:gd name="connsiteY7" fmla="*/ 914400 h 914400"/>
                    <a:gd name="connsiteX8" fmla="*/ 0 w 914400"/>
                    <a:gd name="connsiteY8" fmla="*/ 457200 h 914400"/>
                    <a:gd name="connsiteX9" fmla="*/ 457200 w 914400"/>
                    <a:gd name="connsiteY9"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 h="914400">
                      <a:moveTo>
                        <a:pt x="457200" y="45244"/>
                      </a:moveTo>
                      <a:cubicBezTo>
                        <a:pt x="229683" y="45244"/>
                        <a:pt x="45244" y="229683"/>
                        <a:pt x="45244" y="457200"/>
                      </a:cubicBezTo>
                      <a:cubicBezTo>
                        <a:pt x="45244" y="684717"/>
                        <a:pt x="229683" y="869156"/>
                        <a:pt x="457200" y="869156"/>
                      </a:cubicBezTo>
                      <a:cubicBezTo>
                        <a:pt x="684717" y="869156"/>
                        <a:pt x="869156" y="684717"/>
                        <a:pt x="869156" y="457200"/>
                      </a:cubicBezTo>
                      <a:cubicBezTo>
                        <a:pt x="869156" y="229683"/>
                        <a:pt x="684717" y="45244"/>
                        <a:pt x="457200" y="45244"/>
                      </a:cubicBezTo>
                      <a:close/>
                      <a:moveTo>
                        <a:pt x="457200" y="0"/>
                      </a:moveTo>
                      <a:cubicBezTo>
                        <a:pt x="709705" y="0"/>
                        <a:pt x="914400" y="204695"/>
                        <a:pt x="914400" y="457200"/>
                      </a:cubicBezTo>
                      <a:cubicBezTo>
                        <a:pt x="914400" y="709705"/>
                        <a:pt x="709705" y="914400"/>
                        <a:pt x="457200" y="914400"/>
                      </a:cubicBezTo>
                      <a:cubicBezTo>
                        <a:pt x="204695" y="914400"/>
                        <a:pt x="0" y="709705"/>
                        <a:pt x="0" y="457200"/>
                      </a:cubicBezTo>
                      <a:cubicBezTo>
                        <a:pt x="0" y="204695"/>
                        <a:pt x="204695" y="0"/>
                        <a:pt x="457200" y="0"/>
                      </a:cubicBez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09" name="Freeform 608"/>
                <p:cNvSpPr/>
                <p:nvPr/>
              </p:nvSpPr>
              <p:spPr bwMode="auto">
                <a:xfrm rot="2897313">
                  <a:off x="8162046" y="3386372"/>
                  <a:ext cx="91927" cy="91927"/>
                </a:xfrm>
                <a:custGeom>
                  <a:avLst/>
                  <a:gdLst>
                    <a:gd name="connsiteX0" fmla="*/ 61913 w 914400"/>
                    <a:gd name="connsiteY0" fmla="*/ 61913 h 914400"/>
                    <a:gd name="connsiteX1" fmla="*/ 61913 w 914400"/>
                    <a:gd name="connsiteY1" fmla="*/ 852488 h 914400"/>
                    <a:gd name="connsiteX2" fmla="*/ 852488 w 914400"/>
                    <a:gd name="connsiteY2" fmla="*/ 852488 h 914400"/>
                    <a:gd name="connsiteX3" fmla="*/ 852488 w 914400"/>
                    <a:gd name="connsiteY3" fmla="*/ 61913 h 914400"/>
                    <a:gd name="connsiteX4" fmla="*/ 0 w 914400"/>
                    <a:gd name="connsiteY4" fmla="*/ 0 h 914400"/>
                    <a:gd name="connsiteX5" fmla="*/ 914400 w 914400"/>
                    <a:gd name="connsiteY5" fmla="*/ 0 h 914400"/>
                    <a:gd name="connsiteX6" fmla="*/ 914400 w 914400"/>
                    <a:gd name="connsiteY6" fmla="*/ 914400 h 914400"/>
                    <a:gd name="connsiteX7" fmla="*/ 0 w 914400"/>
                    <a:gd name="connsiteY7"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 h="914400">
                      <a:moveTo>
                        <a:pt x="61913" y="61913"/>
                      </a:moveTo>
                      <a:lnTo>
                        <a:pt x="61913" y="852488"/>
                      </a:lnTo>
                      <a:lnTo>
                        <a:pt x="852488" y="852488"/>
                      </a:lnTo>
                      <a:lnTo>
                        <a:pt x="852488" y="61913"/>
                      </a:lnTo>
                      <a:close/>
                      <a:moveTo>
                        <a:pt x="0" y="0"/>
                      </a:moveTo>
                      <a:lnTo>
                        <a:pt x="914400" y="0"/>
                      </a:lnTo>
                      <a:lnTo>
                        <a:pt x="914400" y="914400"/>
                      </a:lnTo>
                      <a:lnTo>
                        <a:pt x="0" y="91440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nvGrpSpPr>
                <p:cNvPr id="610" name="Group 609"/>
                <p:cNvGrpSpPr/>
                <p:nvPr/>
              </p:nvGrpSpPr>
              <p:grpSpPr>
                <a:xfrm>
                  <a:off x="8099516" y="3245644"/>
                  <a:ext cx="594427" cy="188119"/>
                  <a:chOff x="8099517" y="3245644"/>
                  <a:chExt cx="668721" cy="188119"/>
                </a:xfrm>
                <a:grpFill/>
              </p:grpSpPr>
              <p:cxnSp>
                <p:nvCxnSpPr>
                  <p:cNvPr id="623" name="Straight Connector 622"/>
                  <p:cNvCxnSpPr/>
                  <p:nvPr/>
                </p:nvCxnSpPr>
                <p:spPr>
                  <a:xfrm>
                    <a:off x="8099517" y="3338901"/>
                    <a:ext cx="623002" cy="0"/>
                  </a:xfrm>
                  <a:prstGeom prst="line">
                    <a:avLst/>
                  </a:prstGeom>
                  <a:grpFill/>
                  <a:ln w="3175">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24" name="Freeform 623"/>
                  <p:cNvSpPr/>
                  <p:nvPr/>
                </p:nvSpPr>
                <p:spPr bwMode="auto">
                  <a:xfrm>
                    <a:off x="8279607" y="3245644"/>
                    <a:ext cx="442912" cy="52387"/>
                  </a:xfrm>
                  <a:custGeom>
                    <a:avLst/>
                    <a:gdLst>
                      <a:gd name="connsiteX0" fmla="*/ 0 w 521494"/>
                      <a:gd name="connsiteY0" fmla="*/ 0 h 76200"/>
                      <a:gd name="connsiteX1" fmla="*/ 285750 w 521494"/>
                      <a:gd name="connsiteY1" fmla="*/ 0 h 76200"/>
                      <a:gd name="connsiteX2" fmla="*/ 285750 w 521494"/>
                      <a:gd name="connsiteY2" fmla="*/ 76200 h 76200"/>
                      <a:gd name="connsiteX3" fmla="*/ 521494 w 521494"/>
                      <a:gd name="connsiteY3" fmla="*/ 76200 h 76200"/>
                    </a:gdLst>
                    <a:ahLst/>
                    <a:cxnLst>
                      <a:cxn ang="0">
                        <a:pos x="connsiteX0" y="connsiteY0"/>
                      </a:cxn>
                      <a:cxn ang="0">
                        <a:pos x="connsiteX1" y="connsiteY1"/>
                      </a:cxn>
                      <a:cxn ang="0">
                        <a:pos x="connsiteX2" y="connsiteY2"/>
                      </a:cxn>
                      <a:cxn ang="0">
                        <a:pos x="connsiteX3" y="connsiteY3"/>
                      </a:cxn>
                    </a:cxnLst>
                    <a:rect l="l" t="t" r="r" b="b"/>
                    <a:pathLst>
                      <a:path w="521494" h="76200">
                        <a:moveTo>
                          <a:pt x="0" y="0"/>
                        </a:moveTo>
                        <a:lnTo>
                          <a:pt x="285750" y="0"/>
                        </a:lnTo>
                        <a:lnTo>
                          <a:pt x="285750" y="76200"/>
                        </a:lnTo>
                        <a:lnTo>
                          <a:pt x="521494" y="76200"/>
                        </a:lnTo>
                      </a:path>
                    </a:pathLst>
                  </a:custGeom>
                  <a:noFill/>
                  <a:ln w="3175">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625" name="Freeform 624"/>
                  <p:cNvSpPr/>
                  <p:nvPr/>
                </p:nvSpPr>
                <p:spPr bwMode="auto">
                  <a:xfrm flipV="1">
                    <a:off x="8279607" y="3388044"/>
                    <a:ext cx="442912" cy="45719"/>
                  </a:xfrm>
                  <a:custGeom>
                    <a:avLst/>
                    <a:gdLst>
                      <a:gd name="connsiteX0" fmla="*/ 0 w 521494"/>
                      <a:gd name="connsiteY0" fmla="*/ 0 h 76200"/>
                      <a:gd name="connsiteX1" fmla="*/ 285750 w 521494"/>
                      <a:gd name="connsiteY1" fmla="*/ 0 h 76200"/>
                      <a:gd name="connsiteX2" fmla="*/ 285750 w 521494"/>
                      <a:gd name="connsiteY2" fmla="*/ 76200 h 76200"/>
                      <a:gd name="connsiteX3" fmla="*/ 521494 w 521494"/>
                      <a:gd name="connsiteY3" fmla="*/ 76200 h 76200"/>
                    </a:gdLst>
                    <a:ahLst/>
                    <a:cxnLst>
                      <a:cxn ang="0">
                        <a:pos x="connsiteX0" y="connsiteY0"/>
                      </a:cxn>
                      <a:cxn ang="0">
                        <a:pos x="connsiteX1" y="connsiteY1"/>
                      </a:cxn>
                      <a:cxn ang="0">
                        <a:pos x="connsiteX2" y="connsiteY2"/>
                      </a:cxn>
                      <a:cxn ang="0">
                        <a:pos x="connsiteX3" y="connsiteY3"/>
                      </a:cxn>
                    </a:cxnLst>
                    <a:rect l="l" t="t" r="r" b="b"/>
                    <a:pathLst>
                      <a:path w="521494" h="76200">
                        <a:moveTo>
                          <a:pt x="0" y="0"/>
                        </a:moveTo>
                        <a:lnTo>
                          <a:pt x="285750" y="0"/>
                        </a:lnTo>
                        <a:lnTo>
                          <a:pt x="285750" y="76200"/>
                        </a:lnTo>
                        <a:lnTo>
                          <a:pt x="521494" y="76200"/>
                        </a:lnTo>
                      </a:path>
                    </a:pathLst>
                  </a:custGeom>
                  <a:noFill/>
                  <a:ln w="3175">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626" name="Isosceles Triangle 625"/>
                  <p:cNvSpPr/>
                  <p:nvPr/>
                </p:nvSpPr>
                <p:spPr bwMode="auto">
                  <a:xfrm rot="5400000">
                    <a:off x="8722519" y="3271470"/>
                    <a:ext cx="45719" cy="45719"/>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27" name="Isosceles Triangle 626"/>
                  <p:cNvSpPr/>
                  <p:nvPr/>
                </p:nvSpPr>
                <p:spPr bwMode="auto">
                  <a:xfrm rot="5400000">
                    <a:off x="8722519" y="3319095"/>
                    <a:ext cx="45719" cy="45719"/>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28" name="Isosceles Triangle 627"/>
                  <p:cNvSpPr/>
                  <p:nvPr/>
                </p:nvSpPr>
                <p:spPr bwMode="auto">
                  <a:xfrm rot="5400000">
                    <a:off x="8722519" y="3366720"/>
                    <a:ext cx="45719" cy="45719"/>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nvGrpSpPr>
                <p:cNvPr id="611" name="Group 610"/>
                <p:cNvGrpSpPr/>
                <p:nvPr/>
              </p:nvGrpSpPr>
              <p:grpSpPr>
                <a:xfrm>
                  <a:off x="8705850" y="3246154"/>
                  <a:ext cx="188119" cy="181932"/>
                  <a:chOff x="6107906" y="3893854"/>
                  <a:chExt cx="260177" cy="181932"/>
                </a:xfrm>
                <a:grpFill/>
              </p:grpSpPr>
              <p:sp>
                <p:nvSpPr>
                  <p:cNvPr id="617" name="Freeform 616"/>
                  <p:cNvSpPr/>
                  <p:nvPr/>
                </p:nvSpPr>
                <p:spPr bwMode="auto">
                  <a:xfrm>
                    <a:off x="6107906" y="3893854"/>
                    <a:ext cx="260177" cy="18193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nvGrpSpPr>
                  <p:cNvPr id="618" name="Group 617"/>
                  <p:cNvGrpSpPr/>
                  <p:nvPr/>
                </p:nvGrpSpPr>
                <p:grpSpPr>
                  <a:xfrm>
                    <a:off x="6132036" y="3939103"/>
                    <a:ext cx="215584" cy="123793"/>
                    <a:chOff x="6417785" y="4091503"/>
                    <a:chExt cx="1997553" cy="1147034"/>
                  </a:xfrm>
                  <a:grpFill/>
                </p:grpSpPr>
                <p:sp>
                  <p:nvSpPr>
                    <p:cNvPr id="619" name="Freeform 618"/>
                    <p:cNvSpPr/>
                    <p:nvPr/>
                  </p:nvSpPr>
                  <p:spPr bwMode="auto">
                    <a:xfrm>
                      <a:off x="6417785" y="4091503"/>
                      <a:ext cx="1997553" cy="265972"/>
                    </a:xfrm>
                    <a:custGeom>
                      <a:avLst/>
                      <a:gdLst>
                        <a:gd name="connsiteX0" fmla="*/ 107464 w 1997553"/>
                        <a:gd name="connsiteY0" fmla="*/ 22625 h 265972"/>
                        <a:gd name="connsiteX1" fmla="*/ 107464 w 1997553"/>
                        <a:gd name="connsiteY1" fmla="*/ 23297 h 265972"/>
                        <a:gd name="connsiteX2" fmla="*/ 30641 w 1997553"/>
                        <a:gd name="connsiteY2" fmla="*/ 23297 h 265972"/>
                        <a:gd name="connsiteX3" fmla="*/ 30641 w 1997553"/>
                        <a:gd name="connsiteY3" fmla="*/ 244753 h 265972"/>
                        <a:gd name="connsiteX4" fmla="*/ 329241 w 1997553"/>
                        <a:gd name="connsiteY4" fmla="*/ 244753 h 265972"/>
                        <a:gd name="connsiteX5" fmla="*/ 329241 w 1997553"/>
                        <a:gd name="connsiteY5" fmla="*/ 243347 h 265972"/>
                        <a:gd name="connsiteX6" fmla="*/ 1673703 w 1997553"/>
                        <a:gd name="connsiteY6" fmla="*/ 243347 h 265972"/>
                        <a:gd name="connsiteX7" fmla="*/ 1673703 w 1997553"/>
                        <a:gd name="connsiteY7" fmla="*/ 244753 h 265972"/>
                        <a:gd name="connsiteX8" fmla="*/ 1972303 w 1997553"/>
                        <a:gd name="connsiteY8" fmla="*/ 244753 h 265972"/>
                        <a:gd name="connsiteX9" fmla="*/ 1972303 w 1997553"/>
                        <a:gd name="connsiteY9" fmla="*/ 23297 h 265972"/>
                        <a:gd name="connsiteX10" fmla="*/ 1890090 w 1997553"/>
                        <a:gd name="connsiteY10" fmla="*/ 23297 h 265972"/>
                        <a:gd name="connsiteX11" fmla="*/ 1890090 w 1997553"/>
                        <a:gd name="connsiteY11" fmla="*/ 22625 h 265972"/>
                        <a:gd name="connsiteX12" fmla="*/ 0 w 1997553"/>
                        <a:gd name="connsiteY12" fmla="*/ 0 h 265972"/>
                        <a:gd name="connsiteX13" fmla="*/ 1997553 w 1997553"/>
                        <a:gd name="connsiteY13" fmla="*/ 0 h 265972"/>
                        <a:gd name="connsiteX14" fmla="*/ 1997553 w 1997553"/>
                        <a:gd name="connsiteY14" fmla="*/ 265972 h 265972"/>
                        <a:gd name="connsiteX15" fmla="*/ 0 w 1997553"/>
                        <a:gd name="connsiteY15" fmla="*/ 265972 h 26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97553" h="265972">
                          <a:moveTo>
                            <a:pt x="107464" y="22625"/>
                          </a:moveTo>
                          <a:lnTo>
                            <a:pt x="107464" y="23297"/>
                          </a:lnTo>
                          <a:lnTo>
                            <a:pt x="30641" y="23297"/>
                          </a:lnTo>
                          <a:lnTo>
                            <a:pt x="30641" y="244753"/>
                          </a:lnTo>
                          <a:lnTo>
                            <a:pt x="329241" y="244753"/>
                          </a:lnTo>
                          <a:lnTo>
                            <a:pt x="329241" y="243347"/>
                          </a:lnTo>
                          <a:lnTo>
                            <a:pt x="1673703" y="243347"/>
                          </a:lnTo>
                          <a:lnTo>
                            <a:pt x="1673703" y="244753"/>
                          </a:lnTo>
                          <a:lnTo>
                            <a:pt x="1972303" y="244753"/>
                          </a:lnTo>
                          <a:lnTo>
                            <a:pt x="1972303" y="23297"/>
                          </a:lnTo>
                          <a:lnTo>
                            <a:pt x="1890090" y="23297"/>
                          </a:lnTo>
                          <a:lnTo>
                            <a:pt x="1890090" y="22625"/>
                          </a:lnTo>
                          <a:close/>
                          <a:moveTo>
                            <a:pt x="0" y="0"/>
                          </a:moveTo>
                          <a:lnTo>
                            <a:pt x="1997553" y="0"/>
                          </a:lnTo>
                          <a:lnTo>
                            <a:pt x="1997553" y="265972"/>
                          </a:lnTo>
                          <a:lnTo>
                            <a:pt x="0" y="26597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20" name="Freeform 619"/>
                    <p:cNvSpPr/>
                    <p:nvPr/>
                  </p:nvSpPr>
                  <p:spPr bwMode="auto">
                    <a:xfrm>
                      <a:off x="6417785" y="4386778"/>
                      <a:ext cx="1997553" cy="265972"/>
                    </a:xfrm>
                    <a:custGeom>
                      <a:avLst/>
                      <a:gdLst>
                        <a:gd name="connsiteX0" fmla="*/ 107464 w 1997553"/>
                        <a:gd name="connsiteY0" fmla="*/ 22625 h 265972"/>
                        <a:gd name="connsiteX1" fmla="*/ 107464 w 1997553"/>
                        <a:gd name="connsiteY1" fmla="*/ 23297 h 265972"/>
                        <a:gd name="connsiteX2" fmla="*/ 30641 w 1997553"/>
                        <a:gd name="connsiteY2" fmla="*/ 23297 h 265972"/>
                        <a:gd name="connsiteX3" fmla="*/ 30641 w 1997553"/>
                        <a:gd name="connsiteY3" fmla="*/ 244753 h 265972"/>
                        <a:gd name="connsiteX4" fmla="*/ 329241 w 1997553"/>
                        <a:gd name="connsiteY4" fmla="*/ 244753 h 265972"/>
                        <a:gd name="connsiteX5" fmla="*/ 329241 w 1997553"/>
                        <a:gd name="connsiteY5" fmla="*/ 243347 h 265972"/>
                        <a:gd name="connsiteX6" fmla="*/ 1673703 w 1997553"/>
                        <a:gd name="connsiteY6" fmla="*/ 243347 h 265972"/>
                        <a:gd name="connsiteX7" fmla="*/ 1673703 w 1997553"/>
                        <a:gd name="connsiteY7" fmla="*/ 244753 h 265972"/>
                        <a:gd name="connsiteX8" fmla="*/ 1972303 w 1997553"/>
                        <a:gd name="connsiteY8" fmla="*/ 244753 h 265972"/>
                        <a:gd name="connsiteX9" fmla="*/ 1972303 w 1997553"/>
                        <a:gd name="connsiteY9" fmla="*/ 23297 h 265972"/>
                        <a:gd name="connsiteX10" fmla="*/ 1890090 w 1997553"/>
                        <a:gd name="connsiteY10" fmla="*/ 23297 h 265972"/>
                        <a:gd name="connsiteX11" fmla="*/ 1890090 w 1997553"/>
                        <a:gd name="connsiteY11" fmla="*/ 22625 h 265972"/>
                        <a:gd name="connsiteX12" fmla="*/ 0 w 1997553"/>
                        <a:gd name="connsiteY12" fmla="*/ 0 h 265972"/>
                        <a:gd name="connsiteX13" fmla="*/ 1997553 w 1997553"/>
                        <a:gd name="connsiteY13" fmla="*/ 0 h 265972"/>
                        <a:gd name="connsiteX14" fmla="*/ 1997553 w 1997553"/>
                        <a:gd name="connsiteY14" fmla="*/ 265972 h 265972"/>
                        <a:gd name="connsiteX15" fmla="*/ 0 w 1997553"/>
                        <a:gd name="connsiteY15" fmla="*/ 265972 h 26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97553" h="265972">
                          <a:moveTo>
                            <a:pt x="107464" y="22625"/>
                          </a:moveTo>
                          <a:lnTo>
                            <a:pt x="107464" y="23297"/>
                          </a:lnTo>
                          <a:lnTo>
                            <a:pt x="30641" y="23297"/>
                          </a:lnTo>
                          <a:lnTo>
                            <a:pt x="30641" y="244753"/>
                          </a:lnTo>
                          <a:lnTo>
                            <a:pt x="329241" y="244753"/>
                          </a:lnTo>
                          <a:lnTo>
                            <a:pt x="329241" y="243347"/>
                          </a:lnTo>
                          <a:lnTo>
                            <a:pt x="1673703" y="243347"/>
                          </a:lnTo>
                          <a:lnTo>
                            <a:pt x="1673703" y="244753"/>
                          </a:lnTo>
                          <a:lnTo>
                            <a:pt x="1972303" y="244753"/>
                          </a:lnTo>
                          <a:lnTo>
                            <a:pt x="1972303" y="23297"/>
                          </a:lnTo>
                          <a:lnTo>
                            <a:pt x="1890090" y="23297"/>
                          </a:lnTo>
                          <a:lnTo>
                            <a:pt x="1890090" y="22625"/>
                          </a:lnTo>
                          <a:close/>
                          <a:moveTo>
                            <a:pt x="0" y="0"/>
                          </a:moveTo>
                          <a:lnTo>
                            <a:pt x="1997553" y="0"/>
                          </a:lnTo>
                          <a:lnTo>
                            <a:pt x="1997553" y="265972"/>
                          </a:lnTo>
                          <a:lnTo>
                            <a:pt x="0" y="26597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21" name="Freeform 620"/>
                    <p:cNvSpPr/>
                    <p:nvPr/>
                  </p:nvSpPr>
                  <p:spPr bwMode="auto">
                    <a:xfrm>
                      <a:off x="6417785" y="4679671"/>
                      <a:ext cx="1997553" cy="265972"/>
                    </a:xfrm>
                    <a:custGeom>
                      <a:avLst/>
                      <a:gdLst>
                        <a:gd name="connsiteX0" fmla="*/ 107464 w 1997553"/>
                        <a:gd name="connsiteY0" fmla="*/ 22625 h 265972"/>
                        <a:gd name="connsiteX1" fmla="*/ 107464 w 1997553"/>
                        <a:gd name="connsiteY1" fmla="*/ 23297 h 265972"/>
                        <a:gd name="connsiteX2" fmla="*/ 30641 w 1997553"/>
                        <a:gd name="connsiteY2" fmla="*/ 23297 h 265972"/>
                        <a:gd name="connsiteX3" fmla="*/ 30641 w 1997553"/>
                        <a:gd name="connsiteY3" fmla="*/ 244753 h 265972"/>
                        <a:gd name="connsiteX4" fmla="*/ 329241 w 1997553"/>
                        <a:gd name="connsiteY4" fmla="*/ 244753 h 265972"/>
                        <a:gd name="connsiteX5" fmla="*/ 329241 w 1997553"/>
                        <a:gd name="connsiteY5" fmla="*/ 243347 h 265972"/>
                        <a:gd name="connsiteX6" fmla="*/ 1673703 w 1997553"/>
                        <a:gd name="connsiteY6" fmla="*/ 243347 h 265972"/>
                        <a:gd name="connsiteX7" fmla="*/ 1673703 w 1997553"/>
                        <a:gd name="connsiteY7" fmla="*/ 244753 h 265972"/>
                        <a:gd name="connsiteX8" fmla="*/ 1972303 w 1997553"/>
                        <a:gd name="connsiteY8" fmla="*/ 244753 h 265972"/>
                        <a:gd name="connsiteX9" fmla="*/ 1972303 w 1997553"/>
                        <a:gd name="connsiteY9" fmla="*/ 23297 h 265972"/>
                        <a:gd name="connsiteX10" fmla="*/ 1890090 w 1997553"/>
                        <a:gd name="connsiteY10" fmla="*/ 23297 h 265972"/>
                        <a:gd name="connsiteX11" fmla="*/ 1890090 w 1997553"/>
                        <a:gd name="connsiteY11" fmla="*/ 22625 h 265972"/>
                        <a:gd name="connsiteX12" fmla="*/ 0 w 1997553"/>
                        <a:gd name="connsiteY12" fmla="*/ 0 h 265972"/>
                        <a:gd name="connsiteX13" fmla="*/ 1997553 w 1997553"/>
                        <a:gd name="connsiteY13" fmla="*/ 0 h 265972"/>
                        <a:gd name="connsiteX14" fmla="*/ 1997553 w 1997553"/>
                        <a:gd name="connsiteY14" fmla="*/ 265972 h 265972"/>
                        <a:gd name="connsiteX15" fmla="*/ 0 w 1997553"/>
                        <a:gd name="connsiteY15" fmla="*/ 265972 h 26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97553" h="265972">
                          <a:moveTo>
                            <a:pt x="107464" y="22625"/>
                          </a:moveTo>
                          <a:lnTo>
                            <a:pt x="107464" y="23297"/>
                          </a:lnTo>
                          <a:lnTo>
                            <a:pt x="30641" y="23297"/>
                          </a:lnTo>
                          <a:lnTo>
                            <a:pt x="30641" y="244753"/>
                          </a:lnTo>
                          <a:lnTo>
                            <a:pt x="329241" y="244753"/>
                          </a:lnTo>
                          <a:lnTo>
                            <a:pt x="329241" y="243347"/>
                          </a:lnTo>
                          <a:lnTo>
                            <a:pt x="1673703" y="243347"/>
                          </a:lnTo>
                          <a:lnTo>
                            <a:pt x="1673703" y="244753"/>
                          </a:lnTo>
                          <a:lnTo>
                            <a:pt x="1972303" y="244753"/>
                          </a:lnTo>
                          <a:lnTo>
                            <a:pt x="1972303" y="23297"/>
                          </a:lnTo>
                          <a:lnTo>
                            <a:pt x="1890090" y="23297"/>
                          </a:lnTo>
                          <a:lnTo>
                            <a:pt x="1890090" y="22625"/>
                          </a:lnTo>
                          <a:close/>
                          <a:moveTo>
                            <a:pt x="0" y="0"/>
                          </a:moveTo>
                          <a:lnTo>
                            <a:pt x="1997553" y="0"/>
                          </a:lnTo>
                          <a:lnTo>
                            <a:pt x="1997553" y="265972"/>
                          </a:lnTo>
                          <a:lnTo>
                            <a:pt x="0" y="26597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22" name="Freeform 621"/>
                    <p:cNvSpPr/>
                    <p:nvPr/>
                  </p:nvSpPr>
                  <p:spPr bwMode="auto">
                    <a:xfrm>
                      <a:off x="6417785" y="4972565"/>
                      <a:ext cx="1997553" cy="265972"/>
                    </a:xfrm>
                    <a:custGeom>
                      <a:avLst/>
                      <a:gdLst>
                        <a:gd name="connsiteX0" fmla="*/ 107464 w 1997553"/>
                        <a:gd name="connsiteY0" fmla="*/ 22625 h 265972"/>
                        <a:gd name="connsiteX1" fmla="*/ 107464 w 1997553"/>
                        <a:gd name="connsiteY1" fmla="*/ 23297 h 265972"/>
                        <a:gd name="connsiteX2" fmla="*/ 30641 w 1997553"/>
                        <a:gd name="connsiteY2" fmla="*/ 23297 h 265972"/>
                        <a:gd name="connsiteX3" fmla="*/ 30641 w 1997553"/>
                        <a:gd name="connsiteY3" fmla="*/ 244753 h 265972"/>
                        <a:gd name="connsiteX4" fmla="*/ 329241 w 1997553"/>
                        <a:gd name="connsiteY4" fmla="*/ 244753 h 265972"/>
                        <a:gd name="connsiteX5" fmla="*/ 329241 w 1997553"/>
                        <a:gd name="connsiteY5" fmla="*/ 243347 h 265972"/>
                        <a:gd name="connsiteX6" fmla="*/ 1673703 w 1997553"/>
                        <a:gd name="connsiteY6" fmla="*/ 243347 h 265972"/>
                        <a:gd name="connsiteX7" fmla="*/ 1673703 w 1997553"/>
                        <a:gd name="connsiteY7" fmla="*/ 244753 h 265972"/>
                        <a:gd name="connsiteX8" fmla="*/ 1972303 w 1997553"/>
                        <a:gd name="connsiteY8" fmla="*/ 244753 h 265972"/>
                        <a:gd name="connsiteX9" fmla="*/ 1972303 w 1997553"/>
                        <a:gd name="connsiteY9" fmla="*/ 23297 h 265972"/>
                        <a:gd name="connsiteX10" fmla="*/ 1890090 w 1997553"/>
                        <a:gd name="connsiteY10" fmla="*/ 23297 h 265972"/>
                        <a:gd name="connsiteX11" fmla="*/ 1890090 w 1997553"/>
                        <a:gd name="connsiteY11" fmla="*/ 22625 h 265972"/>
                        <a:gd name="connsiteX12" fmla="*/ 0 w 1997553"/>
                        <a:gd name="connsiteY12" fmla="*/ 0 h 265972"/>
                        <a:gd name="connsiteX13" fmla="*/ 1997553 w 1997553"/>
                        <a:gd name="connsiteY13" fmla="*/ 0 h 265972"/>
                        <a:gd name="connsiteX14" fmla="*/ 1997553 w 1997553"/>
                        <a:gd name="connsiteY14" fmla="*/ 265972 h 265972"/>
                        <a:gd name="connsiteX15" fmla="*/ 0 w 1997553"/>
                        <a:gd name="connsiteY15" fmla="*/ 265972 h 26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97553" h="265972">
                          <a:moveTo>
                            <a:pt x="107464" y="22625"/>
                          </a:moveTo>
                          <a:lnTo>
                            <a:pt x="107464" y="23297"/>
                          </a:lnTo>
                          <a:lnTo>
                            <a:pt x="30641" y="23297"/>
                          </a:lnTo>
                          <a:lnTo>
                            <a:pt x="30641" y="244753"/>
                          </a:lnTo>
                          <a:lnTo>
                            <a:pt x="329241" y="244753"/>
                          </a:lnTo>
                          <a:lnTo>
                            <a:pt x="329241" y="243347"/>
                          </a:lnTo>
                          <a:lnTo>
                            <a:pt x="1673703" y="243347"/>
                          </a:lnTo>
                          <a:lnTo>
                            <a:pt x="1673703" y="244753"/>
                          </a:lnTo>
                          <a:lnTo>
                            <a:pt x="1972303" y="244753"/>
                          </a:lnTo>
                          <a:lnTo>
                            <a:pt x="1972303" y="23297"/>
                          </a:lnTo>
                          <a:lnTo>
                            <a:pt x="1890090" y="23297"/>
                          </a:lnTo>
                          <a:lnTo>
                            <a:pt x="1890090" y="22625"/>
                          </a:lnTo>
                          <a:close/>
                          <a:moveTo>
                            <a:pt x="0" y="0"/>
                          </a:moveTo>
                          <a:lnTo>
                            <a:pt x="1997553" y="0"/>
                          </a:lnTo>
                          <a:lnTo>
                            <a:pt x="1997553" y="265972"/>
                          </a:lnTo>
                          <a:lnTo>
                            <a:pt x="0" y="26597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grpSp>
              <p:nvGrpSpPr>
                <p:cNvPr id="612" name="Group 611"/>
                <p:cNvGrpSpPr/>
                <p:nvPr/>
              </p:nvGrpSpPr>
              <p:grpSpPr>
                <a:xfrm>
                  <a:off x="8942871" y="3419465"/>
                  <a:ext cx="129692" cy="129569"/>
                  <a:chOff x="4432300" y="1766888"/>
                  <a:chExt cx="3324225" cy="3321050"/>
                </a:xfrm>
                <a:grpFill/>
              </p:grpSpPr>
              <p:sp>
                <p:nvSpPr>
                  <p:cNvPr id="615" name="Freeform 614"/>
                  <p:cNvSpPr>
                    <a:spLocks/>
                  </p:cNvSpPr>
                  <p:nvPr/>
                </p:nvSpPr>
                <p:spPr bwMode="auto">
                  <a:xfrm>
                    <a:off x="4432300" y="2167270"/>
                    <a:ext cx="2257425" cy="2920668"/>
                  </a:xfrm>
                  <a:custGeom>
                    <a:avLst/>
                    <a:gdLst>
                      <a:gd name="connsiteX0" fmla="*/ 194437 w 2257425"/>
                      <a:gd name="connsiteY0" fmla="*/ 122771 h 2920668"/>
                      <a:gd name="connsiteX1" fmla="*/ 121523 w 2257425"/>
                      <a:gd name="connsiteY1" fmla="*/ 195680 h 2920668"/>
                      <a:gd name="connsiteX2" fmla="*/ 121523 w 2257425"/>
                      <a:gd name="connsiteY2" fmla="*/ 2726243 h 2920668"/>
                      <a:gd name="connsiteX3" fmla="*/ 194437 w 2257425"/>
                      <a:gd name="connsiteY3" fmla="*/ 2799152 h 2920668"/>
                      <a:gd name="connsiteX4" fmla="*/ 2059814 w 2257425"/>
                      <a:gd name="connsiteY4" fmla="*/ 2799152 h 2920668"/>
                      <a:gd name="connsiteX5" fmla="*/ 2132727 w 2257425"/>
                      <a:gd name="connsiteY5" fmla="*/ 2726243 h 2920668"/>
                      <a:gd name="connsiteX6" fmla="*/ 2132727 w 2257425"/>
                      <a:gd name="connsiteY6" fmla="*/ 1078413 h 2920668"/>
                      <a:gd name="connsiteX7" fmla="*/ 2132727 w 2257425"/>
                      <a:gd name="connsiteY7" fmla="*/ 1054761 h 2920668"/>
                      <a:gd name="connsiteX8" fmla="*/ 2129823 w 2257425"/>
                      <a:gd name="connsiteY8" fmla="*/ 1055355 h 2920668"/>
                      <a:gd name="connsiteX9" fmla="*/ 2126785 w 2257425"/>
                      <a:gd name="connsiteY9" fmla="*/ 1055355 h 2920668"/>
                      <a:gd name="connsiteX10" fmla="*/ 2123747 w 2257425"/>
                      <a:gd name="connsiteY10" fmla="*/ 1055355 h 2920668"/>
                      <a:gd name="connsiteX11" fmla="*/ 1327752 w 2257425"/>
                      <a:gd name="connsiteY11" fmla="*/ 1055355 h 2920668"/>
                      <a:gd name="connsiteX12" fmla="*/ 1200150 w 2257425"/>
                      <a:gd name="connsiteY12" fmla="*/ 927704 h 2920668"/>
                      <a:gd name="connsiteX13" fmla="*/ 1200150 w 2257425"/>
                      <a:gd name="connsiteY13" fmla="*/ 128364 h 2920668"/>
                      <a:gd name="connsiteX14" fmla="*/ 1200966 w 2257425"/>
                      <a:gd name="connsiteY14" fmla="*/ 122771 h 2920668"/>
                      <a:gd name="connsiteX15" fmla="*/ 1128166 w 2257425"/>
                      <a:gd name="connsiteY15" fmla="*/ 122771 h 2920668"/>
                      <a:gd name="connsiteX16" fmla="*/ 194437 w 2257425"/>
                      <a:gd name="connsiteY16" fmla="*/ 122771 h 2920668"/>
                      <a:gd name="connsiteX17" fmla="*/ 1331572 w 2257425"/>
                      <a:gd name="connsiteY17" fmla="*/ 121972 h 2920668"/>
                      <a:gd name="connsiteX18" fmla="*/ 1327638 w 2257425"/>
                      <a:gd name="connsiteY18" fmla="*/ 122771 h 2920668"/>
                      <a:gd name="connsiteX19" fmla="*/ 1324994 w 2257425"/>
                      <a:gd name="connsiteY19" fmla="*/ 122771 h 2920668"/>
                      <a:gd name="connsiteX20" fmla="*/ 1322388 w 2257425"/>
                      <a:gd name="connsiteY20" fmla="*/ 127982 h 2920668"/>
                      <a:gd name="connsiteX21" fmla="*/ 1322388 w 2257425"/>
                      <a:gd name="connsiteY21" fmla="*/ 927042 h 2920668"/>
                      <a:gd name="connsiteX22" fmla="*/ 1328466 w 2257425"/>
                      <a:gd name="connsiteY22" fmla="*/ 933118 h 2920668"/>
                      <a:gd name="connsiteX23" fmla="*/ 2130699 w 2257425"/>
                      <a:gd name="connsiteY23" fmla="*/ 933118 h 2920668"/>
                      <a:gd name="connsiteX24" fmla="*/ 2132727 w 2257425"/>
                      <a:gd name="connsiteY24" fmla="*/ 931091 h 2920668"/>
                      <a:gd name="connsiteX25" fmla="*/ 2132727 w 2257425"/>
                      <a:gd name="connsiteY25" fmla="*/ 927812 h 2920668"/>
                      <a:gd name="connsiteX26" fmla="*/ 2134009 w 2257425"/>
                      <a:gd name="connsiteY26" fmla="*/ 921508 h 2920668"/>
                      <a:gd name="connsiteX27" fmla="*/ 2133737 w 2257425"/>
                      <a:gd name="connsiteY27" fmla="*/ 920965 h 2920668"/>
                      <a:gd name="connsiteX28" fmla="*/ 2127660 w 2257425"/>
                      <a:gd name="connsiteY28" fmla="*/ 917927 h 2920668"/>
                      <a:gd name="connsiteX29" fmla="*/ 1333060 w 2257425"/>
                      <a:gd name="connsiteY29" fmla="*/ 123460 h 2920668"/>
                      <a:gd name="connsiteX30" fmla="*/ 1315932 w 2257425"/>
                      <a:gd name="connsiteY30" fmla="*/ 0 h 2920668"/>
                      <a:gd name="connsiteX31" fmla="*/ 1325803 w 2257425"/>
                      <a:gd name="connsiteY31" fmla="*/ 1255 h 2920668"/>
                      <a:gd name="connsiteX32" fmla="*/ 1327638 w 2257425"/>
                      <a:gd name="connsiteY32" fmla="*/ 1255 h 2920668"/>
                      <a:gd name="connsiteX33" fmla="*/ 1330705 w 2257425"/>
                      <a:gd name="connsiteY33" fmla="*/ 1878 h 2920668"/>
                      <a:gd name="connsiteX34" fmla="*/ 1370138 w 2257425"/>
                      <a:gd name="connsiteY34" fmla="*/ 6892 h 2920668"/>
                      <a:gd name="connsiteX35" fmla="*/ 1418897 w 2257425"/>
                      <a:gd name="connsiteY35" fmla="*/ 37184 h 2920668"/>
                      <a:gd name="connsiteX36" fmla="*/ 2205777 w 2257425"/>
                      <a:gd name="connsiteY36" fmla="*/ 827406 h 2920668"/>
                      <a:gd name="connsiteX37" fmla="*/ 2257425 w 2257425"/>
                      <a:gd name="connsiteY37" fmla="*/ 927704 h 2920668"/>
                      <a:gd name="connsiteX38" fmla="*/ 2254250 w 2257425"/>
                      <a:gd name="connsiteY38" fmla="*/ 943227 h 2920668"/>
                      <a:gd name="connsiteX39" fmla="*/ 2254250 w 2257425"/>
                      <a:gd name="connsiteY39" fmla="*/ 1091201 h 2920668"/>
                      <a:gd name="connsiteX40" fmla="*/ 2254250 w 2257425"/>
                      <a:gd name="connsiteY40" fmla="*/ 2726243 h 2920668"/>
                      <a:gd name="connsiteX41" fmla="*/ 2059814 w 2257425"/>
                      <a:gd name="connsiteY41" fmla="*/ 2920668 h 2920668"/>
                      <a:gd name="connsiteX42" fmla="*/ 194437 w 2257425"/>
                      <a:gd name="connsiteY42" fmla="*/ 2920668 h 2920668"/>
                      <a:gd name="connsiteX43" fmla="*/ 0 w 2257425"/>
                      <a:gd name="connsiteY43" fmla="*/ 2726243 h 2920668"/>
                      <a:gd name="connsiteX44" fmla="*/ 0 w 2257425"/>
                      <a:gd name="connsiteY44" fmla="*/ 195680 h 2920668"/>
                      <a:gd name="connsiteX45" fmla="*/ 194437 w 2257425"/>
                      <a:gd name="connsiteY45" fmla="*/ 1255 h 2920668"/>
                      <a:gd name="connsiteX46" fmla="*/ 1309932 w 2257425"/>
                      <a:gd name="connsiteY46" fmla="*/ 1255 h 2920668"/>
                      <a:gd name="connsiteX47" fmla="*/ 1311235 w 2257425"/>
                      <a:gd name="connsiteY47" fmla="*/ 1255 h 29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57425" h="2920668">
                        <a:moveTo>
                          <a:pt x="194437" y="122771"/>
                        </a:moveTo>
                        <a:cubicBezTo>
                          <a:pt x="154942" y="122771"/>
                          <a:pt x="121523" y="153150"/>
                          <a:pt x="121523" y="195680"/>
                        </a:cubicBezTo>
                        <a:cubicBezTo>
                          <a:pt x="121523" y="2726243"/>
                          <a:pt x="121523" y="2726243"/>
                          <a:pt x="121523" y="2726243"/>
                        </a:cubicBezTo>
                        <a:cubicBezTo>
                          <a:pt x="121523" y="2768774"/>
                          <a:pt x="154942" y="2799152"/>
                          <a:pt x="194437" y="2799152"/>
                        </a:cubicBezTo>
                        <a:cubicBezTo>
                          <a:pt x="2059814" y="2799152"/>
                          <a:pt x="2059814" y="2799152"/>
                          <a:pt x="2059814" y="2799152"/>
                        </a:cubicBezTo>
                        <a:cubicBezTo>
                          <a:pt x="2099308" y="2799152"/>
                          <a:pt x="2132727" y="2768774"/>
                          <a:pt x="2132727" y="2726243"/>
                        </a:cubicBezTo>
                        <a:cubicBezTo>
                          <a:pt x="2132727" y="1714626"/>
                          <a:pt x="2132727" y="1272043"/>
                          <a:pt x="2132727" y="1078413"/>
                        </a:cubicBezTo>
                        <a:lnTo>
                          <a:pt x="2132727" y="1054761"/>
                        </a:lnTo>
                        <a:lnTo>
                          <a:pt x="2129823" y="1055355"/>
                        </a:lnTo>
                        <a:lnTo>
                          <a:pt x="2126785" y="1055355"/>
                        </a:lnTo>
                        <a:cubicBezTo>
                          <a:pt x="2123747" y="1055355"/>
                          <a:pt x="2123747" y="1055355"/>
                          <a:pt x="2123747" y="1055355"/>
                        </a:cubicBezTo>
                        <a:cubicBezTo>
                          <a:pt x="1327752" y="1055355"/>
                          <a:pt x="1327752" y="1055355"/>
                          <a:pt x="1327752" y="1055355"/>
                        </a:cubicBezTo>
                        <a:cubicBezTo>
                          <a:pt x="1257875" y="1055355"/>
                          <a:pt x="1200150" y="997608"/>
                          <a:pt x="1200150" y="927704"/>
                        </a:cubicBezTo>
                        <a:cubicBezTo>
                          <a:pt x="1200150" y="128364"/>
                          <a:pt x="1200150" y="128364"/>
                          <a:pt x="1200150" y="128364"/>
                        </a:cubicBezTo>
                        <a:lnTo>
                          <a:pt x="1200966" y="122771"/>
                        </a:lnTo>
                        <a:lnTo>
                          <a:pt x="1128166" y="122771"/>
                        </a:lnTo>
                        <a:cubicBezTo>
                          <a:pt x="194437" y="122771"/>
                          <a:pt x="194437" y="122771"/>
                          <a:pt x="194437" y="122771"/>
                        </a:cubicBezTo>
                        <a:close/>
                        <a:moveTo>
                          <a:pt x="1331572" y="121972"/>
                        </a:moveTo>
                        <a:lnTo>
                          <a:pt x="1327638" y="122771"/>
                        </a:lnTo>
                        <a:lnTo>
                          <a:pt x="1324994" y="122771"/>
                        </a:lnTo>
                        <a:lnTo>
                          <a:pt x="1322388" y="127982"/>
                        </a:lnTo>
                        <a:cubicBezTo>
                          <a:pt x="1322388" y="927042"/>
                          <a:pt x="1322388" y="927042"/>
                          <a:pt x="1322388" y="927042"/>
                        </a:cubicBezTo>
                        <a:cubicBezTo>
                          <a:pt x="1322388" y="930080"/>
                          <a:pt x="1325427" y="933118"/>
                          <a:pt x="1328466" y="933118"/>
                        </a:cubicBezTo>
                        <a:cubicBezTo>
                          <a:pt x="2130699" y="933118"/>
                          <a:pt x="2130699" y="933118"/>
                          <a:pt x="2130699" y="933118"/>
                        </a:cubicBezTo>
                        <a:lnTo>
                          <a:pt x="2132727" y="931091"/>
                        </a:lnTo>
                        <a:lnTo>
                          <a:pt x="2132727" y="927812"/>
                        </a:lnTo>
                        <a:lnTo>
                          <a:pt x="2134009" y="921508"/>
                        </a:lnTo>
                        <a:lnTo>
                          <a:pt x="2133737" y="920965"/>
                        </a:lnTo>
                        <a:cubicBezTo>
                          <a:pt x="2127660" y="917927"/>
                          <a:pt x="2127660" y="917927"/>
                          <a:pt x="2127660" y="917927"/>
                        </a:cubicBezTo>
                        <a:cubicBezTo>
                          <a:pt x="1431025" y="221408"/>
                          <a:pt x="1343945" y="134343"/>
                          <a:pt x="1333060" y="123460"/>
                        </a:cubicBezTo>
                        <a:close/>
                        <a:moveTo>
                          <a:pt x="1315932" y="0"/>
                        </a:moveTo>
                        <a:lnTo>
                          <a:pt x="1325803" y="1255"/>
                        </a:lnTo>
                        <a:lnTo>
                          <a:pt x="1327638" y="1255"/>
                        </a:lnTo>
                        <a:lnTo>
                          <a:pt x="1330705" y="1878"/>
                        </a:lnTo>
                        <a:lnTo>
                          <a:pt x="1370138" y="6892"/>
                        </a:lnTo>
                        <a:cubicBezTo>
                          <a:pt x="1387566" y="13249"/>
                          <a:pt x="1404086" y="23507"/>
                          <a:pt x="1418897" y="37184"/>
                        </a:cubicBezTo>
                        <a:cubicBezTo>
                          <a:pt x="2205777" y="827406"/>
                          <a:pt x="2205777" y="827406"/>
                          <a:pt x="2205777" y="827406"/>
                        </a:cubicBezTo>
                        <a:cubicBezTo>
                          <a:pt x="2239196" y="851721"/>
                          <a:pt x="2257425" y="888193"/>
                          <a:pt x="2257425" y="927704"/>
                        </a:cubicBezTo>
                        <a:lnTo>
                          <a:pt x="2254250" y="943227"/>
                        </a:lnTo>
                        <a:lnTo>
                          <a:pt x="2254250" y="1091201"/>
                        </a:lnTo>
                        <a:cubicBezTo>
                          <a:pt x="2254250" y="2726243"/>
                          <a:pt x="2254250" y="2726243"/>
                          <a:pt x="2254250" y="2726243"/>
                        </a:cubicBezTo>
                        <a:cubicBezTo>
                          <a:pt x="2254250" y="2835607"/>
                          <a:pt x="2166146" y="2920668"/>
                          <a:pt x="2059814" y="2920668"/>
                        </a:cubicBezTo>
                        <a:cubicBezTo>
                          <a:pt x="194437" y="2920668"/>
                          <a:pt x="194437" y="2920668"/>
                          <a:pt x="194437" y="2920668"/>
                        </a:cubicBezTo>
                        <a:cubicBezTo>
                          <a:pt x="88104" y="2920668"/>
                          <a:pt x="0" y="2835607"/>
                          <a:pt x="0" y="2726243"/>
                        </a:cubicBezTo>
                        <a:cubicBezTo>
                          <a:pt x="0" y="195680"/>
                          <a:pt x="0" y="195680"/>
                          <a:pt x="0" y="195680"/>
                        </a:cubicBezTo>
                        <a:cubicBezTo>
                          <a:pt x="0" y="86316"/>
                          <a:pt x="88104" y="1255"/>
                          <a:pt x="194437" y="1255"/>
                        </a:cubicBezTo>
                        <a:cubicBezTo>
                          <a:pt x="1044338" y="1255"/>
                          <a:pt x="1256813" y="1255"/>
                          <a:pt x="1309932" y="1255"/>
                        </a:cubicBezTo>
                        <a:lnTo>
                          <a:pt x="1311235" y="12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616" name="Freeform 615"/>
                  <p:cNvSpPr>
                    <a:spLocks/>
                  </p:cNvSpPr>
                  <p:nvPr/>
                </p:nvSpPr>
                <p:spPr bwMode="auto">
                  <a:xfrm>
                    <a:off x="5499100" y="1766888"/>
                    <a:ext cx="2257425" cy="2922588"/>
                  </a:xfrm>
                  <a:custGeom>
                    <a:avLst/>
                    <a:gdLst>
                      <a:gd name="connsiteX0" fmla="*/ 1323839 w 2257425"/>
                      <a:gd name="connsiteY0" fmla="*/ 122238 h 2922588"/>
                      <a:gd name="connsiteX1" fmla="*/ 1320800 w 2257425"/>
                      <a:gd name="connsiteY1" fmla="*/ 128315 h 2922588"/>
                      <a:gd name="connsiteX2" fmla="*/ 1320800 w 2257425"/>
                      <a:gd name="connsiteY2" fmla="*/ 927375 h 2922588"/>
                      <a:gd name="connsiteX3" fmla="*/ 1326878 w 2257425"/>
                      <a:gd name="connsiteY3" fmla="*/ 933451 h 2922588"/>
                      <a:gd name="connsiteX4" fmla="*/ 2129111 w 2257425"/>
                      <a:gd name="connsiteY4" fmla="*/ 933451 h 2922588"/>
                      <a:gd name="connsiteX5" fmla="*/ 2132699 w 2257425"/>
                      <a:gd name="connsiteY5" fmla="*/ 929864 h 2922588"/>
                      <a:gd name="connsiteX6" fmla="*/ 2132699 w 2257425"/>
                      <a:gd name="connsiteY6" fmla="*/ 927508 h 2922588"/>
                      <a:gd name="connsiteX7" fmla="*/ 2133142 w 2257425"/>
                      <a:gd name="connsiteY7" fmla="*/ 925329 h 2922588"/>
                      <a:gd name="connsiteX8" fmla="*/ 2132149 w 2257425"/>
                      <a:gd name="connsiteY8" fmla="*/ 924336 h 2922588"/>
                      <a:gd name="connsiteX9" fmla="*/ 2126072 w 2257425"/>
                      <a:gd name="connsiteY9" fmla="*/ 921298 h 2922588"/>
                      <a:gd name="connsiteX10" fmla="*/ 1329917 w 2257425"/>
                      <a:gd name="connsiteY10" fmla="*/ 125276 h 2922588"/>
                      <a:gd name="connsiteX11" fmla="*/ 1326878 w 2257425"/>
                      <a:gd name="connsiteY11" fmla="*/ 122238 h 2922588"/>
                      <a:gd name="connsiteX12" fmla="*/ 1323839 w 2257425"/>
                      <a:gd name="connsiteY12" fmla="*/ 122238 h 2922588"/>
                      <a:gd name="connsiteX13" fmla="*/ 194307 w 2257425"/>
                      <a:gd name="connsiteY13" fmla="*/ 0 h 2922588"/>
                      <a:gd name="connsiteX14" fmla="*/ 1326754 w 2257425"/>
                      <a:gd name="connsiteY14" fmla="*/ 0 h 2922588"/>
                      <a:gd name="connsiteX15" fmla="*/ 1342448 w 2257425"/>
                      <a:gd name="connsiteY15" fmla="*/ 3196 h 2922588"/>
                      <a:gd name="connsiteX16" fmla="*/ 1371473 w 2257425"/>
                      <a:gd name="connsiteY16" fmla="*/ 6572 h 2922588"/>
                      <a:gd name="connsiteX17" fmla="*/ 1418897 w 2257425"/>
                      <a:gd name="connsiteY17" fmla="*/ 36059 h 2922588"/>
                      <a:gd name="connsiteX18" fmla="*/ 2208815 w 2257425"/>
                      <a:gd name="connsiteY18" fmla="*/ 826181 h 2922588"/>
                      <a:gd name="connsiteX19" fmla="*/ 2257425 w 2257425"/>
                      <a:gd name="connsiteY19" fmla="*/ 926465 h 2922588"/>
                      <a:gd name="connsiteX20" fmla="*/ 2254250 w 2257425"/>
                      <a:gd name="connsiteY20" fmla="*/ 942060 h 2922588"/>
                      <a:gd name="connsiteX21" fmla="*/ 2254250 w 2257425"/>
                      <a:gd name="connsiteY21" fmla="*/ 1091106 h 2922588"/>
                      <a:gd name="connsiteX22" fmla="*/ 2254250 w 2257425"/>
                      <a:gd name="connsiteY22" fmla="*/ 2728242 h 2922588"/>
                      <a:gd name="connsiteX23" fmla="*/ 2059768 w 2257425"/>
                      <a:gd name="connsiteY23" fmla="*/ 2922588 h 2922588"/>
                      <a:gd name="connsiteX24" fmla="*/ 1394276 w 2257425"/>
                      <a:gd name="connsiteY24" fmla="*/ 2922588 h 2922588"/>
                      <a:gd name="connsiteX25" fmla="*/ 1333500 w 2257425"/>
                      <a:gd name="connsiteY25" fmla="*/ 2861855 h 2922588"/>
                      <a:gd name="connsiteX26" fmla="*/ 1394276 w 2257425"/>
                      <a:gd name="connsiteY26" fmla="*/ 2801122 h 2922588"/>
                      <a:gd name="connsiteX27" fmla="*/ 2059768 w 2257425"/>
                      <a:gd name="connsiteY27" fmla="*/ 2801122 h 2922588"/>
                      <a:gd name="connsiteX28" fmla="*/ 2132699 w 2257425"/>
                      <a:gd name="connsiteY28" fmla="*/ 2728242 h 2922588"/>
                      <a:gd name="connsiteX29" fmla="*/ 2132699 w 2257425"/>
                      <a:gd name="connsiteY29" fmla="*/ 1078302 h 2922588"/>
                      <a:gd name="connsiteX30" fmla="*/ 2132699 w 2257425"/>
                      <a:gd name="connsiteY30" fmla="*/ 1054100 h 2922588"/>
                      <a:gd name="connsiteX31" fmla="*/ 2129823 w 2257425"/>
                      <a:gd name="connsiteY31" fmla="*/ 1054100 h 2922588"/>
                      <a:gd name="connsiteX32" fmla="*/ 2126785 w 2257425"/>
                      <a:gd name="connsiteY32" fmla="*/ 1054100 h 2922588"/>
                      <a:gd name="connsiteX33" fmla="*/ 1327752 w 2257425"/>
                      <a:gd name="connsiteY33" fmla="*/ 1054100 h 2922588"/>
                      <a:gd name="connsiteX34" fmla="*/ 1200150 w 2257425"/>
                      <a:gd name="connsiteY34" fmla="*/ 926465 h 2922588"/>
                      <a:gd name="connsiteX35" fmla="*/ 1200150 w 2257425"/>
                      <a:gd name="connsiteY35" fmla="*/ 127227 h 2922588"/>
                      <a:gd name="connsiteX36" fmla="*/ 1201811 w 2257425"/>
                      <a:gd name="connsiteY36" fmla="*/ 121709 h 2922588"/>
                      <a:gd name="connsiteX37" fmla="*/ 1127415 w 2257425"/>
                      <a:gd name="connsiteY37" fmla="*/ 121709 h 2922588"/>
                      <a:gd name="connsiteX38" fmla="*/ 194307 w 2257425"/>
                      <a:gd name="connsiteY38" fmla="*/ 121709 h 2922588"/>
                      <a:gd name="connsiteX39" fmla="*/ 121442 w 2257425"/>
                      <a:gd name="connsiteY39" fmla="*/ 161264 h 2922588"/>
                      <a:gd name="connsiteX40" fmla="*/ 121442 w 2257425"/>
                      <a:gd name="connsiteY40" fmla="*/ 194734 h 2922588"/>
                      <a:gd name="connsiteX41" fmla="*/ 60721 w 2257425"/>
                      <a:gd name="connsiteY41" fmla="*/ 255588 h 2922588"/>
                      <a:gd name="connsiteX42" fmla="*/ 0 w 2257425"/>
                      <a:gd name="connsiteY42" fmla="*/ 194734 h 2922588"/>
                      <a:gd name="connsiteX43" fmla="*/ 0 w 2257425"/>
                      <a:gd name="connsiteY43" fmla="*/ 161264 h 2922588"/>
                      <a:gd name="connsiteX44" fmla="*/ 194307 w 2257425"/>
                      <a:gd name="connsiteY44" fmla="*/ 0 h 2922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257425" h="2922588">
                        <a:moveTo>
                          <a:pt x="1323839" y="122238"/>
                        </a:moveTo>
                        <a:cubicBezTo>
                          <a:pt x="1320800" y="122238"/>
                          <a:pt x="1320800" y="125276"/>
                          <a:pt x="1320800" y="128315"/>
                        </a:cubicBezTo>
                        <a:cubicBezTo>
                          <a:pt x="1320800" y="927375"/>
                          <a:pt x="1320800" y="927375"/>
                          <a:pt x="1320800" y="927375"/>
                        </a:cubicBezTo>
                        <a:cubicBezTo>
                          <a:pt x="1320800" y="930413"/>
                          <a:pt x="1323839" y="933451"/>
                          <a:pt x="1326878" y="933451"/>
                        </a:cubicBezTo>
                        <a:cubicBezTo>
                          <a:pt x="2129111" y="933451"/>
                          <a:pt x="2129111" y="933451"/>
                          <a:pt x="2129111" y="933451"/>
                        </a:cubicBezTo>
                        <a:lnTo>
                          <a:pt x="2132699" y="929864"/>
                        </a:lnTo>
                        <a:lnTo>
                          <a:pt x="2132699" y="927508"/>
                        </a:lnTo>
                        <a:lnTo>
                          <a:pt x="2133142" y="925329"/>
                        </a:lnTo>
                        <a:lnTo>
                          <a:pt x="2132149" y="924336"/>
                        </a:lnTo>
                        <a:cubicBezTo>
                          <a:pt x="2126072" y="921298"/>
                          <a:pt x="2126072" y="921298"/>
                          <a:pt x="2126072" y="921298"/>
                        </a:cubicBezTo>
                        <a:cubicBezTo>
                          <a:pt x="1329917" y="125276"/>
                          <a:pt x="1329917" y="125276"/>
                          <a:pt x="1329917" y="125276"/>
                        </a:cubicBezTo>
                        <a:cubicBezTo>
                          <a:pt x="1329917" y="122238"/>
                          <a:pt x="1326878" y="122238"/>
                          <a:pt x="1326878" y="122238"/>
                        </a:cubicBezTo>
                        <a:cubicBezTo>
                          <a:pt x="1326878" y="122238"/>
                          <a:pt x="1323839" y="122238"/>
                          <a:pt x="1323839" y="122238"/>
                        </a:cubicBezTo>
                        <a:close/>
                        <a:moveTo>
                          <a:pt x="194307" y="0"/>
                        </a:moveTo>
                        <a:cubicBezTo>
                          <a:pt x="1326754" y="0"/>
                          <a:pt x="1326754" y="0"/>
                          <a:pt x="1326754" y="0"/>
                        </a:cubicBezTo>
                        <a:lnTo>
                          <a:pt x="1342448" y="3196"/>
                        </a:lnTo>
                        <a:lnTo>
                          <a:pt x="1371473" y="6572"/>
                        </a:lnTo>
                        <a:cubicBezTo>
                          <a:pt x="1388990" y="12555"/>
                          <a:pt x="1405226" y="22384"/>
                          <a:pt x="1418897" y="36059"/>
                        </a:cubicBezTo>
                        <a:cubicBezTo>
                          <a:pt x="2208815" y="826181"/>
                          <a:pt x="2208815" y="826181"/>
                          <a:pt x="2208815" y="826181"/>
                        </a:cubicBezTo>
                        <a:cubicBezTo>
                          <a:pt x="2239196" y="850492"/>
                          <a:pt x="2257425" y="886959"/>
                          <a:pt x="2257425" y="926465"/>
                        </a:cubicBezTo>
                        <a:lnTo>
                          <a:pt x="2254250" y="942060"/>
                        </a:lnTo>
                        <a:lnTo>
                          <a:pt x="2254250" y="1091106"/>
                        </a:lnTo>
                        <a:cubicBezTo>
                          <a:pt x="2254250" y="2728242"/>
                          <a:pt x="2254250" y="2728242"/>
                          <a:pt x="2254250" y="2728242"/>
                        </a:cubicBezTo>
                        <a:cubicBezTo>
                          <a:pt x="2254250" y="2834525"/>
                          <a:pt x="2169164" y="2922588"/>
                          <a:pt x="2059768" y="2922588"/>
                        </a:cubicBezTo>
                        <a:cubicBezTo>
                          <a:pt x="1394276" y="2922588"/>
                          <a:pt x="1394276" y="2922588"/>
                          <a:pt x="1394276" y="2922588"/>
                        </a:cubicBezTo>
                        <a:cubicBezTo>
                          <a:pt x="1360849" y="2922588"/>
                          <a:pt x="1333500" y="2895258"/>
                          <a:pt x="1333500" y="2861855"/>
                        </a:cubicBezTo>
                        <a:cubicBezTo>
                          <a:pt x="1333500" y="2828452"/>
                          <a:pt x="1360849" y="2801122"/>
                          <a:pt x="1394276" y="2801122"/>
                        </a:cubicBezTo>
                        <a:cubicBezTo>
                          <a:pt x="2059768" y="2801122"/>
                          <a:pt x="2059768" y="2801122"/>
                          <a:pt x="2059768" y="2801122"/>
                        </a:cubicBezTo>
                        <a:cubicBezTo>
                          <a:pt x="2102311" y="2801122"/>
                          <a:pt x="2132699" y="2767719"/>
                          <a:pt x="2132699" y="2728242"/>
                        </a:cubicBezTo>
                        <a:cubicBezTo>
                          <a:pt x="2132699" y="1715329"/>
                          <a:pt x="2132699" y="1272180"/>
                          <a:pt x="2132699" y="1078302"/>
                        </a:cubicBezTo>
                        <a:lnTo>
                          <a:pt x="2132699" y="1054100"/>
                        </a:lnTo>
                        <a:lnTo>
                          <a:pt x="2129823" y="1054100"/>
                        </a:lnTo>
                        <a:cubicBezTo>
                          <a:pt x="2126785" y="1054100"/>
                          <a:pt x="2126785" y="1054100"/>
                          <a:pt x="2126785" y="1054100"/>
                        </a:cubicBezTo>
                        <a:cubicBezTo>
                          <a:pt x="1327752" y="1054100"/>
                          <a:pt x="1327752" y="1054100"/>
                          <a:pt x="1327752" y="1054100"/>
                        </a:cubicBezTo>
                        <a:cubicBezTo>
                          <a:pt x="1257875" y="1054100"/>
                          <a:pt x="1200150" y="996361"/>
                          <a:pt x="1200150" y="926465"/>
                        </a:cubicBezTo>
                        <a:cubicBezTo>
                          <a:pt x="1200150" y="127227"/>
                          <a:pt x="1200150" y="127227"/>
                          <a:pt x="1200150" y="127227"/>
                        </a:cubicBezTo>
                        <a:lnTo>
                          <a:pt x="1201811" y="121709"/>
                        </a:lnTo>
                        <a:lnTo>
                          <a:pt x="1127415" y="121709"/>
                        </a:lnTo>
                        <a:cubicBezTo>
                          <a:pt x="194307" y="121709"/>
                          <a:pt x="194307" y="121709"/>
                          <a:pt x="194307" y="121709"/>
                        </a:cubicBezTo>
                        <a:cubicBezTo>
                          <a:pt x="154839" y="121709"/>
                          <a:pt x="121442" y="139965"/>
                          <a:pt x="121442" y="161264"/>
                        </a:cubicBezTo>
                        <a:cubicBezTo>
                          <a:pt x="121442" y="194734"/>
                          <a:pt x="121442" y="194734"/>
                          <a:pt x="121442" y="194734"/>
                        </a:cubicBezTo>
                        <a:cubicBezTo>
                          <a:pt x="121442" y="228204"/>
                          <a:pt x="94118" y="255588"/>
                          <a:pt x="60721" y="255588"/>
                        </a:cubicBezTo>
                        <a:cubicBezTo>
                          <a:pt x="27325" y="255588"/>
                          <a:pt x="0" y="228204"/>
                          <a:pt x="0" y="194734"/>
                        </a:cubicBezTo>
                        <a:cubicBezTo>
                          <a:pt x="0" y="161264"/>
                          <a:pt x="0" y="161264"/>
                          <a:pt x="0" y="161264"/>
                        </a:cubicBezTo>
                        <a:cubicBezTo>
                          <a:pt x="0" y="69982"/>
                          <a:pt x="81974" y="0"/>
                          <a:pt x="194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grpSp>
            <p:sp>
              <p:nvSpPr>
                <p:cNvPr id="613" name="Freeform 612"/>
                <p:cNvSpPr/>
                <p:nvPr/>
              </p:nvSpPr>
              <p:spPr bwMode="auto">
                <a:xfrm>
                  <a:off x="8888251" y="3309938"/>
                  <a:ext cx="129698" cy="103187"/>
                </a:xfrm>
                <a:custGeom>
                  <a:avLst/>
                  <a:gdLst>
                    <a:gd name="connsiteX0" fmla="*/ 0 w 521494"/>
                    <a:gd name="connsiteY0" fmla="*/ 0 h 76200"/>
                    <a:gd name="connsiteX1" fmla="*/ 285750 w 521494"/>
                    <a:gd name="connsiteY1" fmla="*/ 0 h 76200"/>
                    <a:gd name="connsiteX2" fmla="*/ 285750 w 521494"/>
                    <a:gd name="connsiteY2" fmla="*/ 76200 h 76200"/>
                    <a:gd name="connsiteX3" fmla="*/ 521494 w 521494"/>
                    <a:gd name="connsiteY3" fmla="*/ 76200 h 76200"/>
                    <a:gd name="connsiteX0" fmla="*/ 0 w 285750"/>
                    <a:gd name="connsiteY0" fmla="*/ 0 h 76200"/>
                    <a:gd name="connsiteX1" fmla="*/ 285750 w 285750"/>
                    <a:gd name="connsiteY1" fmla="*/ 0 h 76200"/>
                    <a:gd name="connsiteX2" fmla="*/ 285750 w 285750"/>
                    <a:gd name="connsiteY2" fmla="*/ 76200 h 76200"/>
                  </a:gdLst>
                  <a:ahLst/>
                  <a:cxnLst>
                    <a:cxn ang="0">
                      <a:pos x="connsiteX0" y="connsiteY0"/>
                    </a:cxn>
                    <a:cxn ang="0">
                      <a:pos x="connsiteX1" y="connsiteY1"/>
                    </a:cxn>
                    <a:cxn ang="0">
                      <a:pos x="connsiteX2" y="connsiteY2"/>
                    </a:cxn>
                  </a:cxnLst>
                  <a:rect l="l" t="t" r="r" b="b"/>
                  <a:pathLst>
                    <a:path w="285750" h="76200">
                      <a:moveTo>
                        <a:pt x="0" y="0"/>
                      </a:moveTo>
                      <a:lnTo>
                        <a:pt x="285750" y="0"/>
                      </a:lnTo>
                      <a:lnTo>
                        <a:pt x="285750" y="76200"/>
                      </a:lnTo>
                    </a:path>
                  </a:pathLst>
                </a:custGeom>
                <a:grpFill/>
                <a:ln w="31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614" name="Isosceles Triangle 613"/>
                <p:cNvSpPr/>
                <p:nvPr/>
              </p:nvSpPr>
              <p:spPr bwMode="auto">
                <a:xfrm rot="10800000">
                  <a:off x="8996046" y="3376404"/>
                  <a:ext cx="45719" cy="40640"/>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cxnSp>
            <p:nvCxnSpPr>
              <p:cNvPr id="591" name="Straight Connector 590"/>
              <p:cNvCxnSpPr/>
              <p:nvPr/>
            </p:nvCxnSpPr>
            <p:spPr>
              <a:xfrm>
                <a:off x="7971476" y="3692366"/>
                <a:ext cx="1093206" cy="0"/>
              </a:xfrm>
              <a:prstGeom prst="line">
                <a:avLst/>
              </a:prstGeom>
              <a:grpFill/>
              <a:ln>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92" name="Group 591"/>
              <p:cNvGrpSpPr/>
              <p:nvPr/>
            </p:nvGrpSpPr>
            <p:grpSpPr>
              <a:xfrm>
                <a:off x="8620696" y="3720983"/>
                <a:ext cx="218503" cy="245406"/>
                <a:chOff x="3104286" y="1336108"/>
                <a:chExt cx="4649064" cy="5221480"/>
              </a:xfrm>
              <a:grpFill/>
            </p:grpSpPr>
            <p:sp>
              <p:nvSpPr>
                <p:cNvPr id="593" name="Freeform 592"/>
                <p:cNvSpPr>
                  <a:spLocks/>
                </p:cNvSpPr>
                <p:nvPr/>
              </p:nvSpPr>
              <p:spPr bwMode="auto">
                <a:xfrm>
                  <a:off x="3104286" y="1336108"/>
                  <a:ext cx="4045814" cy="5221480"/>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7160" rIns="0" bIns="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chemeClr val="accent2">
                        <a:lumMod val="75000"/>
                      </a:schemeClr>
                    </a:solidFill>
                    <a:effectLst/>
                    <a:uLnTx/>
                    <a:uFillTx/>
                  </a:endParaRPr>
                </a:p>
              </p:txBody>
            </p:sp>
            <p:grpSp>
              <p:nvGrpSpPr>
                <p:cNvPr id="594" name="Group 593"/>
                <p:cNvGrpSpPr/>
                <p:nvPr/>
              </p:nvGrpSpPr>
              <p:grpSpPr>
                <a:xfrm>
                  <a:off x="3248025" y="3081906"/>
                  <a:ext cx="4505325" cy="2741835"/>
                  <a:chOff x="3248025" y="3081906"/>
                  <a:chExt cx="4505325" cy="2741835"/>
                </a:xfrm>
                <a:grpFill/>
              </p:grpSpPr>
              <p:grpSp>
                <p:nvGrpSpPr>
                  <p:cNvPr id="595" name="Group 594"/>
                  <p:cNvGrpSpPr/>
                  <p:nvPr/>
                </p:nvGrpSpPr>
                <p:grpSpPr>
                  <a:xfrm>
                    <a:off x="3248025" y="3081906"/>
                    <a:ext cx="3993352" cy="2741835"/>
                    <a:chOff x="3248025" y="3081906"/>
                    <a:chExt cx="3993352" cy="2741835"/>
                  </a:xfrm>
                  <a:grpFill/>
                </p:grpSpPr>
                <p:sp>
                  <p:nvSpPr>
                    <p:cNvPr id="597" name="Rectangle 596"/>
                    <p:cNvSpPr/>
                    <p:nvPr/>
                  </p:nvSpPr>
                  <p:spPr bwMode="auto">
                    <a:xfrm>
                      <a:off x="3248025" y="4695824"/>
                      <a:ext cx="1416050"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598" name="Rectangle 597"/>
                    <p:cNvSpPr/>
                    <p:nvPr/>
                  </p:nvSpPr>
                  <p:spPr bwMode="auto">
                    <a:xfrm>
                      <a:off x="3644899" y="5003799"/>
                      <a:ext cx="2613025"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599" name="Rectangle 598"/>
                    <p:cNvSpPr/>
                    <p:nvPr/>
                  </p:nvSpPr>
                  <p:spPr bwMode="auto">
                    <a:xfrm>
                      <a:off x="3595689" y="3446461"/>
                      <a:ext cx="2662236"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00" name="Rectangle 599"/>
                    <p:cNvSpPr/>
                    <p:nvPr/>
                  </p:nvSpPr>
                  <p:spPr bwMode="auto">
                    <a:xfrm>
                      <a:off x="3591716" y="3789361"/>
                      <a:ext cx="3649661"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01" name="Rectangle 600"/>
                    <p:cNvSpPr/>
                    <p:nvPr/>
                  </p:nvSpPr>
                  <p:spPr bwMode="auto">
                    <a:xfrm rot="16200000">
                      <a:off x="3924698" y="4486669"/>
                      <a:ext cx="2521742"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02" name="Rectangle 601"/>
                    <p:cNvSpPr/>
                    <p:nvPr/>
                  </p:nvSpPr>
                  <p:spPr bwMode="auto">
                    <a:xfrm rot="16200000">
                      <a:off x="5334002" y="4225130"/>
                      <a:ext cx="1709739"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03" name="Rectangle 602"/>
                    <p:cNvSpPr/>
                    <p:nvPr/>
                  </p:nvSpPr>
                  <p:spPr bwMode="auto">
                    <a:xfrm rot="16200000">
                      <a:off x="4082259" y="5183185"/>
                      <a:ext cx="1127126"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04" name="Rectangle 603"/>
                    <p:cNvSpPr/>
                    <p:nvPr/>
                  </p:nvSpPr>
                  <p:spPr bwMode="auto">
                    <a:xfrm>
                      <a:off x="4569621" y="5670548"/>
                      <a:ext cx="692149"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05" name="Rectangle 604"/>
                    <p:cNvSpPr/>
                    <p:nvPr/>
                  </p:nvSpPr>
                  <p:spPr bwMode="auto">
                    <a:xfrm rot="18627450">
                      <a:off x="3310979" y="4132943"/>
                      <a:ext cx="2254475"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06" name="Rectangle 605"/>
                    <p:cNvSpPr/>
                    <p:nvPr/>
                  </p:nvSpPr>
                  <p:spPr bwMode="auto">
                    <a:xfrm rot="5400000">
                      <a:off x="3425426" y="3623071"/>
                      <a:ext cx="484981"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sp>
                <p:nvSpPr>
                  <p:cNvPr id="596" name="Isosceles Triangle 595"/>
                  <p:cNvSpPr/>
                  <p:nvPr/>
                </p:nvSpPr>
                <p:spPr bwMode="auto">
                  <a:xfrm rot="5400000">
                    <a:off x="7156450" y="3606800"/>
                    <a:ext cx="679450" cy="514350"/>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grpSp>
        <p:grpSp>
          <p:nvGrpSpPr>
            <p:cNvPr id="629" name="Group 628"/>
            <p:cNvGrpSpPr/>
            <p:nvPr/>
          </p:nvGrpSpPr>
          <p:grpSpPr>
            <a:xfrm>
              <a:off x="12826688" y="2729082"/>
              <a:ext cx="1329176" cy="1329176"/>
              <a:chOff x="9376400" y="2729082"/>
              <a:chExt cx="1329176" cy="1329176"/>
            </a:xfrm>
            <a:grpFill/>
          </p:grpSpPr>
          <p:sp>
            <p:nvSpPr>
              <p:cNvPr id="630" name="Oval 629"/>
              <p:cNvSpPr/>
              <p:nvPr/>
            </p:nvSpPr>
            <p:spPr bwMode="auto">
              <a:xfrm>
                <a:off x="9376400" y="2729082"/>
                <a:ext cx="1329176" cy="1329176"/>
              </a:xfrm>
              <a:prstGeom prst="ellipse">
                <a:avLst/>
              </a:prstGeom>
              <a:noFill/>
              <a:ln w="19050">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1005840" numCol="1" rtlCol="0" anchor="t"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accent2">
                        <a:lumMod val="75000"/>
                      </a:schemeClr>
                    </a:solidFill>
                    <a:effectLst/>
                    <a:uLnTx/>
                    <a:uFillTx/>
                  </a:rPr>
                  <a:t>PUBLISH</a:t>
                </a:r>
              </a:p>
            </p:txBody>
          </p:sp>
          <p:sp>
            <p:nvSpPr>
              <p:cNvPr id="631" name="Freeform 630"/>
              <p:cNvSpPr>
                <a:spLocks/>
              </p:cNvSpPr>
              <p:nvPr/>
            </p:nvSpPr>
            <p:spPr bwMode="auto">
              <a:xfrm>
                <a:off x="9610344" y="3142917"/>
                <a:ext cx="419729" cy="238955"/>
              </a:xfrm>
              <a:custGeom>
                <a:avLst/>
                <a:gdLst>
                  <a:gd name="connsiteX0" fmla="*/ 1624088 w 3848100"/>
                  <a:gd name="connsiteY0" fmla="*/ 122238 h 2190750"/>
                  <a:gd name="connsiteX1" fmla="*/ 861739 w 3848100"/>
                  <a:gd name="connsiteY1" fmla="*/ 624012 h 2190750"/>
                  <a:gd name="connsiteX2" fmla="*/ 816180 w 3848100"/>
                  <a:gd name="connsiteY2" fmla="*/ 769983 h 2190750"/>
                  <a:gd name="connsiteX3" fmla="*/ 755435 w 3848100"/>
                  <a:gd name="connsiteY3" fmla="*/ 812558 h 2190750"/>
                  <a:gd name="connsiteX4" fmla="*/ 749360 w 3848100"/>
                  <a:gd name="connsiteY4" fmla="*/ 812558 h 2190750"/>
                  <a:gd name="connsiteX5" fmla="*/ 120650 w 3848100"/>
                  <a:gd name="connsiteY5" fmla="*/ 1442056 h 2190750"/>
                  <a:gd name="connsiteX6" fmla="*/ 685578 w 3848100"/>
                  <a:gd name="connsiteY6" fmla="*/ 2065472 h 2190750"/>
                  <a:gd name="connsiteX7" fmla="*/ 740249 w 3848100"/>
                  <a:gd name="connsiteY7" fmla="*/ 2068513 h 2190750"/>
                  <a:gd name="connsiteX8" fmla="*/ 746323 w 3848100"/>
                  <a:gd name="connsiteY8" fmla="*/ 2068513 h 2190750"/>
                  <a:gd name="connsiteX9" fmla="*/ 3343170 w 3848100"/>
                  <a:gd name="connsiteY9" fmla="*/ 2068513 h 2190750"/>
                  <a:gd name="connsiteX10" fmla="*/ 3349244 w 3848100"/>
                  <a:gd name="connsiteY10" fmla="*/ 2068513 h 2190750"/>
                  <a:gd name="connsiteX11" fmla="*/ 3422138 w 3848100"/>
                  <a:gd name="connsiteY11" fmla="*/ 2062431 h 2190750"/>
                  <a:gd name="connsiteX12" fmla="*/ 3725863 w 3848100"/>
                  <a:gd name="connsiteY12" fmla="*/ 1685340 h 2190750"/>
                  <a:gd name="connsiteX13" fmla="*/ 3422138 w 3848100"/>
                  <a:gd name="connsiteY13" fmla="*/ 1311291 h 2190750"/>
                  <a:gd name="connsiteX14" fmla="*/ 3382654 w 3848100"/>
                  <a:gd name="connsiteY14" fmla="*/ 1308250 h 2190750"/>
                  <a:gd name="connsiteX15" fmla="*/ 3327984 w 3848100"/>
                  <a:gd name="connsiteY15" fmla="*/ 1253511 h 2190750"/>
                  <a:gd name="connsiteX16" fmla="*/ 3324946 w 3848100"/>
                  <a:gd name="connsiteY16" fmla="*/ 1207895 h 2190750"/>
                  <a:gd name="connsiteX17" fmla="*/ 2720534 w 3848100"/>
                  <a:gd name="connsiteY17" fmla="*/ 718285 h 2190750"/>
                  <a:gd name="connsiteX18" fmla="*/ 2538299 w 3848100"/>
                  <a:gd name="connsiteY18" fmla="*/ 745654 h 2190750"/>
                  <a:gd name="connsiteX19" fmla="*/ 2495778 w 3848100"/>
                  <a:gd name="connsiteY19" fmla="*/ 760860 h 2190750"/>
                  <a:gd name="connsiteX20" fmla="*/ 2447182 w 3848100"/>
                  <a:gd name="connsiteY20" fmla="*/ 760860 h 2190750"/>
                  <a:gd name="connsiteX21" fmla="*/ 2416809 w 3848100"/>
                  <a:gd name="connsiteY21" fmla="*/ 724367 h 2190750"/>
                  <a:gd name="connsiteX22" fmla="*/ 2386437 w 3848100"/>
                  <a:gd name="connsiteY22" fmla="*/ 624012 h 2190750"/>
                  <a:gd name="connsiteX23" fmla="*/ 1624088 w 3848100"/>
                  <a:gd name="connsiteY23" fmla="*/ 122238 h 2190750"/>
                  <a:gd name="connsiteX24" fmla="*/ 1624889 w 3848100"/>
                  <a:gd name="connsiteY24" fmla="*/ 0 h 2190750"/>
                  <a:gd name="connsiteX25" fmla="*/ 2499595 w 3848100"/>
                  <a:gd name="connsiteY25" fmla="*/ 581157 h 2190750"/>
                  <a:gd name="connsiteX26" fmla="*/ 2499595 w 3848100"/>
                  <a:gd name="connsiteY26" fmla="*/ 587243 h 2190750"/>
                  <a:gd name="connsiteX27" fmla="*/ 2514781 w 3848100"/>
                  <a:gd name="connsiteY27" fmla="*/ 626798 h 2190750"/>
                  <a:gd name="connsiteX28" fmla="*/ 2721308 w 3848100"/>
                  <a:gd name="connsiteY28" fmla="*/ 596371 h 2190750"/>
                  <a:gd name="connsiteX29" fmla="*/ 3444156 w 3848100"/>
                  <a:gd name="connsiteY29" fmla="*/ 1186656 h 2190750"/>
                  <a:gd name="connsiteX30" fmla="*/ 3447193 w 3848100"/>
                  <a:gd name="connsiteY30" fmla="*/ 1192742 h 2190750"/>
                  <a:gd name="connsiteX31" fmla="*/ 3848100 w 3848100"/>
                  <a:gd name="connsiteY31" fmla="*/ 1685661 h 2190750"/>
                  <a:gd name="connsiteX32" fmla="*/ 3444156 w 3848100"/>
                  <a:gd name="connsiteY32" fmla="*/ 2181622 h 2190750"/>
                  <a:gd name="connsiteX33" fmla="*/ 3438082 w 3848100"/>
                  <a:gd name="connsiteY33" fmla="*/ 2181622 h 2190750"/>
                  <a:gd name="connsiteX34" fmla="*/ 3374301 w 3848100"/>
                  <a:gd name="connsiteY34" fmla="*/ 2187707 h 2190750"/>
                  <a:gd name="connsiteX35" fmla="*/ 3356078 w 3848100"/>
                  <a:gd name="connsiteY35" fmla="*/ 2190750 h 2190750"/>
                  <a:gd name="connsiteX36" fmla="*/ 738034 w 3848100"/>
                  <a:gd name="connsiteY36" fmla="*/ 2190750 h 2190750"/>
                  <a:gd name="connsiteX37" fmla="*/ 722848 w 3848100"/>
                  <a:gd name="connsiteY37" fmla="*/ 2190750 h 2190750"/>
                  <a:gd name="connsiteX38" fmla="*/ 677290 w 3848100"/>
                  <a:gd name="connsiteY38" fmla="*/ 2187707 h 2190750"/>
                  <a:gd name="connsiteX39" fmla="*/ 674253 w 3848100"/>
                  <a:gd name="connsiteY39" fmla="*/ 2187707 h 2190750"/>
                  <a:gd name="connsiteX40" fmla="*/ 0 w 3848100"/>
                  <a:gd name="connsiteY40" fmla="*/ 1442244 h 2190750"/>
                  <a:gd name="connsiteX41" fmla="*/ 716773 w 3848100"/>
                  <a:gd name="connsiteY41" fmla="*/ 690695 h 2190750"/>
                  <a:gd name="connsiteX42" fmla="*/ 747145 w 3848100"/>
                  <a:gd name="connsiteY42" fmla="*/ 587243 h 2190750"/>
                  <a:gd name="connsiteX43" fmla="*/ 750182 w 3848100"/>
                  <a:gd name="connsiteY43" fmla="*/ 581157 h 2190750"/>
                  <a:gd name="connsiteX44" fmla="*/ 1624889 w 3848100"/>
                  <a:gd name="connsiteY44" fmla="*/ 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848100" h="2190750">
                    <a:moveTo>
                      <a:pt x="1624088" y="122238"/>
                    </a:moveTo>
                    <a:cubicBezTo>
                      <a:pt x="1293028" y="122238"/>
                      <a:pt x="992340" y="319907"/>
                      <a:pt x="861739" y="624012"/>
                    </a:cubicBezTo>
                    <a:cubicBezTo>
                      <a:pt x="816180" y="769983"/>
                      <a:pt x="816180" y="769983"/>
                      <a:pt x="816180" y="769983"/>
                    </a:cubicBezTo>
                    <a:cubicBezTo>
                      <a:pt x="810105" y="797352"/>
                      <a:pt x="782770" y="815599"/>
                      <a:pt x="755435" y="812558"/>
                    </a:cubicBezTo>
                    <a:cubicBezTo>
                      <a:pt x="749360" y="812558"/>
                      <a:pt x="749360" y="812558"/>
                      <a:pt x="749360" y="812558"/>
                    </a:cubicBezTo>
                    <a:cubicBezTo>
                      <a:pt x="403114" y="812558"/>
                      <a:pt x="120650" y="1095376"/>
                      <a:pt x="120650" y="1442056"/>
                    </a:cubicBezTo>
                    <a:cubicBezTo>
                      <a:pt x="120650" y="1764408"/>
                      <a:pt x="363630" y="2032021"/>
                      <a:pt x="685578" y="2065472"/>
                    </a:cubicBezTo>
                    <a:cubicBezTo>
                      <a:pt x="740249" y="2068513"/>
                      <a:pt x="740249" y="2068513"/>
                      <a:pt x="740249" y="2068513"/>
                    </a:cubicBezTo>
                    <a:cubicBezTo>
                      <a:pt x="740249" y="2068513"/>
                      <a:pt x="743286" y="2068513"/>
                      <a:pt x="746323" y="2068513"/>
                    </a:cubicBezTo>
                    <a:cubicBezTo>
                      <a:pt x="3343170" y="2068513"/>
                      <a:pt x="3343170" y="2068513"/>
                      <a:pt x="3343170" y="2068513"/>
                    </a:cubicBezTo>
                    <a:cubicBezTo>
                      <a:pt x="3346207" y="2068513"/>
                      <a:pt x="3346207" y="2068513"/>
                      <a:pt x="3349244" y="2068513"/>
                    </a:cubicBezTo>
                    <a:cubicBezTo>
                      <a:pt x="3422138" y="2062431"/>
                      <a:pt x="3422138" y="2062431"/>
                      <a:pt x="3422138" y="2062431"/>
                    </a:cubicBezTo>
                    <a:cubicBezTo>
                      <a:pt x="3598299" y="2022897"/>
                      <a:pt x="3725863" y="1867804"/>
                      <a:pt x="3725863" y="1685340"/>
                    </a:cubicBezTo>
                    <a:cubicBezTo>
                      <a:pt x="3725863" y="1505918"/>
                      <a:pt x="3598299" y="1350824"/>
                      <a:pt x="3422138" y="1311291"/>
                    </a:cubicBezTo>
                    <a:cubicBezTo>
                      <a:pt x="3382654" y="1308250"/>
                      <a:pt x="3382654" y="1308250"/>
                      <a:pt x="3382654" y="1308250"/>
                    </a:cubicBezTo>
                    <a:cubicBezTo>
                      <a:pt x="3355319" y="1305208"/>
                      <a:pt x="3331021" y="1283921"/>
                      <a:pt x="3327984" y="1253511"/>
                    </a:cubicBezTo>
                    <a:cubicBezTo>
                      <a:pt x="3324946" y="1207895"/>
                      <a:pt x="3324946" y="1207895"/>
                      <a:pt x="3324946" y="1207895"/>
                    </a:cubicBezTo>
                    <a:cubicBezTo>
                      <a:pt x="3264201" y="925077"/>
                      <a:pt x="3012110" y="718285"/>
                      <a:pt x="2720534" y="718285"/>
                    </a:cubicBezTo>
                    <a:cubicBezTo>
                      <a:pt x="2659789" y="718285"/>
                      <a:pt x="2596007" y="727408"/>
                      <a:pt x="2538299" y="745654"/>
                    </a:cubicBezTo>
                    <a:cubicBezTo>
                      <a:pt x="2495778" y="760860"/>
                      <a:pt x="2495778" y="760860"/>
                      <a:pt x="2495778" y="760860"/>
                    </a:cubicBezTo>
                    <a:cubicBezTo>
                      <a:pt x="2477554" y="766942"/>
                      <a:pt x="2462368" y="766942"/>
                      <a:pt x="2447182" y="760860"/>
                    </a:cubicBezTo>
                    <a:cubicBezTo>
                      <a:pt x="2431996" y="751736"/>
                      <a:pt x="2419847" y="739572"/>
                      <a:pt x="2416809" y="724367"/>
                    </a:cubicBezTo>
                    <a:cubicBezTo>
                      <a:pt x="2386437" y="624012"/>
                      <a:pt x="2386437" y="624012"/>
                      <a:pt x="2386437" y="624012"/>
                    </a:cubicBezTo>
                    <a:cubicBezTo>
                      <a:pt x="2255835" y="319907"/>
                      <a:pt x="1955148" y="122238"/>
                      <a:pt x="1624088" y="122238"/>
                    </a:cubicBezTo>
                    <a:close/>
                    <a:moveTo>
                      <a:pt x="1624889" y="0"/>
                    </a:moveTo>
                    <a:cubicBezTo>
                      <a:pt x="2007572" y="0"/>
                      <a:pt x="2350773" y="228203"/>
                      <a:pt x="2499595" y="581157"/>
                    </a:cubicBezTo>
                    <a:cubicBezTo>
                      <a:pt x="2499595" y="581157"/>
                      <a:pt x="2499595" y="584200"/>
                      <a:pt x="2499595" y="587243"/>
                    </a:cubicBezTo>
                    <a:cubicBezTo>
                      <a:pt x="2514781" y="626798"/>
                      <a:pt x="2514781" y="626798"/>
                      <a:pt x="2514781" y="626798"/>
                    </a:cubicBezTo>
                    <a:cubicBezTo>
                      <a:pt x="2581598" y="605499"/>
                      <a:pt x="2651453" y="596371"/>
                      <a:pt x="2721308" y="596371"/>
                    </a:cubicBezTo>
                    <a:cubicBezTo>
                      <a:pt x="3070583" y="596371"/>
                      <a:pt x="3374301" y="845873"/>
                      <a:pt x="3444156" y="1186656"/>
                    </a:cubicBezTo>
                    <a:cubicBezTo>
                      <a:pt x="3444156" y="1186656"/>
                      <a:pt x="3447193" y="1189699"/>
                      <a:pt x="3447193" y="1192742"/>
                    </a:cubicBezTo>
                    <a:cubicBezTo>
                      <a:pt x="3678018" y="1241425"/>
                      <a:pt x="3848100" y="1448329"/>
                      <a:pt x="3848100" y="1685661"/>
                    </a:cubicBezTo>
                    <a:cubicBezTo>
                      <a:pt x="3848100" y="1926035"/>
                      <a:pt x="3678018" y="2132939"/>
                      <a:pt x="3444156" y="2181622"/>
                    </a:cubicBezTo>
                    <a:cubicBezTo>
                      <a:pt x="3444156" y="2181622"/>
                      <a:pt x="3441119" y="2181622"/>
                      <a:pt x="3438082" y="2181622"/>
                    </a:cubicBezTo>
                    <a:cubicBezTo>
                      <a:pt x="3374301" y="2187707"/>
                      <a:pt x="3374301" y="2187707"/>
                      <a:pt x="3374301" y="2187707"/>
                    </a:cubicBezTo>
                    <a:cubicBezTo>
                      <a:pt x="3368227" y="2190750"/>
                      <a:pt x="3362152" y="2190750"/>
                      <a:pt x="3356078" y="2190750"/>
                    </a:cubicBezTo>
                    <a:cubicBezTo>
                      <a:pt x="738034" y="2190750"/>
                      <a:pt x="738034" y="2190750"/>
                      <a:pt x="738034" y="2190750"/>
                    </a:cubicBezTo>
                    <a:cubicBezTo>
                      <a:pt x="731959" y="2190750"/>
                      <a:pt x="728922" y="2190750"/>
                      <a:pt x="722848" y="2190750"/>
                    </a:cubicBezTo>
                    <a:cubicBezTo>
                      <a:pt x="677290" y="2187707"/>
                      <a:pt x="677290" y="2187707"/>
                      <a:pt x="677290" y="2187707"/>
                    </a:cubicBezTo>
                    <a:cubicBezTo>
                      <a:pt x="677290" y="2187707"/>
                      <a:pt x="677290" y="2187707"/>
                      <a:pt x="674253" y="2187707"/>
                    </a:cubicBezTo>
                    <a:cubicBezTo>
                      <a:pt x="291569" y="2148152"/>
                      <a:pt x="0" y="1828668"/>
                      <a:pt x="0" y="1442244"/>
                    </a:cubicBezTo>
                    <a:cubicBezTo>
                      <a:pt x="0" y="1040606"/>
                      <a:pt x="318904" y="711994"/>
                      <a:pt x="716773" y="690695"/>
                    </a:cubicBezTo>
                    <a:cubicBezTo>
                      <a:pt x="747145" y="587243"/>
                      <a:pt x="747145" y="587243"/>
                      <a:pt x="747145" y="587243"/>
                    </a:cubicBezTo>
                    <a:cubicBezTo>
                      <a:pt x="750182" y="584200"/>
                      <a:pt x="750182" y="581157"/>
                      <a:pt x="750182" y="581157"/>
                    </a:cubicBezTo>
                    <a:cubicBezTo>
                      <a:pt x="899004" y="228203"/>
                      <a:pt x="1242205" y="0"/>
                      <a:pt x="1624889"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lumMod val="75000"/>
                    </a:schemeClr>
                  </a:solidFill>
                  <a:effectLst/>
                  <a:uLnTx/>
                  <a:uFillTx/>
                </a:endParaRPr>
              </a:p>
            </p:txBody>
          </p:sp>
          <p:sp>
            <p:nvSpPr>
              <p:cNvPr id="632" name="Freeform 631"/>
              <p:cNvSpPr>
                <a:spLocks/>
              </p:cNvSpPr>
              <p:nvPr/>
            </p:nvSpPr>
            <p:spPr bwMode="auto">
              <a:xfrm>
                <a:off x="9594132" y="3405504"/>
                <a:ext cx="305928" cy="425452"/>
              </a:xfrm>
              <a:custGeom>
                <a:avLst/>
                <a:gdLst>
                  <a:gd name="connsiteX0" fmla="*/ 838496 w 1114676"/>
                  <a:gd name="connsiteY0" fmla="*/ 1272420 h 1550172"/>
                  <a:gd name="connsiteX1" fmla="*/ 838496 w 1114676"/>
                  <a:gd name="connsiteY1" fmla="*/ 1317489 h 1550172"/>
                  <a:gd name="connsiteX2" fmla="*/ 957458 w 1114676"/>
                  <a:gd name="connsiteY2" fmla="*/ 1317489 h 1550172"/>
                  <a:gd name="connsiteX3" fmla="*/ 957458 w 1114676"/>
                  <a:gd name="connsiteY3" fmla="*/ 1272420 h 1550172"/>
                  <a:gd name="connsiteX4" fmla="*/ 823473 w 1114676"/>
                  <a:gd name="connsiteY4" fmla="*/ 1216345 h 1550172"/>
                  <a:gd name="connsiteX5" fmla="*/ 974403 w 1114676"/>
                  <a:gd name="connsiteY5" fmla="*/ 1216345 h 1550172"/>
                  <a:gd name="connsiteX6" fmla="*/ 1013532 w 1114676"/>
                  <a:gd name="connsiteY6" fmla="*/ 1257054 h 1550172"/>
                  <a:gd name="connsiteX7" fmla="*/ 1013532 w 1114676"/>
                  <a:gd name="connsiteY7" fmla="*/ 1332856 h 1550172"/>
                  <a:gd name="connsiteX8" fmla="*/ 974403 w 1114676"/>
                  <a:gd name="connsiteY8" fmla="*/ 1373564 h 1550172"/>
                  <a:gd name="connsiteX9" fmla="*/ 823473 w 1114676"/>
                  <a:gd name="connsiteY9" fmla="*/ 1373564 h 1550172"/>
                  <a:gd name="connsiteX10" fmla="*/ 782946 w 1114676"/>
                  <a:gd name="connsiteY10" fmla="*/ 1332856 h 1550172"/>
                  <a:gd name="connsiteX11" fmla="*/ 782946 w 1114676"/>
                  <a:gd name="connsiteY11" fmla="*/ 1257054 h 1550172"/>
                  <a:gd name="connsiteX12" fmla="*/ 823473 w 1114676"/>
                  <a:gd name="connsiteY12" fmla="*/ 1216345 h 1550172"/>
                  <a:gd name="connsiteX13" fmla="*/ 410339 w 1114676"/>
                  <a:gd name="connsiteY13" fmla="*/ 1051266 h 1550172"/>
                  <a:gd name="connsiteX14" fmla="*/ 410339 w 1114676"/>
                  <a:gd name="connsiteY14" fmla="*/ 1220538 h 1550172"/>
                  <a:gd name="connsiteX15" fmla="*/ 480039 w 1114676"/>
                  <a:gd name="connsiteY15" fmla="*/ 1220538 h 1550172"/>
                  <a:gd name="connsiteX16" fmla="*/ 480039 w 1114676"/>
                  <a:gd name="connsiteY16" fmla="*/ 1051266 h 1550172"/>
                  <a:gd name="connsiteX17" fmla="*/ 177656 w 1114676"/>
                  <a:gd name="connsiteY17" fmla="*/ 1051266 h 1550172"/>
                  <a:gd name="connsiteX18" fmla="*/ 177656 w 1114676"/>
                  <a:gd name="connsiteY18" fmla="*/ 1220538 h 1550172"/>
                  <a:gd name="connsiteX19" fmla="*/ 247881 w 1114676"/>
                  <a:gd name="connsiteY19" fmla="*/ 1220538 h 1550172"/>
                  <a:gd name="connsiteX20" fmla="*/ 247881 w 1114676"/>
                  <a:gd name="connsiteY20" fmla="*/ 1051266 h 1550172"/>
                  <a:gd name="connsiteX21" fmla="*/ 838496 w 1114676"/>
                  <a:gd name="connsiteY21" fmla="*/ 1047074 h 1550172"/>
                  <a:gd name="connsiteX22" fmla="*/ 838496 w 1114676"/>
                  <a:gd name="connsiteY22" fmla="*/ 1091619 h 1550172"/>
                  <a:gd name="connsiteX23" fmla="*/ 957458 w 1114676"/>
                  <a:gd name="connsiteY23" fmla="*/ 1091619 h 1550172"/>
                  <a:gd name="connsiteX24" fmla="*/ 957458 w 1114676"/>
                  <a:gd name="connsiteY24" fmla="*/ 1047074 h 1550172"/>
                  <a:gd name="connsiteX25" fmla="*/ 394831 w 1114676"/>
                  <a:gd name="connsiteY25" fmla="*/ 995192 h 1550172"/>
                  <a:gd name="connsiteX26" fmla="*/ 495547 w 1114676"/>
                  <a:gd name="connsiteY26" fmla="*/ 995192 h 1550172"/>
                  <a:gd name="connsiteX27" fmla="*/ 536114 w 1114676"/>
                  <a:gd name="connsiteY27" fmla="*/ 1035795 h 1550172"/>
                  <a:gd name="connsiteX28" fmla="*/ 536114 w 1114676"/>
                  <a:gd name="connsiteY28" fmla="*/ 1236009 h 1550172"/>
                  <a:gd name="connsiteX29" fmla="*/ 495547 w 1114676"/>
                  <a:gd name="connsiteY29" fmla="*/ 1276612 h 1550172"/>
                  <a:gd name="connsiteX30" fmla="*/ 394831 w 1114676"/>
                  <a:gd name="connsiteY30" fmla="*/ 1276612 h 1550172"/>
                  <a:gd name="connsiteX31" fmla="*/ 354265 w 1114676"/>
                  <a:gd name="connsiteY31" fmla="*/ 1236009 h 1550172"/>
                  <a:gd name="connsiteX32" fmla="*/ 354265 w 1114676"/>
                  <a:gd name="connsiteY32" fmla="*/ 1035795 h 1550172"/>
                  <a:gd name="connsiteX33" fmla="*/ 394831 w 1114676"/>
                  <a:gd name="connsiteY33" fmla="*/ 995192 h 1550172"/>
                  <a:gd name="connsiteX34" fmla="*/ 162672 w 1114676"/>
                  <a:gd name="connsiteY34" fmla="*/ 995192 h 1550172"/>
                  <a:gd name="connsiteX35" fmla="*/ 263389 w 1114676"/>
                  <a:gd name="connsiteY35" fmla="*/ 995192 h 1550172"/>
                  <a:gd name="connsiteX36" fmla="*/ 303955 w 1114676"/>
                  <a:gd name="connsiteY36" fmla="*/ 1035795 h 1550172"/>
                  <a:gd name="connsiteX37" fmla="*/ 303955 w 1114676"/>
                  <a:gd name="connsiteY37" fmla="*/ 1236009 h 1550172"/>
                  <a:gd name="connsiteX38" fmla="*/ 263389 w 1114676"/>
                  <a:gd name="connsiteY38" fmla="*/ 1276612 h 1550172"/>
                  <a:gd name="connsiteX39" fmla="*/ 162672 w 1114676"/>
                  <a:gd name="connsiteY39" fmla="*/ 1276612 h 1550172"/>
                  <a:gd name="connsiteX40" fmla="*/ 122106 w 1114676"/>
                  <a:gd name="connsiteY40" fmla="*/ 1236009 h 1550172"/>
                  <a:gd name="connsiteX41" fmla="*/ 122106 w 1114676"/>
                  <a:gd name="connsiteY41" fmla="*/ 1035795 h 1550172"/>
                  <a:gd name="connsiteX42" fmla="*/ 162672 w 1114676"/>
                  <a:gd name="connsiteY42" fmla="*/ 995192 h 1550172"/>
                  <a:gd name="connsiteX43" fmla="*/ 823473 w 1114676"/>
                  <a:gd name="connsiteY43" fmla="*/ 990999 h 1550172"/>
                  <a:gd name="connsiteX44" fmla="*/ 974403 w 1114676"/>
                  <a:gd name="connsiteY44" fmla="*/ 990999 h 1550172"/>
                  <a:gd name="connsiteX45" fmla="*/ 1013532 w 1114676"/>
                  <a:gd name="connsiteY45" fmla="*/ 1031572 h 1550172"/>
                  <a:gd name="connsiteX46" fmla="*/ 1013532 w 1114676"/>
                  <a:gd name="connsiteY46" fmla="*/ 1107121 h 1550172"/>
                  <a:gd name="connsiteX47" fmla="*/ 974403 w 1114676"/>
                  <a:gd name="connsiteY47" fmla="*/ 1147694 h 1550172"/>
                  <a:gd name="connsiteX48" fmla="*/ 823473 w 1114676"/>
                  <a:gd name="connsiteY48" fmla="*/ 1147694 h 1550172"/>
                  <a:gd name="connsiteX49" fmla="*/ 782946 w 1114676"/>
                  <a:gd name="connsiteY49" fmla="*/ 1107121 h 1550172"/>
                  <a:gd name="connsiteX50" fmla="*/ 782946 w 1114676"/>
                  <a:gd name="connsiteY50" fmla="*/ 1031572 h 1550172"/>
                  <a:gd name="connsiteX51" fmla="*/ 823473 w 1114676"/>
                  <a:gd name="connsiteY51" fmla="*/ 990999 h 1550172"/>
                  <a:gd name="connsiteX52" fmla="*/ 838496 w 1114676"/>
                  <a:gd name="connsiteY52" fmla="*/ 820155 h 1550172"/>
                  <a:gd name="connsiteX53" fmla="*/ 838496 w 1114676"/>
                  <a:gd name="connsiteY53" fmla="*/ 864701 h 1550172"/>
                  <a:gd name="connsiteX54" fmla="*/ 957458 w 1114676"/>
                  <a:gd name="connsiteY54" fmla="*/ 864701 h 1550172"/>
                  <a:gd name="connsiteX55" fmla="*/ 957458 w 1114676"/>
                  <a:gd name="connsiteY55" fmla="*/ 820155 h 1550172"/>
                  <a:gd name="connsiteX56" fmla="*/ 823473 w 1114676"/>
                  <a:gd name="connsiteY56" fmla="*/ 764081 h 1550172"/>
                  <a:gd name="connsiteX57" fmla="*/ 974403 w 1114676"/>
                  <a:gd name="connsiteY57" fmla="*/ 764081 h 1550172"/>
                  <a:gd name="connsiteX58" fmla="*/ 1013532 w 1114676"/>
                  <a:gd name="connsiteY58" fmla="*/ 804653 h 1550172"/>
                  <a:gd name="connsiteX59" fmla="*/ 1013532 w 1114676"/>
                  <a:gd name="connsiteY59" fmla="*/ 880202 h 1550172"/>
                  <a:gd name="connsiteX60" fmla="*/ 974403 w 1114676"/>
                  <a:gd name="connsiteY60" fmla="*/ 920775 h 1550172"/>
                  <a:gd name="connsiteX61" fmla="*/ 823473 w 1114676"/>
                  <a:gd name="connsiteY61" fmla="*/ 920775 h 1550172"/>
                  <a:gd name="connsiteX62" fmla="*/ 782946 w 1114676"/>
                  <a:gd name="connsiteY62" fmla="*/ 880202 h 1550172"/>
                  <a:gd name="connsiteX63" fmla="*/ 782946 w 1114676"/>
                  <a:gd name="connsiteY63" fmla="*/ 804653 h 1550172"/>
                  <a:gd name="connsiteX64" fmla="*/ 823473 w 1114676"/>
                  <a:gd name="connsiteY64" fmla="*/ 764081 h 1550172"/>
                  <a:gd name="connsiteX65" fmla="*/ 737877 w 1114676"/>
                  <a:gd name="connsiteY65" fmla="*/ 670274 h 1550172"/>
                  <a:gd name="connsiteX66" fmla="*/ 737877 w 1114676"/>
                  <a:gd name="connsiteY66" fmla="*/ 1494098 h 1550172"/>
                  <a:gd name="connsiteX67" fmla="*/ 1058602 w 1114676"/>
                  <a:gd name="connsiteY67" fmla="*/ 1494098 h 1550172"/>
                  <a:gd name="connsiteX68" fmla="*/ 1058602 w 1114676"/>
                  <a:gd name="connsiteY68" fmla="*/ 670274 h 1550172"/>
                  <a:gd name="connsiteX69" fmla="*/ 410339 w 1114676"/>
                  <a:gd name="connsiteY69" fmla="*/ 619440 h 1550172"/>
                  <a:gd name="connsiteX70" fmla="*/ 410339 w 1114676"/>
                  <a:gd name="connsiteY70" fmla="*/ 789236 h 1550172"/>
                  <a:gd name="connsiteX71" fmla="*/ 480039 w 1114676"/>
                  <a:gd name="connsiteY71" fmla="*/ 789236 h 1550172"/>
                  <a:gd name="connsiteX72" fmla="*/ 480039 w 1114676"/>
                  <a:gd name="connsiteY72" fmla="*/ 619440 h 1550172"/>
                  <a:gd name="connsiteX73" fmla="*/ 177656 w 1114676"/>
                  <a:gd name="connsiteY73" fmla="*/ 619440 h 1550172"/>
                  <a:gd name="connsiteX74" fmla="*/ 177656 w 1114676"/>
                  <a:gd name="connsiteY74" fmla="*/ 789236 h 1550172"/>
                  <a:gd name="connsiteX75" fmla="*/ 247881 w 1114676"/>
                  <a:gd name="connsiteY75" fmla="*/ 789236 h 1550172"/>
                  <a:gd name="connsiteX76" fmla="*/ 247881 w 1114676"/>
                  <a:gd name="connsiteY76" fmla="*/ 619440 h 1550172"/>
                  <a:gd name="connsiteX77" fmla="*/ 735036 w 1114676"/>
                  <a:gd name="connsiteY77" fmla="*/ 614199 h 1550172"/>
                  <a:gd name="connsiteX78" fmla="*/ 1061443 w 1114676"/>
                  <a:gd name="connsiteY78" fmla="*/ 614199 h 1550172"/>
                  <a:gd name="connsiteX79" fmla="*/ 1114676 w 1114676"/>
                  <a:gd name="connsiteY79" fmla="*/ 667443 h 1550172"/>
                  <a:gd name="connsiteX80" fmla="*/ 1114676 w 1114676"/>
                  <a:gd name="connsiteY80" fmla="*/ 1496928 h 1550172"/>
                  <a:gd name="connsiteX81" fmla="*/ 1061443 w 1114676"/>
                  <a:gd name="connsiteY81" fmla="*/ 1550172 h 1550172"/>
                  <a:gd name="connsiteX82" fmla="*/ 735036 w 1114676"/>
                  <a:gd name="connsiteY82" fmla="*/ 1550172 h 1550172"/>
                  <a:gd name="connsiteX83" fmla="*/ 681802 w 1114676"/>
                  <a:gd name="connsiteY83" fmla="*/ 1496928 h 1550172"/>
                  <a:gd name="connsiteX84" fmla="*/ 681802 w 1114676"/>
                  <a:gd name="connsiteY84" fmla="*/ 667443 h 1550172"/>
                  <a:gd name="connsiteX85" fmla="*/ 735036 w 1114676"/>
                  <a:gd name="connsiteY85" fmla="*/ 614199 h 1550172"/>
                  <a:gd name="connsiteX86" fmla="*/ 394831 w 1114676"/>
                  <a:gd name="connsiteY86" fmla="*/ 563366 h 1550172"/>
                  <a:gd name="connsiteX87" fmla="*/ 495547 w 1114676"/>
                  <a:gd name="connsiteY87" fmla="*/ 563366 h 1550172"/>
                  <a:gd name="connsiteX88" fmla="*/ 536114 w 1114676"/>
                  <a:gd name="connsiteY88" fmla="*/ 604044 h 1550172"/>
                  <a:gd name="connsiteX89" fmla="*/ 536114 w 1114676"/>
                  <a:gd name="connsiteY89" fmla="*/ 804632 h 1550172"/>
                  <a:gd name="connsiteX90" fmla="*/ 495547 w 1114676"/>
                  <a:gd name="connsiteY90" fmla="*/ 845310 h 1550172"/>
                  <a:gd name="connsiteX91" fmla="*/ 394831 w 1114676"/>
                  <a:gd name="connsiteY91" fmla="*/ 845310 h 1550172"/>
                  <a:gd name="connsiteX92" fmla="*/ 354265 w 1114676"/>
                  <a:gd name="connsiteY92" fmla="*/ 804632 h 1550172"/>
                  <a:gd name="connsiteX93" fmla="*/ 354265 w 1114676"/>
                  <a:gd name="connsiteY93" fmla="*/ 604044 h 1550172"/>
                  <a:gd name="connsiteX94" fmla="*/ 394831 w 1114676"/>
                  <a:gd name="connsiteY94" fmla="*/ 563366 h 1550172"/>
                  <a:gd name="connsiteX95" fmla="*/ 162672 w 1114676"/>
                  <a:gd name="connsiteY95" fmla="*/ 563366 h 1550172"/>
                  <a:gd name="connsiteX96" fmla="*/ 263389 w 1114676"/>
                  <a:gd name="connsiteY96" fmla="*/ 563366 h 1550172"/>
                  <a:gd name="connsiteX97" fmla="*/ 303955 w 1114676"/>
                  <a:gd name="connsiteY97" fmla="*/ 604044 h 1550172"/>
                  <a:gd name="connsiteX98" fmla="*/ 303955 w 1114676"/>
                  <a:gd name="connsiteY98" fmla="*/ 804632 h 1550172"/>
                  <a:gd name="connsiteX99" fmla="*/ 263389 w 1114676"/>
                  <a:gd name="connsiteY99" fmla="*/ 845310 h 1550172"/>
                  <a:gd name="connsiteX100" fmla="*/ 162672 w 1114676"/>
                  <a:gd name="connsiteY100" fmla="*/ 845310 h 1550172"/>
                  <a:gd name="connsiteX101" fmla="*/ 122106 w 1114676"/>
                  <a:gd name="connsiteY101" fmla="*/ 804632 h 1550172"/>
                  <a:gd name="connsiteX102" fmla="*/ 122106 w 1114676"/>
                  <a:gd name="connsiteY102" fmla="*/ 604044 h 1550172"/>
                  <a:gd name="connsiteX103" fmla="*/ 162672 w 1114676"/>
                  <a:gd name="connsiteY103" fmla="*/ 563366 h 1550172"/>
                  <a:gd name="connsiteX104" fmla="*/ 56074 w 1114676"/>
                  <a:gd name="connsiteY104" fmla="*/ 468510 h 1550172"/>
                  <a:gd name="connsiteX105" fmla="*/ 56074 w 1114676"/>
                  <a:gd name="connsiteY105" fmla="*/ 1494098 h 1550172"/>
                  <a:gd name="connsiteX106" fmla="*/ 602145 w 1114676"/>
                  <a:gd name="connsiteY106" fmla="*/ 1494098 h 1550172"/>
                  <a:gd name="connsiteX107" fmla="*/ 602145 w 1114676"/>
                  <a:gd name="connsiteY107" fmla="*/ 468510 h 1550172"/>
                  <a:gd name="connsiteX108" fmla="*/ 155556 w 1114676"/>
                  <a:gd name="connsiteY108" fmla="*/ 316994 h 1550172"/>
                  <a:gd name="connsiteX109" fmla="*/ 155556 w 1114676"/>
                  <a:gd name="connsiteY109" fmla="*/ 406960 h 1550172"/>
                  <a:gd name="connsiteX110" fmla="*/ 155556 w 1114676"/>
                  <a:gd name="connsiteY110" fmla="*/ 412436 h 1550172"/>
                  <a:gd name="connsiteX111" fmla="*/ 194671 w 1114676"/>
                  <a:gd name="connsiteY111" fmla="*/ 412436 h 1550172"/>
                  <a:gd name="connsiteX112" fmla="*/ 471348 w 1114676"/>
                  <a:gd name="connsiteY112" fmla="*/ 412436 h 1550172"/>
                  <a:gd name="connsiteX113" fmla="*/ 502663 w 1114676"/>
                  <a:gd name="connsiteY113" fmla="*/ 412436 h 1550172"/>
                  <a:gd name="connsiteX114" fmla="*/ 502663 w 1114676"/>
                  <a:gd name="connsiteY114" fmla="*/ 396731 h 1550172"/>
                  <a:gd name="connsiteX115" fmla="*/ 502663 w 1114676"/>
                  <a:gd name="connsiteY115" fmla="*/ 316994 h 1550172"/>
                  <a:gd name="connsiteX116" fmla="*/ 155556 w 1114676"/>
                  <a:gd name="connsiteY116" fmla="*/ 316994 h 1550172"/>
                  <a:gd name="connsiteX117" fmla="*/ 205890 w 1114676"/>
                  <a:gd name="connsiteY117" fmla="*/ 167163 h 1550172"/>
                  <a:gd name="connsiteX118" fmla="*/ 205890 w 1114676"/>
                  <a:gd name="connsiteY118" fmla="*/ 239278 h 1550172"/>
                  <a:gd name="connsiteX119" fmla="*/ 205890 w 1114676"/>
                  <a:gd name="connsiteY119" fmla="*/ 260982 h 1550172"/>
                  <a:gd name="connsiteX120" fmla="*/ 214842 w 1114676"/>
                  <a:gd name="connsiteY120" fmla="*/ 260982 h 1550172"/>
                  <a:gd name="connsiteX121" fmla="*/ 442688 w 1114676"/>
                  <a:gd name="connsiteY121" fmla="*/ 260982 h 1550172"/>
                  <a:gd name="connsiteX122" fmla="*/ 452329 w 1114676"/>
                  <a:gd name="connsiteY122" fmla="*/ 260982 h 1550172"/>
                  <a:gd name="connsiteX123" fmla="*/ 452329 w 1114676"/>
                  <a:gd name="connsiteY123" fmla="*/ 250729 h 1550172"/>
                  <a:gd name="connsiteX124" fmla="*/ 452329 w 1114676"/>
                  <a:gd name="connsiteY124" fmla="*/ 167163 h 1550172"/>
                  <a:gd name="connsiteX125" fmla="*/ 338074 w 1114676"/>
                  <a:gd name="connsiteY125" fmla="*/ 167163 h 1550172"/>
                  <a:gd name="connsiteX126" fmla="*/ 328909 w 1114676"/>
                  <a:gd name="connsiteY126" fmla="*/ 167163 h 1550172"/>
                  <a:gd name="connsiteX127" fmla="*/ 328848 w 1114676"/>
                  <a:gd name="connsiteY127" fmla="*/ 167176 h 1550172"/>
                  <a:gd name="connsiteX128" fmla="*/ 328787 w 1114676"/>
                  <a:gd name="connsiteY128" fmla="*/ 167163 h 1550172"/>
                  <a:gd name="connsiteX129" fmla="*/ 309857 w 1114676"/>
                  <a:gd name="connsiteY129" fmla="*/ 167163 h 1550172"/>
                  <a:gd name="connsiteX130" fmla="*/ 205890 w 1114676"/>
                  <a:gd name="connsiteY130" fmla="*/ 167163 h 1550172"/>
                  <a:gd name="connsiteX131" fmla="*/ 328848 w 1114676"/>
                  <a:gd name="connsiteY131" fmla="*/ 0 h 1550172"/>
                  <a:gd name="connsiteX132" fmla="*/ 356885 w 1114676"/>
                  <a:gd name="connsiteY132" fmla="*/ 28097 h 1550172"/>
                  <a:gd name="connsiteX133" fmla="*/ 356885 w 1114676"/>
                  <a:gd name="connsiteY133" fmla="*/ 92259 h 1550172"/>
                  <a:gd name="connsiteX134" fmla="*/ 356885 w 1114676"/>
                  <a:gd name="connsiteY134" fmla="*/ 111101 h 1550172"/>
                  <a:gd name="connsiteX135" fmla="*/ 373229 w 1114676"/>
                  <a:gd name="connsiteY135" fmla="*/ 111101 h 1550172"/>
                  <a:gd name="connsiteX136" fmla="*/ 455130 w 1114676"/>
                  <a:gd name="connsiteY136" fmla="*/ 111101 h 1550172"/>
                  <a:gd name="connsiteX137" fmla="*/ 508338 w 1114676"/>
                  <a:gd name="connsiteY137" fmla="*/ 164360 h 1550172"/>
                  <a:gd name="connsiteX138" fmla="*/ 508338 w 1114676"/>
                  <a:gd name="connsiteY138" fmla="*/ 261563 h 1550172"/>
                  <a:gd name="connsiteX139" fmla="*/ 526173 w 1114676"/>
                  <a:gd name="connsiteY139" fmla="*/ 265161 h 1550172"/>
                  <a:gd name="connsiteX140" fmla="*/ 558648 w 1114676"/>
                  <a:gd name="connsiteY140" fmla="*/ 314194 h 1550172"/>
                  <a:gd name="connsiteX141" fmla="*/ 558648 w 1114676"/>
                  <a:gd name="connsiteY141" fmla="*/ 412436 h 1550172"/>
                  <a:gd name="connsiteX142" fmla="*/ 560079 w 1114676"/>
                  <a:gd name="connsiteY142" fmla="*/ 412436 h 1550172"/>
                  <a:gd name="connsiteX143" fmla="*/ 606402 w 1114676"/>
                  <a:gd name="connsiteY143" fmla="*/ 412436 h 1550172"/>
                  <a:gd name="connsiteX144" fmla="*/ 658220 w 1114676"/>
                  <a:gd name="connsiteY144" fmla="*/ 465680 h 1550172"/>
                  <a:gd name="connsiteX145" fmla="*/ 658220 w 1114676"/>
                  <a:gd name="connsiteY145" fmla="*/ 1496928 h 1550172"/>
                  <a:gd name="connsiteX146" fmla="*/ 606402 w 1114676"/>
                  <a:gd name="connsiteY146" fmla="*/ 1550172 h 1550172"/>
                  <a:gd name="connsiteX147" fmla="*/ 53218 w 1114676"/>
                  <a:gd name="connsiteY147" fmla="*/ 1550172 h 1550172"/>
                  <a:gd name="connsiteX148" fmla="*/ 0 w 1114676"/>
                  <a:gd name="connsiteY148" fmla="*/ 1496928 h 1550172"/>
                  <a:gd name="connsiteX149" fmla="*/ 0 w 1114676"/>
                  <a:gd name="connsiteY149" fmla="*/ 465680 h 1550172"/>
                  <a:gd name="connsiteX150" fmla="*/ 53218 w 1114676"/>
                  <a:gd name="connsiteY150" fmla="*/ 412436 h 1550172"/>
                  <a:gd name="connsiteX151" fmla="*/ 99571 w 1114676"/>
                  <a:gd name="connsiteY151" fmla="*/ 412436 h 1550172"/>
                  <a:gd name="connsiteX152" fmla="*/ 99571 w 1114676"/>
                  <a:gd name="connsiteY152" fmla="*/ 395807 h 1550172"/>
                  <a:gd name="connsiteX153" fmla="*/ 99571 w 1114676"/>
                  <a:gd name="connsiteY153" fmla="*/ 314194 h 1550172"/>
                  <a:gd name="connsiteX154" fmla="*/ 132047 w 1114676"/>
                  <a:gd name="connsiteY154" fmla="*/ 265161 h 1550172"/>
                  <a:gd name="connsiteX155" fmla="*/ 149881 w 1114676"/>
                  <a:gd name="connsiteY155" fmla="*/ 261563 h 1550172"/>
                  <a:gd name="connsiteX156" fmla="*/ 149881 w 1114676"/>
                  <a:gd name="connsiteY156" fmla="*/ 249804 h 1550172"/>
                  <a:gd name="connsiteX157" fmla="*/ 149881 w 1114676"/>
                  <a:gd name="connsiteY157" fmla="*/ 164360 h 1550172"/>
                  <a:gd name="connsiteX158" fmla="*/ 203090 w 1114676"/>
                  <a:gd name="connsiteY158" fmla="*/ 111101 h 1550172"/>
                  <a:gd name="connsiteX159" fmla="*/ 286282 w 1114676"/>
                  <a:gd name="connsiteY159" fmla="*/ 111101 h 1550172"/>
                  <a:gd name="connsiteX160" fmla="*/ 300810 w 1114676"/>
                  <a:gd name="connsiteY160" fmla="*/ 111101 h 1550172"/>
                  <a:gd name="connsiteX161" fmla="*/ 300810 w 1114676"/>
                  <a:gd name="connsiteY161" fmla="*/ 102446 h 1550172"/>
                  <a:gd name="connsiteX162" fmla="*/ 300810 w 1114676"/>
                  <a:gd name="connsiteY162" fmla="*/ 28097 h 1550172"/>
                  <a:gd name="connsiteX163" fmla="*/ 328848 w 1114676"/>
                  <a:gd name="connsiteY163" fmla="*/ 0 h 155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1114676" h="1550172">
                    <a:moveTo>
                      <a:pt x="838496" y="1272420"/>
                    </a:moveTo>
                    <a:lnTo>
                      <a:pt x="838496" y="1317489"/>
                    </a:lnTo>
                    <a:lnTo>
                      <a:pt x="957458" y="1317489"/>
                    </a:lnTo>
                    <a:lnTo>
                      <a:pt x="957458" y="1272420"/>
                    </a:lnTo>
                    <a:close/>
                    <a:moveTo>
                      <a:pt x="823473" y="1216345"/>
                    </a:moveTo>
                    <a:cubicBezTo>
                      <a:pt x="974403" y="1216345"/>
                      <a:pt x="974403" y="1216345"/>
                      <a:pt x="974403" y="1216345"/>
                    </a:cubicBezTo>
                    <a:cubicBezTo>
                      <a:pt x="995365" y="1216345"/>
                      <a:pt x="1013532" y="1234594"/>
                      <a:pt x="1013532" y="1257054"/>
                    </a:cubicBezTo>
                    <a:cubicBezTo>
                      <a:pt x="1013532" y="1332856"/>
                      <a:pt x="1013532" y="1332856"/>
                      <a:pt x="1013532" y="1332856"/>
                    </a:cubicBezTo>
                    <a:cubicBezTo>
                      <a:pt x="1013532" y="1355315"/>
                      <a:pt x="995365" y="1373564"/>
                      <a:pt x="974403" y="1373564"/>
                    </a:cubicBezTo>
                    <a:cubicBezTo>
                      <a:pt x="823473" y="1373564"/>
                      <a:pt x="823473" y="1373564"/>
                      <a:pt x="823473" y="1373564"/>
                    </a:cubicBezTo>
                    <a:cubicBezTo>
                      <a:pt x="801114" y="1373564"/>
                      <a:pt x="782946" y="1355315"/>
                      <a:pt x="782946" y="1332856"/>
                    </a:cubicBezTo>
                    <a:cubicBezTo>
                      <a:pt x="782946" y="1257054"/>
                      <a:pt x="782946" y="1257054"/>
                      <a:pt x="782946" y="1257054"/>
                    </a:cubicBezTo>
                    <a:cubicBezTo>
                      <a:pt x="782946" y="1234594"/>
                      <a:pt x="801114" y="1216345"/>
                      <a:pt x="823473" y="1216345"/>
                    </a:cubicBezTo>
                    <a:close/>
                    <a:moveTo>
                      <a:pt x="410339" y="1051266"/>
                    </a:moveTo>
                    <a:lnTo>
                      <a:pt x="410339" y="1220538"/>
                    </a:lnTo>
                    <a:lnTo>
                      <a:pt x="480039" y="1220538"/>
                    </a:lnTo>
                    <a:lnTo>
                      <a:pt x="480039" y="1051266"/>
                    </a:lnTo>
                    <a:close/>
                    <a:moveTo>
                      <a:pt x="177656" y="1051266"/>
                    </a:moveTo>
                    <a:lnTo>
                      <a:pt x="177656" y="1220538"/>
                    </a:lnTo>
                    <a:lnTo>
                      <a:pt x="247881" y="1220538"/>
                    </a:lnTo>
                    <a:lnTo>
                      <a:pt x="247881" y="1051266"/>
                    </a:lnTo>
                    <a:close/>
                    <a:moveTo>
                      <a:pt x="838496" y="1047074"/>
                    </a:moveTo>
                    <a:lnTo>
                      <a:pt x="838496" y="1091619"/>
                    </a:lnTo>
                    <a:lnTo>
                      <a:pt x="957458" y="1091619"/>
                    </a:lnTo>
                    <a:lnTo>
                      <a:pt x="957458" y="1047074"/>
                    </a:lnTo>
                    <a:close/>
                    <a:moveTo>
                      <a:pt x="394831" y="995192"/>
                    </a:moveTo>
                    <a:cubicBezTo>
                      <a:pt x="495547" y="995192"/>
                      <a:pt x="495547" y="995192"/>
                      <a:pt x="495547" y="995192"/>
                    </a:cubicBezTo>
                    <a:cubicBezTo>
                      <a:pt x="517929" y="995192"/>
                      <a:pt x="536114" y="1013393"/>
                      <a:pt x="536114" y="1035795"/>
                    </a:cubicBezTo>
                    <a:cubicBezTo>
                      <a:pt x="536114" y="1236009"/>
                      <a:pt x="536114" y="1236009"/>
                      <a:pt x="536114" y="1236009"/>
                    </a:cubicBezTo>
                    <a:cubicBezTo>
                      <a:pt x="536114" y="1258411"/>
                      <a:pt x="517929" y="1276612"/>
                      <a:pt x="495547" y="1276612"/>
                    </a:cubicBezTo>
                    <a:cubicBezTo>
                      <a:pt x="394831" y="1276612"/>
                      <a:pt x="394831" y="1276612"/>
                      <a:pt x="394831" y="1276612"/>
                    </a:cubicBezTo>
                    <a:cubicBezTo>
                      <a:pt x="372450" y="1276612"/>
                      <a:pt x="354265" y="1258411"/>
                      <a:pt x="354265" y="1236009"/>
                    </a:cubicBezTo>
                    <a:cubicBezTo>
                      <a:pt x="354265" y="1035795"/>
                      <a:pt x="354265" y="1035795"/>
                      <a:pt x="354265" y="1035795"/>
                    </a:cubicBezTo>
                    <a:cubicBezTo>
                      <a:pt x="354265" y="1013393"/>
                      <a:pt x="372450" y="995192"/>
                      <a:pt x="394831" y="995192"/>
                    </a:cubicBezTo>
                    <a:close/>
                    <a:moveTo>
                      <a:pt x="162672" y="995192"/>
                    </a:moveTo>
                    <a:cubicBezTo>
                      <a:pt x="263389" y="995192"/>
                      <a:pt x="263389" y="995192"/>
                      <a:pt x="263389" y="995192"/>
                    </a:cubicBezTo>
                    <a:cubicBezTo>
                      <a:pt x="285770" y="995192"/>
                      <a:pt x="303955" y="1013393"/>
                      <a:pt x="303955" y="1035795"/>
                    </a:cubicBezTo>
                    <a:cubicBezTo>
                      <a:pt x="303955" y="1236009"/>
                      <a:pt x="303955" y="1236009"/>
                      <a:pt x="303955" y="1236009"/>
                    </a:cubicBezTo>
                    <a:cubicBezTo>
                      <a:pt x="303955" y="1258411"/>
                      <a:pt x="285770" y="1276612"/>
                      <a:pt x="263389" y="1276612"/>
                    </a:cubicBezTo>
                    <a:cubicBezTo>
                      <a:pt x="162672" y="1276612"/>
                      <a:pt x="162672" y="1276612"/>
                      <a:pt x="162672" y="1276612"/>
                    </a:cubicBezTo>
                    <a:cubicBezTo>
                      <a:pt x="140291" y="1276612"/>
                      <a:pt x="122106" y="1258411"/>
                      <a:pt x="122106" y="1236009"/>
                    </a:cubicBezTo>
                    <a:cubicBezTo>
                      <a:pt x="122106" y="1035795"/>
                      <a:pt x="122106" y="1035795"/>
                      <a:pt x="122106" y="1035795"/>
                    </a:cubicBezTo>
                    <a:cubicBezTo>
                      <a:pt x="122106" y="1013393"/>
                      <a:pt x="140291" y="995192"/>
                      <a:pt x="162672" y="995192"/>
                    </a:cubicBezTo>
                    <a:close/>
                    <a:moveTo>
                      <a:pt x="823473" y="990999"/>
                    </a:moveTo>
                    <a:cubicBezTo>
                      <a:pt x="974403" y="990999"/>
                      <a:pt x="974403" y="990999"/>
                      <a:pt x="974403" y="990999"/>
                    </a:cubicBezTo>
                    <a:cubicBezTo>
                      <a:pt x="995365" y="990999"/>
                      <a:pt x="1013532" y="1009187"/>
                      <a:pt x="1013532" y="1031572"/>
                    </a:cubicBezTo>
                    <a:cubicBezTo>
                      <a:pt x="1013532" y="1107121"/>
                      <a:pt x="1013532" y="1107121"/>
                      <a:pt x="1013532" y="1107121"/>
                    </a:cubicBezTo>
                    <a:cubicBezTo>
                      <a:pt x="1013532" y="1129506"/>
                      <a:pt x="995365" y="1147694"/>
                      <a:pt x="974403" y="1147694"/>
                    </a:cubicBezTo>
                    <a:cubicBezTo>
                      <a:pt x="823473" y="1147694"/>
                      <a:pt x="823473" y="1147694"/>
                      <a:pt x="823473" y="1147694"/>
                    </a:cubicBezTo>
                    <a:cubicBezTo>
                      <a:pt x="801114" y="1147694"/>
                      <a:pt x="782946" y="1129506"/>
                      <a:pt x="782946" y="1107121"/>
                    </a:cubicBezTo>
                    <a:cubicBezTo>
                      <a:pt x="782946" y="1031572"/>
                      <a:pt x="782946" y="1031572"/>
                      <a:pt x="782946" y="1031572"/>
                    </a:cubicBezTo>
                    <a:cubicBezTo>
                      <a:pt x="782946" y="1009187"/>
                      <a:pt x="801114" y="990999"/>
                      <a:pt x="823473" y="990999"/>
                    </a:cubicBezTo>
                    <a:close/>
                    <a:moveTo>
                      <a:pt x="838496" y="820155"/>
                    </a:moveTo>
                    <a:lnTo>
                      <a:pt x="838496" y="864701"/>
                    </a:lnTo>
                    <a:lnTo>
                      <a:pt x="957458" y="864701"/>
                    </a:lnTo>
                    <a:lnTo>
                      <a:pt x="957458" y="820155"/>
                    </a:lnTo>
                    <a:close/>
                    <a:moveTo>
                      <a:pt x="823473" y="764081"/>
                    </a:moveTo>
                    <a:cubicBezTo>
                      <a:pt x="974403" y="764081"/>
                      <a:pt x="974403" y="764081"/>
                      <a:pt x="974403" y="764081"/>
                    </a:cubicBezTo>
                    <a:cubicBezTo>
                      <a:pt x="995365" y="764081"/>
                      <a:pt x="1013532" y="782269"/>
                      <a:pt x="1013532" y="804653"/>
                    </a:cubicBezTo>
                    <a:cubicBezTo>
                      <a:pt x="1013532" y="880202"/>
                      <a:pt x="1013532" y="880202"/>
                      <a:pt x="1013532" y="880202"/>
                    </a:cubicBezTo>
                    <a:cubicBezTo>
                      <a:pt x="1013532" y="902587"/>
                      <a:pt x="995365" y="920775"/>
                      <a:pt x="974403" y="920775"/>
                    </a:cubicBezTo>
                    <a:cubicBezTo>
                      <a:pt x="823473" y="920775"/>
                      <a:pt x="823473" y="920775"/>
                      <a:pt x="823473" y="920775"/>
                    </a:cubicBezTo>
                    <a:cubicBezTo>
                      <a:pt x="801114" y="920775"/>
                      <a:pt x="782946" y="902587"/>
                      <a:pt x="782946" y="880202"/>
                    </a:cubicBezTo>
                    <a:cubicBezTo>
                      <a:pt x="782946" y="804653"/>
                      <a:pt x="782946" y="804653"/>
                      <a:pt x="782946" y="804653"/>
                    </a:cubicBezTo>
                    <a:cubicBezTo>
                      <a:pt x="782946" y="782269"/>
                      <a:pt x="801114" y="764081"/>
                      <a:pt x="823473" y="764081"/>
                    </a:cubicBezTo>
                    <a:close/>
                    <a:moveTo>
                      <a:pt x="737877" y="670274"/>
                    </a:moveTo>
                    <a:lnTo>
                      <a:pt x="737877" y="1494098"/>
                    </a:lnTo>
                    <a:lnTo>
                      <a:pt x="1058602" y="1494098"/>
                    </a:lnTo>
                    <a:lnTo>
                      <a:pt x="1058602" y="670274"/>
                    </a:lnTo>
                    <a:close/>
                    <a:moveTo>
                      <a:pt x="410339" y="619440"/>
                    </a:moveTo>
                    <a:lnTo>
                      <a:pt x="410339" y="789236"/>
                    </a:lnTo>
                    <a:lnTo>
                      <a:pt x="480039" y="789236"/>
                    </a:lnTo>
                    <a:lnTo>
                      <a:pt x="480039" y="619440"/>
                    </a:lnTo>
                    <a:close/>
                    <a:moveTo>
                      <a:pt x="177656" y="619440"/>
                    </a:moveTo>
                    <a:lnTo>
                      <a:pt x="177656" y="789236"/>
                    </a:lnTo>
                    <a:lnTo>
                      <a:pt x="247881" y="789236"/>
                    </a:lnTo>
                    <a:lnTo>
                      <a:pt x="247881" y="619440"/>
                    </a:lnTo>
                    <a:close/>
                    <a:moveTo>
                      <a:pt x="735036" y="614199"/>
                    </a:moveTo>
                    <a:cubicBezTo>
                      <a:pt x="1061443" y="614199"/>
                      <a:pt x="1061443" y="614199"/>
                      <a:pt x="1061443" y="614199"/>
                    </a:cubicBezTo>
                    <a:cubicBezTo>
                      <a:pt x="1090861" y="614199"/>
                      <a:pt x="1114676" y="638019"/>
                      <a:pt x="1114676" y="667443"/>
                    </a:cubicBezTo>
                    <a:cubicBezTo>
                      <a:pt x="1114676" y="1496928"/>
                      <a:pt x="1114676" y="1496928"/>
                      <a:pt x="1114676" y="1496928"/>
                    </a:cubicBezTo>
                    <a:cubicBezTo>
                      <a:pt x="1114676" y="1526352"/>
                      <a:pt x="1090861" y="1550172"/>
                      <a:pt x="1061443" y="1550172"/>
                    </a:cubicBezTo>
                    <a:cubicBezTo>
                      <a:pt x="735036" y="1550172"/>
                      <a:pt x="735036" y="1550172"/>
                      <a:pt x="735036" y="1550172"/>
                    </a:cubicBezTo>
                    <a:cubicBezTo>
                      <a:pt x="705618" y="1550172"/>
                      <a:pt x="681802" y="1526352"/>
                      <a:pt x="681802" y="1496928"/>
                    </a:cubicBezTo>
                    <a:cubicBezTo>
                      <a:pt x="681802" y="667443"/>
                      <a:pt x="681802" y="667443"/>
                      <a:pt x="681802" y="667443"/>
                    </a:cubicBezTo>
                    <a:cubicBezTo>
                      <a:pt x="681802" y="638019"/>
                      <a:pt x="705618" y="614199"/>
                      <a:pt x="735036" y="614199"/>
                    </a:cubicBezTo>
                    <a:close/>
                    <a:moveTo>
                      <a:pt x="394831" y="563366"/>
                    </a:moveTo>
                    <a:cubicBezTo>
                      <a:pt x="495547" y="563366"/>
                      <a:pt x="495547" y="563366"/>
                      <a:pt x="495547" y="563366"/>
                    </a:cubicBezTo>
                    <a:cubicBezTo>
                      <a:pt x="517929" y="563366"/>
                      <a:pt x="536114" y="581601"/>
                      <a:pt x="536114" y="604044"/>
                    </a:cubicBezTo>
                    <a:cubicBezTo>
                      <a:pt x="536114" y="804632"/>
                      <a:pt x="536114" y="804632"/>
                      <a:pt x="536114" y="804632"/>
                    </a:cubicBezTo>
                    <a:cubicBezTo>
                      <a:pt x="536114" y="827075"/>
                      <a:pt x="517929" y="845310"/>
                      <a:pt x="495547" y="845310"/>
                    </a:cubicBezTo>
                    <a:cubicBezTo>
                      <a:pt x="394831" y="845310"/>
                      <a:pt x="394831" y="845310"/>
                      <a:pt x="394831" y="845310"/>
                    </a:cubicBezTo>
                    <a:cubicBezTo>
                      <a:pt x="372450" y="845310"/>
                      <a:pt x="354265" y="827075"/>
                      <a:pt x="354265" y="804632"/>
                    </a:cubicBezTo>
                    <a:cubicBezTo>
                      <a:pt x="354265" y="604044"/>
                      <a:pt x="354265" y="604044"/>
                      <a:pt x="354265" y="604044"/>
                    </a:cubicBezTo>
                    <a:cubicBezTo>
                      <a:pt x="354265" y="581601"/>
                      <a:pt x="372450" y="563366"/>
                      <a:pt x="394831" y="563366"/>
                    </a:cubicBezTo>
                    <a:close/>
                    <a:moveTo>
                      <a:pt x="162672" y="563366"/>
                    </a:moveTo>
                    <a:cubicBezTo>
                      <a:pt x="263389" y="563366"/>
                      <a:pt x="263389" y="563366"/>
                      <a:pt x="263389" y="563366"/>
                    </a:cubicBezTo>
                    <a:cubicBezTo>
                      <a:pt x="285770" y="563366"/>
                      <a:pt x="303955" y="581601"/>
                      <a:pt x="303955" y="604044"/>
                    </a:cubicBezTo>
                    <a:cubicBezTo>
                      <a:pt x="303955" y="804632"/>
                      <a:pt x="303955" y="804632"/>
                      <a:pt x="303955" y="804632"/>
                    </a:cubicBezTo>
                    <a:cubicBezTo>
                      <a:pt x="303955" y="827075"/>
                      <a:pt x="285770" y="845310"/>
                      <a:pt x="263389" y="845310"/>
                    </a:cubicBezTo>
                    <a:cubicBezTo>
                      <a:pt x="162672" y="845310"/>
                      <a:pt x="162672" y="845310"/>
                      <a:pt x="162672" y="845310"/>
                    </a:cubicBezTo>
                    <a:cubicBezTo>
                      <a:pt x="140291" y="845310"/>
                      <a:pt x="122106" y="827075"/>
                      <a:pt x="122106" y="804632"/>
                    </a:cubicBezTo>
                    <a:cubicBezTo>
                      <a:pt x="122106" y="604044"/>
                      <a:pt x="122106" y="604044"/>
                      <a:pt x="122106" y="604044"/>
                    </a:cubicBezTo>
                    <a:cubicBezTo>
                      <a:pt x="122106" y="581601"/>
                      <a:pt x="140291" y="563366"/>
                      <a:pt x="162672" y="563366"/>
                    </a:cubicBezTo>
                    <a:close/>
                    <a:moveTo>
                      <a:pt x="56074" y="468510"/>
                    </a:moveTo>
                    <a:lnTo>
                      <a:pt x="56074" y="1494098"/>
                    </a:lnTo>
                    <a:lnTo>
                      <a:pt x="602145" y="1494098"/>
                    </a:lnTo>
                    <a:lnTo>
                      <a:pt x="602145" y="468510"/>
                    </a:lnTo>
                    <a:close/>
                    <a:moveTo>
                      <a:pt x="155556" y="316994"/>
                    </a:moveTo>
                    <a:cubicBezTo>
                      <a:pt x="155556" y="361628"/>
                      <a:pt x="155556" y="389525"/>
                      <a:pt x="155556" y="406960"/>
                    </a:cubicBezTo>
                    <a:lnTo>
                      <a:pt x="155556" y="412436"/>
                    </a:lnTo>
                    <a:lnTo>
                      <a:pt x="194671" y="412436"/>
                    </a:lnTo>
                    <a:cubicBezTo>
                      <a:pt x="322450" y="412436"/>
                      <a:pt x="410573" y="412436"/>
                      <a:pt x="471348" y="412436"/>
                    </a:cubicBezTo>
                    <a:lnTo>
                      <a:pt x="502663" y="412436"/>
                    </a:lnTo>
                    <a:lnTo>
                      <a:pt x="502663" y="396731"/>
                    </a:lnTo>
                    <a:cubicBezTo>
                      <a:pt x="502663" y="316994"/>
                      <a:pt x="502663" y="316994"/>
                      <a:pt x="502663" y="316994"/>
                    </a:cubicBezTo>
                    <a:cubicBezTo>
                      <a:pt x="155556" y="316994"/>
                      <a:pt x="155556" y="316994"/>
                      <a:pt x="155556" y="316994"/>
                    </a:cubicBezTo>
                    <a:close/>
                    <a:moveTo>
                      <a:pt x="205890" y="167163"/>
                    </a:moveTo>
                    <a:cubicBezTo>
                      <a:pt x="205890" y="198348"/>
                      <a:pt x="205890" y="221737"/>
                      <a:pt x="205890" y="239278"/>
                    </a:cubicBezTo>
                    <a:lnTo>
                      <a:pt x="205890" y="260982"/>
                    </a:lnTo>
                    <a:lnTo>
                      <a:pt x="214842" y="260982"/>
                    </a:lnTo>
                    <a:cubicBezTo>
                      <a:pt x="331090" y="260982"/>
                      <a:pt x="400839" y="260982"/>
                      <a:pt x="442688" y="260982"/>
                    </a:cubicBezTo>
                    <a:lnTo>
                      <a:pt x="452329" y="260982"/>
                    </a:lnTo>
                    <a:lnTo>
                      <a:pt x="452329" y="250729"/>
                    </a:lnTo>
                    <a:cubicBezTo>
                      <a:pt x="452329" y="167163"/>
                      <a:pt x="452329" y="167163"/>
                      <a:pt x="452329" y="167163"/>
                    </a:cubicBezTo>
                    <a:cubicBezTo>
                      <a:pt x="406122" y="167163"/>
                      <a:pt x="368578" y="167163"/>
                      <a:pt x="338074" y="167163"/>
                    </a:cubicBezTo>
                    <a:lnTo>
                      <a:pt x="328909" y="167163"/>
                    </a:lnTo>
                    <a:lnTo>
                      <a:pt x="328848" y="167176"/>
                    </a:lnTo>
                    <a:lnTo>
                      <a:pt x="328787" y="167163"/>
                    </a:lnTo>
                    <a:lnTo>
                      <a:pt x="309857" y="167163"/>
                    </a:lnTo>
                    <a:cubicBezTo>
                      <a:pt x="205890" y="167163"/>
                      <a:pt x="205890" y="167163"/>
                      <a:pt x="205890" y="167163"/>
                    </a:cubicBezTo>
                    <a:close/>
                    <a:moveTo>
                      <a:pt x="328848" y="0"/>
                    </a:moveTo>
                    <a:cubicBezTo>
                      <a:pt x="344268" y="0"/>
                      <a:pt x="356885" y="12644"/>
                      <a:pt x="356885" y="28097"/>
                    </a:cubicBezTo>
                    <a:cubicBezTo>
                      <a:pt x="356885" y="55842"/>
                      <a:pt x="356885" y="76652"/>
                      <a:pt x="356885" y="92259"/>
                    </a:cubicBezTo>
                    <a:lnTo>
                      <a:pt x="356885" y="111101"/>
                    </a:lnTo>
                    <a:lnTo>
                      <a:pt x="373229" y="111101"/>
                    </a:lnTo>
                    <a:cubicBezTo>
                      <a:pt x="455130" y="111101"/>
                      <a:pt x="455130" y="111101"/>
                      <a:pt x="455130" y="111101"/>
                    </a:cubicBezTo>
                    <a:cubicBezTo>
                      <a:pt x="484535" y="111101"/>
                      <a:pt x="508338" y="134927"/>
                      <a:pt x="508338" y="164360"/>
                    </a:cubicBezTo>
                    <a:lnTo>
                      <a:pt x="508338" y="261563"/>
                    </a:lnTo>
                    <a:lnTo>
                      <a:pt x="526173" y="265161"/>
                    </a:lnTo>
                    <a:cubicBezTo>
                      <a:pt x="545264" y="273235"/>
                      <a:pt x="558648" y="292139"/>
                      <a:pt x="558648" y="314194"/>
                    </a:cubicBezTo>
                    <a:lnTo>
                      <a:pt x="558648" y="412436"/>
                    </a:lnTo>
                    <a:lnTo>
                      <a:pt x="560079" y="412436"/>
                    </a:lnTo>
                    <a:cubicBezTo>
                      <a:pt x="606402" y="412436"/>
                      <a:pt x="606402" y="412436"/>
                      <a:pt x="606402" y="412436"/>
                    </a:cubicBezTo>
                    <a:cubicBezTo>
                      <a:pt x="634412" y="412436"/>
                      <a:pt x="658220" y="436256"/>
                      <a:pt x="658220" y="465680"/>
                    </a:cubicBezTo>
                    <a:cubicBezTo>
                      <a:pt x="658220" y="1496928"/>
                      <a:pt x="658220" y="1496928"/>
                      <a:pt x="658220" y="1496928"/>
                    </a:cubicBezTo>
                    <a:cubicBezTo>
                      <a:pt x="658220" y="1526353"/>
                      <a:pt x="634412" y="1550172"/>
                      <a:pt x="606402" y="1550172"/>
                    </a:cubicBezTo>
                    <a:cubicBezTo>
                      <a:pt x="53218" y="1550172"/>
                      <a:pt x="53218" y="1550172"/>
                      <a:pt x="53218" y="1550172"/>
                    </a:cubicBezTo>
                    <a:cubicBezTo>
                      <a:pt x="23808" y="1550172"/>
                      <a:pt x="0" y="1526353"/>
                      <a:pt x="0" y="1496928"/>
                    </a:cubicBezTo>
                    <a:cubicBezTo>
                      <a:pt x="0" y="465680"/>
                      <a:pt x="0" y="465680"/>
                      <a:pt x="0" y="465680"/>
                    </a:cubicBezTo>
                    <a:cubicBezTo>
                      <a:pt x="0" y="436256"/>
                      <a:pt x="23808" y="412436"/>
                      <a:pt x="53218" y="412436"/>
                    </a:cubicBezTo>
                    <a:lnTo>
                      <a:pt x="99571" y="412436"/>
                    </a:lnTo>
                    <a:lnTo>
                      <a:pt x="99571" y="395807"/>
                    </a:lnTo>
                    <a:cubicBezTo>
                      <a:pt x="99571" y="314194"/>
                      <a:pt x="99571" y="314194"/>
                      <a:pt x="99571" y="314194"/>
                    </a:cubicBezTo>
                    <a:cubicBezTo>
                      <a:pt x="99571" y="292139"/>
                      <a:pt x="112955" y="273235"/>
                      <a:pt x="132047" y="265161"/>
                    </a:cubicBezTo>
                    <a:lnTo>
                      <a:pt x="149881" y="261563"/>
                    </a:lnTo>
                    <a:lnTo>
                      <a:pt x="149881" y="249804"/>
                    </a:lnTo>
                    <a:cubicBezTo>
                      <a:pt x="149881" y="164360"/>
                      <a:pt x="149881" y="164360"/>
                      <a:pt x="149881" y="164360"/>
                    </a:cubicBezTo>
                    <a:cubicBezTo>
                      <a:pt x="149881" y="134927"/>
                      <a:pt x="173685" y="111101"/>
                      <a:pt x="203090" y="111101"/>
                    </a:cubicBezTo>
                    <a:cubicBezTo>
                      <a:pt x="234595" y="111101"/>
                      <a:pt x="262161" y="111101"/>
                      <a:pt x="286282" y="111101"/>
                    </a:cubicBezTo>
                    <a:lnTo>
                      <a:pt x="300810" y="111101"/>
                    </a:lnTo>
                    <a:lnTo>
                      <a:pt x="300810" y="102446"/>
                    </a:lnTo>
                    <a:cubicBezTo>
                      <a:pt x="300810" y="28097"/>
                      <a:pt x="300810" y="28097"/>
                      <a:pt x="300810" y="28097"/>
                    </a:cubicBezTo>
                    <a:cubicBezTo>
                      <a:pt x="300810" y="12644"/>
                      <a:pt x="313427" y="0"/>
                      <a:pt x="328848"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633" name="Freeform 632"/>
              <p:cNvSpPr>
                <a:spLocks/>
              </p:cNvSpPr>
              <p:nvPr/>
            </p:nvSpPr>
            <p:spPr bwMode="auto">
              <a:xfrm>
                <a:off x="10266448" y="3110864"/>
                <a:ext cx="212800" cy="274637"/>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7160" rIns="0" bIns="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chemeClr val="accent2">
                        <a:lumMod val="75000"/>
                      </a:schemeClr>
                    </a:solidFill>
                    <a:effectLst/>
                    <a:uLnTx/>
                    <a:uFillTx/>
                  </a:rPr>
                  <a:t>SQL</a:t>
                </a:r>
              </a:p>
            </p:txBody>
          </p:sp>
          <p:grpSp>
            <p:nvGrpSpPr>
              <p:cNvPr id="634" name="Group 633"/>
              <p:cNvGrpSpPr/>
              <p:nvPr/>
            </p:nvGrpSpPr>
            <p:grpSpPr>
              <a:xfrm>
                <a:off x="10223148" y="3471118"/>
                <a:ext cx="322531" cy="225534"/>
                <a:chOff x="1182255" y="2216727"/>
                <a:chExt cx="5006109" cy="3500582"/>
              </a:xfrm>
              <a:grpFill/>
            </p:grpSpPr>
            <p:sp>
              <p:nvSpPr>
                <p:cNvPr id="636" name="Freeform 635"/>
                <p:cNvSpPr/>
                <p:nvPr/>
              </p:nvSpPr>
              <p:spPr bwMode="auto">
                <a:xfrm>
                  <a:off x="1182255" y="2216727"/>
                  <a:ext cx="5006109" cy="350058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nvGrpSpPr>
                <p:cNvPr id="637" name="Group 636"/>
                <p:cNvGrpSpPr/>
                <p:nvPr/>
              </p:nvGrpSpPr>
              <p:grpSpPr>
                <a:xfrm>
                  <a:off x="1371600" y="2904099"/>
                  <a:ext cx="4622800" cy="2628550"/>
                  <a:chOff x="1371600" y="3272399"/>
                  <a:chExt cx="4622800" cy="2628550"/>
                </a:xfrm>
                <a:grpFill/>
              </p:grpSpPr>
              <p:grpSp>
                <p:nvGrpSpPr>
                  <p:cNvPr id="638" name="Group 637"/>
                  <p:cNvGrpSpPr/>
                  <p:nvPr/>
                </p:nvGrpSpPr>
                <p:grpSpPr>
                  <a:xfrm>
                    <a:off x="1371600" y="3272399"/>
                    <a:ext cx="4622800" cy="609250"/>
                    <a:chOff x="1403350" y="3272399"/>
                    <a:chExt cx="4216400" cy="609250"/>
                  </a:xfrm>
                  <a:grpFill/>
                </p:grpSpPr>
                <p:sp>
                  <p:nvSpPr>
                    <p:cNvPr id="654" name="Freeform 653"/>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55" name="Freeform 654"/>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56" name="Freeform 655"/>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57" name="Freeform 656"/>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nvGrpSpPr>
                  <p:cNvPr id="639" name="Group 638"/>
                  <p:cNvGrpSpPr/>
                  <p:nvPr/>
                </p:nvGrpSpPr>
                <p:grpSpPr>
                  <a:xfrm>
                    <a:off x="1371600" y="3945499"/>
                    <a:ext cx="4622800" cy="609250"/>
                    <a:chOff x="1403350" y="3272399"/>
                    <a:chExt cx="4216400" cy="609250"/>
                  </a:xfrm>
                  <a:grpFill/>
                </p:grpSpPr>
                <p:sp>
                  <p:nvSpPr>
                    <p:cNvPr id="650" name="Freeform 649"/>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51" name="Freeform 650"/>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52" name="Freeform 651"/>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53" name="Freeform 652"/>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nvGrpSpPr>
                  <p:cNvPr id="640" name="Group 639"/>
                  <p:cNvGrpSpPr/>
                  <p:nvPr/>
                </p:nvGrpSpPr>
                <p:grpSpPr>
                  <a:xfrm>
                    <a:off x="1371600" y="4618599"/>
                    <a:ext cx="4622800" cy="609250"/>
                    <a:chOff x="1403350" y="3272399"/>
                    <a:chExt cx="4216400" cy="609250"/>
                  </a:xfrm>
                  <a:grpFill/>
                </p:grpSpPr>
                <p:sp>
                  <p:nvSpPr>
                    <p:cNvPr id="646" name="Freeform 645"/>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47" name="Freeform 646"/>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48" name="Freeform 647"/>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49" name="Freeform 648"/>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nvGrpSpPr>
                  <p:cNvPr id="641" name="Group 640"/>
                  <p:cNvGrpSpPr/>
                  <p:nvPr/>
                </p:nvGrpSpPr>
                <p:grpSpPr>
                  <a:xfrm>
                    <a:off x="1371600" y="5291699"/>
                    <a:ext cx="4622800" cy="609250"/>
                    <a:chOff x="1403350" y="3272399"/>
                    <a:chExt cx="4216400" cy="609250"/>
                  </a:xfrm>
                  <a:grpFill/>
                </p:grpSpPr>
                <p:sp>
                  <p:nvSpPr>
                    <p:cNvPr id="642" name="Freeform 641"/>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43" name="Freeform 642"/>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44" name="Freeform 643"/>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45" name="Freeform 644"/>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grpSp>
          <p:sp>
            <p:nvSpPr>
              <p:cNvPr id="635" name="Freeform 634"/>
              <p:cNvSpPr>
                <a:spLocks/>
              </p:cNvSpPr>
              <p:nvPr/>
            </p:nvSpPr>
            <p:spPr bwMode="auto">
              <a:xfrm>
                <a:off x="9983618" y="3695432"/>
                <a:ext cx="174159" cy="244743"/>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7160" rIns="0" bIns="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chemeClr val="accent2">
                      <a:lumMod val="75000"/>
                    </a:schemeClr>
                  </a:solidFill>
                  <a:effectLst/>
                  <a:uLnTx/>
                  <a:uFillTx/>
                </a:endParaRPr>
              </a:p>
            </p:txBody>
          </p:sp>
        </p:grpSp>
        <p:grpSp>
          <p:nvGrpSpPr>
            <p:cNvPr id="662" name="Group 661"/>
            <p:cNvGrpSpPr/>
            <p:nvPr/>
          </p:nvGrpSpPr>
          <p:grpSpPr>
            <a:xfrm>
              <a:off x="15107216" y="1916113"/>
              <a:ext cx="453941" cy="552320"/>
              <a:chOff x="2256871" y="3439507"/>
              <a:chExt cx="340270" cy="414014"/>
            </a:xfrm>
            <a:grpFill/>
          </p:grpSpPr>
          <p:sp>
            <p:nvSpPr>
              <p:cNvPr id="663" name="Freeform 662"/>
              <p:cNvSpPr>
                <a:spLocks/>
              </p:cNvSpPr>
              <p:nvPr/>
            </p:nvSpPr>
            <p:spPr bwMode="auto">
              <a:xfrm>
                <a:off x="2256871" y="3439507"/>
                <a:ext cx="230395" cy="285134"/>
              </a:xfrm>
              <a:custGeom>
                <a:avLst/>
                <a:gdLst>
                  <a:gd name="connsiteX0" fmla="*/ 269926 w 295991"/>
                  <a:gd name="connsiteY0" fmla="*/ 150095 h 366315"/>
                  <a:gd name="connsiteX1" fmla="*/ 269926 w 295991"/>
                  <a:gd name="connsiteY1" fmla="*/ 159187 h 366315"/>
                  <a:gd name="connsiteX2" fmla="*/ 269926 w 295991"/>
                  <a:gd name="connsiteY2" fmla="*/ 176510 h 366315"/>
                  <a:gd name="connsiteX3" fmla="*/ 271783 w 295991"/>
                  <a:gd name="connsiteY3" fmla="*/ 176510 h 366315"/>
                  <a:gd name="connsiteX4" fmla="*/ 278265 w 295991"/>
                  <a:gd name="connsiteY4" fmla="*/ 176510 h 366315"/>
                  <a:gd name="connsiteX5" fmla="*/ 282589 w 295991"/>
                  <a:gd name="connsiteY5" fmla="*/ 176510 h 366315"/>
                  <a:gd name="connsiteX6" fmla="*/ 282589 w 295991"/>
                  <a:gd name="connsiteY6" fmla="*/ 165634 h 366315"/>
                  <a:gd name="connsiteX7" fmla="*/ 282589 w 295991"/>
                  <a:gd name="connsiteY7" fmla="*/ 150095 h 366315"/>
                  <a:gd name="connsiteX8" fmla="*/ 280664 w 295991"/>
                  <a:gd name="connsiteY8" fmla="*/ 150095 h 366315"/>
                  <a:gd name="connsiteX9" fmla="*/ 274182 w 295991"/>
                  <a:gd name="connsiteY9" fmla="*/ 150095 h 366315"/>
                  <a:gd name="connsiteX10" fmla="*/ 269926 w 295991"/>
                  <a:gd name="connsiteY10" fmla="*/ 109860 h 366315"/>
                  <a:gd name="connsiteX11" fmla="*/ 269926 w 295991"/>
                  <a:gd name="connsiteY11" fmla="*/ 129465 h 366315"/>
                  <a:gd name="connsiteX12" fmla="*/ 269926 w 295991"/>
                  <a:gd name="connsiteY12" fmla="*/ 136625 h 366315"/>
                  <a:gd name="connsiteX13" fmla="*/ 271783 w 295991"/>
                  <a:gd name="connsiteY13" fmla="*/ 136625 h 366315"/>
                  <a:gd name="connsiteX14" fmla="*/ 278265 w 295991"/>
                  <a:gd name="connsiteY14" fmla="*/ 136625 h 366315"/>
                  <a:gd name="connsiteX15" fmla="*/ 282589 w 295991"/>
                  <a:gd name="connsiteY15" fmla="*/ 136625 h 366315"/>
                  <a:gd name="connsiteX16" fmla="*/ 282589 w 295991"/>
                  <a:gd name="connsiteY16" fmla="*/ 125371 h 366315"/>
                  <a:gd name="connsiteX17" fmla="*/ 282589 w 295991"/>
                  <a:gd name="connsiteY17" fmla="*/ 115635 h 366315"/>
                  <a:gd name="connsiteX18" fmla="*/ 282589 w 295991"/>
                  <a:gd name="connsiteY18" fmla="*/ 109860 h 366315"/>
                  <a:gd name="connsiteX19" fmla="*/ 280664 w 295991"/>
                  <a:gd name="connsiteY19" fmla="*/ 109860 h 366315"/>
                  <a:gd name="connsiteX20" fmla="*/ 274182 w 295991"/>
                  <a:gd name="connsiteY20" fmla="*/ 109860 h 366315"/>
                  <a:gd name="connsiteX21" fmla="*/ 121755 w 295991"/>
                  <a:gd name="connsiteY21" fmla="*/ 91142 h 366315"/>
                  <a:gd name="connsiteX22" fmla="*/ 121755 w 295991"/>
                  <a:gd name="connsiteY22" fmla="*/ 108460 h 366315"/>
                  <a:gd name="connsiteX23" fmla="*/ 199427 w 295991"/>
                  <a:gd name="connsiteY23" fmla="*/ 108460 h 366315"/>
                  <a:gd name="connsiteX24" fmla="*/ 199427 w 295991"/>
                  <a:gd name="connsiteY24" fmla="*/ 91142 h 366315"/>
                  <a:gd name="connsiteX25" fmla="*/ 114991 w 295991"/>
                  <a:gd name="connsiteY25" fmla="*/ 77672 h 366315"/>
                  <a:gd name="connsiteX26" fmla="*/ 206191 w 295991"/>
                  <a:gd name="connsiteY26" fmla="*/ 77672 h 366315"/>
                  <a:gd name="connsiteX27" fmla="*/ 212897 w 295991"/>
                  <a:gd name="connsiteY27" fmla="*/ 84377 h 366315"/>
                  <a:gd name="connsiteX28" fmla="*/ 212897 w 295991"/>
                  <a:gd name="connsiteY28" fmla="*/ 115224 h 366315"/>
                  <a:gd name="connsiteX29" fmla="*/ 206191 w 295991"/>
                  <a:gd name="connsiteY29" fmla="*/ 121930 h 366315"/>
                  <a:gd name="connsiteX30" fmla="*/ 114991 w 295991"/>
                  <a:gd name="connsiteY30" fmla="*/ 121930 h 366315"/>
                  <a:gd name="connsiteX31" fmla="*/ 108285 w 295991"/>
                  <a:gd name="connsiteY31" fmla="*/ 115224 h 366315"/>
                  <a:gd name="connsiteX32" fmla="*/ 108285 w 295991"/>
                  <a:gd name="connsiteY32" fmla="*/ 84377 h 366315"/>
                  <a:gd name="connsiteX33" fmla="*/ 114991 w 295991"/>
                  <a:gd name="connsiteY33" fmla="*/ 77672 h 366315"/>
                  <a:gd name="connsiteX34" fmla="*/ 269926 w 295991"/>
                  <a:gd name="connsiteY34" fmla="*/ 70064 h 366315"/>
                  <a:gd name="connsiteX35" fmla="*/ 269926 w 295991"/>
                  <a:gd name="connsiteY35" fmla="*/ 96390 h 366315"/>
                  <a:gd name="connsiteX36" fmla="*/ 271783 w 295991"/>
                  <a:gd name="connsiteY36" fmla="*/ 96390 h 366315"/>
                  <a:gd name="connsiteX37" fmla="*/ 278265 w 295991"/>
                  <a:gd name="connsiteY37" fmla="*/ 96390 h 366315"/>
                  <a:gd name="connsiteX38" fmla="*/ 282589 w 295991"/>
                  <a:gd name="connsiteY38" fmla="*/ 96390 h 366315"/>
                  <a:gd name="connsiteX39" fmla="*/ 282589 w 295991"/>
                  <a:gd name="connsiteY39" fmla="*/ 93397 h 366315"/>
                  <a:gd name="connsiteX40" fmla="*/ 282589 w 295991"/>
                  <a:gd name="connsiteY40" fmla="*/ 70064 h 366315"/>
                  <a:gd name="connsiteX41" fmla="*/ 271355 w 295991"/>
                  <a:gd name="connsiteY41" fmla="*/ 70064 h 366315"/>
                  <a:gd name="connsiteX42" fmla="*/ 17030 w 295991"/>
                  <a:gd name="connsiteY42" fmla="*/ 0 h 366315"/>
                  <a:gd name="connsiteX43" fmla="*/ 263218 w 295991"/>
                  <a:gd name="connsiteY43" fmla="*/ 0 h 366315"/>
                  <a:gd name="connsiteX44" fmla="*/ 269926 w 295991"/>
                  <a:gd name="connsiteY44" fmla="*/ 6697 h 366315"/>
                  <a:gd name="connsiteX45" fmla="*/ 269926 w 295991"/>
                  <a:gd name="connsiteY45" fmla="*/ 38760 h 366315"/>
                  <a:gd name="connsiteX46" fmla="*/ 269926 w 295991"/>
                  <a:gd name="connsiteY46" fmla="*/ 56679 h 366315"/>
                  <a:gd name="connsiteX47" fmla="*/ 271783 w 295991"/>
                  <a:gd name="connsiteY47" fmla="*/ 56679 h 366315"/>
                  <a:gd name="connsiteX48" fmla="*/ 289290 w 295991"/>
                  <a:gd name="connsiteY48" fmla="*/ 56679 h 366315"/>
                  <a:gd name="connsiteX49" fmla="*/ 295991 w 295991"/>
                  <a:gd name="connsiteY49" fmla="*/ 63372 h 366315"/>
                  <a:gd name="connsiteX50" fmla="*/ 295991 w 295991"/>
                  <a:gd name="connsiteY50" fmla="*/ 85169 h 366315"/>
                  <a:gd name="connsiteX51" fmla="*/ 295991 w 295991"/>
                  <a:gd name="connsiteY51" fmla="*/ 103125 h 366315"/>
                  <a:gd name="connsiteX52" fmla="*/ 295991 w 295991"/>
                  <a:gd name="connsiteY52" fmla="*/ 105604 h 366315"/>
                  <a:gd name="connsiteX53" fmla="*/ 295991 w 295991"/>
                  <a:gd name="connsiteY53" fmla="*/ 142565 h 366315"/>
                  <a:gd name="connsiteX54" fmla="*/ 295991 w 295991"/>
                  <a:gd name="connsiteY54" fmla="*/ 143360 h 366315"/>
                  <a:gd name="connsiteX55" fmla="*/ 295991 w 295991"/>
                  <a:gd name="connsiteY55" fmla="*/ 159178 h 366315"/>
                  <a:gd name="connsiteX56" fmla="*/ 295991 w 295991"/>
                  <a:gd name="connsiteY56" fmla="*/ 183158 h 366315"/>
                  <a:gd name="connsiteX57" fmla="*/ 295991 w 295991"/>
                  <a:gd name="connsiteY57" fmla="*/ 184546 h 366315"/>
                  <a:gd name="connsiteX58" fmla="*/ 295991 w 295991"/>
                  <a:gd name="connsiteY58" fmla="*/ 205448 h 366315"/>
                  <a:gd name="connsiteX59" fmla="*/ 295991 w 295991"/>
                  <a:gd name="connsiteY59" fmla="*/ 216438 h 366315"/>
                  <a:gd name="connsiteX60" fmla="*/ 282589 w 295991"/>
                  <a:gd name="connsiteY60" fmla="*/ 216438 h 366315"/>
                  <a:gd name="connsiteX61" fmla="*/ 282589 w 295991"/>
                  <a:gd name="connsiteY61" fmla="*/ 213840 h 366315"/>
                  <a:gd name="connsiteX62" fmla="*/ 282589 w 295991"/>
                  <a:gd name="connsiteY62" fmla="*/ 191573 h 366315"/>
                  <a:gd name="connsiteX63" fmla="*/ 282589 w 295991"/>
                  <a:gd name="connsiteY63" fmla="*/ 189805 h 366315"/>
                  <a:gd name="connsiteX64" fmla="*/ 280664 w 295991"/>
                  <a:gd name="connsiteY64" fmla="*/ 189805 h 366315"/>
                  <a:gd name="connsiteX65" fmla="*/ 274182 w 295991"/>
                  <a:gd name="connsiteY65" fmla="*/ 189805 h 366315"/>
                  <a:gd name="connsiteX66" fmla="*/ 269926 w 295991"/>
                  <a:gd name="connsiteY66" fmla="*/ 189805 h 366315"/>
                  <a:gd name="connsiteX67" fmla="*/ 269926 w 295991"/>
                  <a:gd name="connsiteY67" fmla="*/ 198792 h 366315"/>
                  <a:gd name="connsiteX68" fmla="*/ 269926 w 295991"/>
                  <a:gd name="connsiteY68" fmla="*/ 216438 h 366315"/>
                  <a:gd name="connsiteX69" fmla="*/ 256456 w 295991"/>
                  <a:gd name="connsiteY69" fmla="*/ 216438 h 366315"/>
                  <a:gd name="connsiteX70" fmla="*/ 256456 w 295991"/>
                  <a:gd name="connsiteY70" fmla="*/ 183158 h 366315"/>
                  <a:gd name="connsiteX71" fmla="*/ 256456 w 295991"/>
                  <a:gd name="connsiteY71" fmla="*/ 143360 h 366315"/>
                  <a:gd name="connsiteX72" fmla="*/ 256456 w 295991"/>
                  <a:gd name="connsiteY72" fmla="*/ 103125 h 366315"/>
                  <a:gd name="connsiteX73" fmla="*/ 256456 w 295991"/>
                  <a:gd name="connsiteY73" fmla="*/ 63372 h 366315"/>
                  <a:gd name="connsiteX74" fmla="*/ 256456 w 295991"/>
                  <a:gd name="connsiteY74" fmla="*/ 13470 h 366315"/>
                  <a:gd name="connsiteX75" fmla="*/ 23791 w 295991"/>
                  <a:gd name="connsiteY75" fmla="*/ 13470 h 366315"/>
                  <a:gd name="connsiteX76" fmla="*/ 23791 w 295991"/>
                  <a:gd name="connsiteY76" fmla="*/ 53006 h 366315"/>
                  <a:gd name="connsiteX77" fmla="*/ 25744 w 295991"/>
                  <a:gd name="connsiteY77" fmla="*/ 53006 h 366315"/>
                  <a:gd name="connsiteX78" fmla="*/ 28465 w 295991"/>
                  <a:gd name="connsiteY78" fmla="*/ 53006 h 366315"/>
                  <a:gd name="connsiteX79" fmla="*/ 35162 w 295991"/>
                  <a:gd name="connsiteY79" fmla="*/ 59653 h 366315"/>
                  <a:gd name="connsiteX80" fmla="*/ 28465 w 295991"/>
                  <a:gd name="connsiteY80" fmla="*/ 66301 h 366315"/>
                  <a:gd name="connsiteX81" fmla="*/ 23791 w 295991"/>
                  <a:gd name="connsiteY81" fmla="*/ 66301 h 366315"/>
                  <a:gd name="connsiteX82" fmla="*/ 23791 w 295991"/>
                  <a:gd name="connsiteY82" fmla="*/ 88168 h 366315"/>
                  <a:gd name="connsiteX83" fmla="*/ 25744 w 295991"/>
                  <a:gd name="connsiteY83" fmla="*/ 88168 h 366315"/>
                  <a:gd name="connsiteX84" fmla="*/ 28465 w 295991"/>
                  <a:gd name="connsiteY84" fmla="*/ 88168 h 366315"/>
                  <a:gd name="connsiteX85" fmla="*/ 35162 w 295991"/>
                  <a:gd name="connsiteY85" fmla="*/ 94815 h 366315"/>
                  <a:gd name="connsiteX86" fmla="*/ 28465 w 295991"/>
                  <a:gd name="connsiteY86" fmla="*/ 101463 h 366315"/>
                  <a:gd name="connsiteX87" fmla="*/ 23791 w 295991"/>
                  <a:gd name="connsiteY87" fmla="*/ 101463 h 366315"/>
                  <a:gd name="connsiteX88" fmla="*/ 23791 w 295991"/>
                  <a:gd name="connsiteY88" fmla="*/ 123155 h 366315"/>
                  <a:gd name="connsiteX89" fmla="*/ 25744 w 295991"/>
                  <a:gd name="connsiteY89" fmla="*/ 123155 h 366315"/>
                  <a:gd name="connsiteX90" fmla="*/ 28465 w 295991"/>
                  <a:gd name="connsiteY90" fmla="*/ 123155 h 366315"/>
                  <a:gd name="connsiteX91" fmla="*/ 35162 w 295991"/>
                  <a:gd name="connsiteY91" fmla="*/ 129890 h 366315"/>
                  <a:gd name="connsiteX92" fmla="*/ 28465 w 295991"/>
                  <a:gd name="connsiteY92" fmla="*/ 136625 h 366315"/>
                  <a:gd name="connsiteX93" fmla="*/ 23791 w 295991"/>
                  <a:gd name="connsiteY93" fmla="*/ 136625 h 366315"/>
                  <a:gd name="connsiteX94" fmla="*/ 23791 w 295991"/>
                  <a:gd name="connsiteY94" fmla="*/ 158142 h 366315"/>
                  <a:gd name="connsiteX95" fmla="*/ 25744 w 295991"/>
                  <a:gd name="connsiteY95" fmla="*/ 158142 h 366315"/>
                  <a:gd name="connsiteX96" fmla="*/ 28465 w 295991"/>
                  <a:gd name="connsiteY96" fmla="*/ 158142 h 366315"/>
                  <a:gd name="connsiteX97" fmla="*/ 35162 w 295991"/>
                  <a:gd name="connsiteY97" fmla="*/ 164789 h 366315"/>
                  <a:gd name="connsiteX98" fmla="*/ 28465 w 295991"/>
                  <a:gd name="connsiteY98" fmla="*/ 171437 h 366315"/>
                  <a:gd name="connsiteX99" fmla="*/ 23791 w 295991"/>
                  <a:gd name="connsiteY99" fmla="*/ 171437 h 366315"/>
                  <a:gd name="connsiteX100" fmla="*/ 23791 w 295991"/>
                  <a:gd name="connsiteY100" fmla="*/ 193304 h 366315"/>
                  <a:gd name="connsiteX101" fmla="*/ 25744 w 295991"/>
                  <a:gd name="connsiteY101" fmla="*/ 193304 h 366315"/>
                  <a:gd name="connsiteX102" fmla="*/ 28465 w 295991"/>
                  <a:gd name="connsiteY102" fmla="*/ 193304 h 366315"/>
                  <a:gd name="connsiteX103" fmla="*/ 35162 w 295991"/>
                  <a:gd name="connsiteY103" fmla="*/ 199951 h 366315"/>
                  <a:gd name="connsiteX104" fmla="*/ 28465 w 295991"/>
                  <a:gd name="connsiteY104" fmla="*/ 206599 h 366315"/>
                  <a:gd name="connsiteX105" fmla="*/ 23791 w 295991"/>
                  <a:gd name="connsiteY105" fmla="*/ 206599 h 366315"/>
                  <a:gd name="connsiteX106" fmla="*/ 23791 w 295991"/>
                  <a:gd name="connsiteY106" fmla="*/ 228116 h 366315"/>
                  <a:gd name="connsiteX107" fmla="*/ 25744 w 295991"/>
                  <a:gd name="connsiteY107" fmla="*/ 228116 h 366315"/>
                  <a:gd name="connsiteX108" fmla="*/ 28465 w 295991"/>
                  <a:gd name="connsiteY108" fmla="*/ 228116 h 366315"/>
                  <a:gd name="connsiteX109" fmla="*/ 35162 w 295991"/>
                  <a:gd name="connsiteY109" fmla="*/ 234764 h 366315"/>
                  <a:gd name="connsiteX110" fmla="*/ 28465 w 295991"/>
                  <a:gd name="connsiteY110" fmla="*/ 241411 h 366315"/>
                  <a:gd name="connsiteX111" fmla="*/ 23791 w 295991"/>
                  <a:gd name="connsiteY111" fmla="*/ 241411 h 366315"/>
                  <a:gd name="connsiteX112" fmla="*/ 23791 w 295991"/>
                  <a:gd name="connsiteY112" fmla="*/ 263278 h 366315"/>
                  <a:gd name="connsiteX113" fmla="*/ 25744 w 295991"/>
                  <a:gd name="connsiteY113" fmla="*/ 263278 h 366315"/>
                  <a:gd name="connsiteX114" fmla="*/ 28465 w 295991"/>
                  <a:gd name="connsiteY114" fmla="*/ 263278 h 366315"/>
                  <a:gd name="connsiteX115" fmla="*/ 35162 w 295991"/>
                  <a:gd name="connsiteY115" fmla="*/ 269926 h 366315"/>
                  <a:gd name="connsiteX116" fmla="*/ 28465 w 295991"/>
                  <a:gd name="connsiteY116" fmla="*/ 276573 h 366315"/>
                  <a:gd name="connsiteX117" fmla="*/ 23791 w 295991"/>
                  <a:gd name="connsiteY117" fmla="*/ 276573 h 366315"/>
                  <a:gd name="connsiteX118" fmla="*/ 23791 w 295991"/>
                  <a:gd name="connsiteY118" fmla="*/ 298090 h 366315"/>
                  <a:gd name="connsiteX119" fmla="*/ 25744 w 295991"/>
                  <a:gd name="connsiteY119" fmla="*/ 298090 h 366315"/>
                  <a:gd name="connsiteX120" fmla="*/ 28465 w 295991"/>
                  <a:gd name="connsiteY120" fmla="*/ 298090 h 366315"/>
                  <a:gd name="connsiteX121" fmla="*/ 35162 w 295991"/>
                  <a:gd name="connsiteY121" fmla="*/ 304738 h 366315"/>
                  <a:gd name="connsiteX122" fmla="*/ 28465 w 295991"/>
                  <a:gd name="connsiteY122" fmla="*/ 311385 h 366315"/>
                  <a:gd name="connsiteX123" fmla="*/ 23791 w 295991"/>
                  <a:gd name="connsiteY123" fmla="*/ 311385 h 366315"/>
                  <a:gd name="connsiteX124" fmla="*/ 23791 w 295991"/>
                  <a:gd name="connsiteY124" fmla="*/ 352845 h 366315"/>
                  <a:gd name="connsiteX125" fmla="*/ 171599 w 295991"/>
                  <a:gd name="connsiteY125" fmla="*/ 352845 h 366315"/>
                  <a:gd name="connsiteX126" fmla="*/ 171599 w 295991"/>
                  <a:gd name="connsiteY126" fmla="*/ 366315 h 366315"/>
                  <a:gd name="connsiteX127" fmla="*/ 120890 w 295991"/>
                  <a:gd name="connsiteY127" fmla="*/ 366315 h 366315"/>
                  <a:gd name="connsiteX128" fmla="*/ 17030 w 295991"/>
                  <a:gd name="connsiteY128" fmla="*/ 366315 h 366315"/>
                  <a:gd name="connsiteX129" fmla="*/ 10321 w 295991"/>
                  <a:gd name="connsiteY129" fmla="*/ 359618 h 366315"/>
                  <a:gd name="connsiteX130" fmla="*/ 10321 w 295991"/>
                  <a:gd name="connsiteY130" fmla="*/ 327555 h 366315"/>
                  <a:gd name="connsiteX131" fmla="*/ 10321 w 295991"/>
                  <a:gd name="connsiteY131" fmla="*/ 311385 h 366315"/>
                  <a:gd name="connsiteX132" fmla="*/ 9419 w 295991"/>
                  <a:gd name="connsiteY132" fmla="*/ 311385 h 366315"/>
                  <a:gd name="connsiteX133" fmla="*/ 6698 w 295991"/>
                  <a:gd name="connsiteY133" fmla="*/ 311385 h 366315"/>
                  <a:gd name="connsiteX134" fmla="*/ 0 w 295991"/>
                  <a:gd name="connsiteY134" fmla="*/ 304738 h 366315"/>
                  <a:gd name="connsiteX135" fmla="*/ 6698 w 295991"/>
                  <a:gd name="connsiteY135" fmla="*/ 298090 h 366315"/>
                  <a:gd name="connsiteX136" fmla="*/ 10321 w 295991"/>
                  <a:gd name="connsiteY136" fmla="*/ 298090 h 366315"/>
                  <a:gd name="connsiteX137" fmla="*/ 10321 w 295991"/>
                  <a:gd name="connsiteY137" fmla="*/ 297495 h 366315"/>
                  <a:gd name="connsiteX138" fmla="*/ 10321 w 295991"/>
                  <a:gd name="connsiteY138" fmla="*/ 276573 h 366315"/>
                  <a:gd name="connsiteX139" fmla="*/ 9419 w 295991"/>
                  <a:gd name="connsiteY139" fmla="*/ 276573 h 366315"/>
                  <a:gd name="connsiteX140" fmla="*/ 6698 w 295991"/>
                  <a:gd name="connsiteY140" fmla="*/ 276573 h 366315"/>
                  <a:gd name="connsiteX141" fmla="*/ 0 w 295991"/>
                  <a:gd name="connsiteY141" fmla="*/ 269926 h 366315"/>
                  <a:gd name="connsiteX142" fmla="*/ 6698 w 295991"/>
                  <a:gd name="connsiteY142" fmla="*/ 263278 h 366315"/>
                  <a:gd name="connsiteX143" fmla="*/ 10321 w 295991"/>
                  <a:gd name="connsiteY143" fmla="*/ 263278 h 366315"/>
                  <a:gd name="connsiteX144" fmla="*/ 10321 w 295991"/>
                  <a:gd name="connsiteY144" fmla="*/ 243127 h 366315"/>
                  <a:gd name="connsiteX145" fmla="*/ 10321 w 295991"/>
                  <a:gd name="connsiteY145" fmla="*/ 241411 h 366315"/>
                  <a:gd name="connsiteX146" fmla="*/ 9419 w 295991"/>
                  <a:gd name="connsiteY146" fmla="*/ 241411 h 366315"/>
                  <a:gd name="connsiteX147" fmla="*/ 6698 w 295991"/>
                  <a:gd name="connsiteY147" fmla="*/ 241411 h 366315"/>
                  <a:gd name="connsiteX148" fmla="*/ 0 w 295991"/>
                  <a:gd name="connsiteY148" fmla="*/ 234764 h 366315"/>
                  <a:gd name="connsiteX149" fmla="*/ 6698 w 295991"/>
                  <a:gd name="connsiteY149" fmla="*/ 228116 h 366315"/>
                  <a:gd name="connsiteX150" fmla="*/ 10321 w 295991"/>
                  <a:gd name="connsiteY150" fmla="*/ 228116 h 366315"/>
                  <a:gd name="connsiteX151" fmla="*/ 10321 w 295991"/>
                  <a:gd name="connsiteY151" fmla="*/ 213306 h 366315"/>
                  <a:gd name="connsiteX152" fmla="*/ 10321 w 295991"/>
                  <a:gd name="connsiteY152" fmla="*/ 206599 h 366315"/>
                  <a:gd name="connsiteX153" fmla="*/ 9419 w 295991"/>
                  <a:gd name="connsiteY153" fmla="*/ 206599 h 366315"/>
                  <a:gd name="connsiteX154" fmla="*/ 6698 w 295991"/>
                  <a:gd name="connsiteY154" fmla="*/ 206599 h 366315"/>
                  <a:gd name="connsiteX155" fmla="*/ 0 w 295991"/>
                  <a:gd name="connsiteY155" fmla="*/ 199951 h 366315"/>
                  <a:gd name="connsiteX156" fmla="*/ 6698 w 295991"/>
                  <a:gd name="connsiteY156" fmla="*/ 193304 h 366315"/>
                  <a:gd name="connsiteX157" fmla="*/ 10321 w 295991"/>
                  <a:gd name="connsiteY157" fmla="*/ 193304 h 366315"/>
                  <a:gd name="connsiteX158" fmla="*/ 10321 w 295991"/>
                  <a:gd name="connsiteY158" fmla="*/ 186105 h 366315"/>
                  <a:gd name="connsiteX159" fmla="*/ 10321 w 295991"/>
                  <a:gd name="connsiteY159" fmla="*/ 171437 h 366315"/>
                  <a:gd name="connsiteX160" fmla="*/ 9419 w 295991"/>
                  <a:gd name="connsiteY160" fmla="*/ 171437 h 366315"/>
                  <a:gd name="connsiteX161" fmla="*/ 6698 w 295991"/>
                  <a:gd name="connsiteY161" fmla="*/ 171437 h 366315"/>
                  <a:gd name="connsiteX162" fmla="*/ 0 w 295991"/>
                  <a:gd name="connsiteY162" fmla="*/ 164789 h 366315"/>
                  <a:gd name="connsiteX163" fmla="*/ 6698 w 295991"/>
                  <a:gd name="connsiteY163" fmla="*/ 158142 h 366315"/>
                  <a:gd name="connsiteX164" fmla="*/ 10321 w 295991"/>
                  <a:gd name="connsiteY164" fmla="*/ 158142 h 366315"/>
                  <a:gd name="connsiteX165" fmla="*/ 10321 w 295991"/>
                  <a:gd name="connsiteY165" fmla="*/ 139079 h 366315"/>
                  <a:gd name="connsiteX166" fmla="*/ 10321 w 295991"/>
                  <a:gd name="connsiteY166" fmla="*/ 136625 h 366315"/>
                  <a:gd name="connsiteX167" fmla="*/ 9419 w 295991"/>
                  <a:gd name="connsiteY167" fmla="*/ 136625 h 366315"/>
                  <a:gd name="connsiteX168" fmla="*/ 6698 w 295991"/>
                  <a:gd name="connsiteY168" fmla="*/ 136625 h 366315"/>
                  <a:gd name="connsiteX169" fmla="*/ 0 w 295991"/>
                  <a:gd name="connsiteY169" fmla="*/ 129890 h 366315"/>
                  <a:gd name="connsiteX170" fmla="*/ 6698 w 295991"/>
                  <a:gd name="connsiteY170" fmla="*/ 123155 h 366315"/>
                  <a:gd name="connsiteX171" fmla="*/ 10321 w 295991"/>
                  <a:gd name="connsiteY171" fmla="*/ 123155 h 366315"/>
                  <a:gd name="connsiteX172" fmla="*/ 10321 w 295991"/>
                  <a:gd name="connsiteY172" fmla="*/ 112806 h 366315"/>
                  <a:gd name="connsiteX173" fmla="*/ 10321 w 295991"/>
                  <a:gd name="connsiteY173" fmla="*/ 101463 h 366315"/>
                  <a:gd name="connsiteX174" fmla="*/ 9419 w 295991"/>
                  <a:gd name="connsiteY174" fmla="*/ 101463 h 366315"/>
                  <a:gd name="connsiteX175" fmla="*/ 6698 w 295991"/>
                  <a:gd name="connsiteY175" fmla="*/ 101463 h 366315"/>
                  <a:gd name="connsiteX176" fmla="*/ 0 w 295991"/>
                  <a:gd name="connsiteY176" fmla="*/ 94815 h 366315"/>
                  <a:gd name="connsiteX177" fmla="*/ 6698 w 295991"/>
                  <a:gd name="connsiteY177" fmla="*/ 88168 h 366315"/>
                  <a:gd name="connsiteX178" fmla="*/ 10321 w 295991"/>
                  <a:gd name="connsiteY178" fmla="*/ 88168 h 366315"/>
                  <a:gd name="connsiteX179" fmla="*/ 10321 w 295991"/>
                  <a:gd name="connsiteY179" fmla="*/ 83525 h 366315"/>
                  <a:gd name="connsiteX180" fmla="*/ 10321 w 295991"/>
                  <a:gd name="connsiteY180" fmla="*/ 66301 h 366315"/>
                  <a:gd name="connsiteX181" fmla="*/ 9419 w 295991"/>
                  <a:gd name="connsiteY181" fmla="*/ 66301 h 366315"/>
                  <a:gd name="connsiteX182" fmla="*/ 6698 w 295991"/>
                  <a:gd name="connsiteY182" fmla="*/ 66301 h 366315"/>
                  <a:gd name="connsiteX183" fmla="*/ 0 w 295991"/>
                  <a:gd name="connsiteY183" fmla="*/ 59653 h 366315"/>
                  <a:gd name="connsiteX184" fmla="*/ 6698 w 295991"/>
                  <a:gd name="connsiteY184" fmla="*/ 53006 h 366315"/>
                  <a:gd name="connsiteX185" fmla="*/ 10321 w 295991"/>
                  <a:gd name="connsiteY185" fmla="*/ 53006 h 366315"/>
                  <a:gd name="connsiteX186" fmla="*/ 10321 w 295991"/>
                  <a:gd name="connsiteY186" fmla="*/ 48776 h 366315"/>
                  <a:gd name="connsiteX187" fmla="*/ 10321 w 295991"/>
                  <a:gd name="connsiteY187" fmla="*/ 6697 h 366315"/>
                  <a:gd name="connsiteX188" fmla="*/ 17030 w 295991"/>
                  <a:gd name="connsiteY188" fmla="*/ 0 h 36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Lst>
                <a:rect l="l" t="t" r="r" b="b"/>
                <a:pathLst>
                  <a:path w="295991" h="366315">
                    <a:moveTo>
                      <a:pt x="269926" y="150095"/>
                    </a:moveTo>
                    <a:lnTo>
                      <a:pt x="269926" y="159187"/>
                    </a:lnTo>
                    <a:lnTo>
                      <a:pt x="269926" y="176510"/>
                    </a:lnTo>
                    <a:lnTo>
                      <a:pt x="271783" y="176510"/>
                    </a:lnTo>
                    <a:cubicBezTo>
                      <a:pt x="274284" y="176510"/>
                      <a:pt x="276428" y="176510"/>
                      <a:pt x="278265" y="176510"/>
                    </a:cubicBezTo>
                    <a:lnTo>
                      <a:pt x="282589" y="176510"/>
                    </a:lnTo>
                    <a:lnTo>
                      <a:pt x="282589" y="165634"/>
                    </a:lnTo>
                    <a:lnTo>
                      <a:pt x="282589" y="150095"/>
                    </a:lnTo>
                    <a:lnTo>
                      <a:pt x="280664" y="150095"/>
                    </a:lnTo>
                    <a:cubicBezTo>
                      <a:pt x="278163" y="150095"/>
                      <a:pt x="276019" y="150095"/>
                      <a:pt x="274182" y="150095"/>
                    </a:cubicBezTo>
                    <a:close/>
                    <a:moveTo>
                      <a:pt x="269926" y="109860"/>
                    </a:moveTo>
                    <a:lnTo>
                      <a:pt x="269926" y="129465"/>
                    </a:lnTo>
                    <a:lnTo>
                      <a:pt x="269926" y="136625"/>
                    </a:lnTo>
                    <a:lnTo>
                      <a:pt x="271783" y="136625"/>
                    </a:lnTo>
                    <a:cubicBezTo>
                      <a:pt x="274284" y="136625"/>
                      <a:pt x="276428" y="136625"/>
                      <a:pt x="278265" y="136625"/>
                    </a:cubicBezTo>
                    <a:lnTo>
                      <a:pt x="282589" y="136625"/>
                    </a:lnTo>
                    <a:lnTo>
                      <a:pt x="282589" y="125371"/>
                    </a:lnTo>
                    <a:cubicBezTo>
                      <a:pt x="282589" y="121914"/>
                      <a:pt x="282589" y="118674"/>
                      <a:pt x="282589" y="115635"/>
                    </a:cubicBezTo>
                    <a:lnTo>
                      <a:pt x="282589" y="109860"/>
                    </a:lnTo>
                    <a:lnTo>
                      <a:pt x="280664" y="109860"/>
                    </a:lnTo>
                    <a:cubicBezTo>
                      <a:pt x="278163" y="109860"/>
                      <a:pt x="276019" y="109860"/>
                      <a:pt x="274182" y="109860"/>
                    </a:cubicBezTo>
                    <a:close/>
                    <a:moveTo>
                      <a:pt x="121755" y="91142"/>
                    </a:moveTo>
                    <a:lnTo>
                      <a:pt x="121755" y="108460"/>
                    </a:lnTo>
                    <a:lnTo>
                      <a:pt x="199427" y="108460"/>
                    </a:lnTo>
                    <a:lnTo>
                      <a:pt x="199427" y="91142"/>
                    </a:lnTo>
                    <a:close/>
                    <a:moveTo>
                      <a:pt x="114991" y="77672"/>
                    </a:moveTo>
                    <a:cubicBezTo>
                      <a:pt x="206191" y="77672"/>
                      <a:pt x="206191" y="77672"/>
                      <a:pt x="206191" y="77672"/>
                    </a:cubicBezTo>
                    <a:cubicBezTo>
                      <a:pt x="209879" y="77672"/>
                      <a:pt x="212897" y="80689"/>
                      <a:pt x="212897" y="84377"/>
                    </a:cubicBezTo>
                    <a:cubicBezTo>
                      <a:pt x="212897" y="115224"/>
                      <a:pt x="212897" y="115224"/>
                      <a:pt x="212897" y="115224"/>
                    </a:cubicBezTo>
                    <a:cubicBezTo>
                      <a:pt x="212897" y="118913"/>
                      <a:pt x="209879" y="121930"/>
                      <a:pt x="206191" y="121930"/>
                    </a:cubicBezTo>
                    <a:cubicBezTo>
                      <a:pt x="114991" y="121930"/>
                      <a:pt x="114991" y="121930"/>
                      <a:pt x="114991" y="121930"/>
                    </a:cubicBezTo>
                    <a:cubicBezTo>
                      <a:pt x="111303" y="121930"/>
                      <a:pt x="108285" y="118913"/>
                      <a:pt x="108285" y="115224"/>
                    </a:cubicBezTo>
                    <a:cubicBezTo>
                      <a:pt x="108285" y="84377"/>
                      <a:pt x="108285" y="84377"/>
                      <a:pt x="108285" y="84377"/>
                    </a:cubicBezTo>
                    <a:cubicBezTo>
                      <a:pt x="108285" y="80689"/>
                      <a:pt x="111303" y="77672"/>
                      <a:pt x="114991" y="77672"/>
                    </a:cubicBezTo>
                    <a:close/>
                    <a:moveTo>
                      <a:pt x="269926" y="70064"/>
                    </a:moveTo>
                    <a:lnTo>
                      <a:pt x="269926" y="96390"/>
                    </a:lnTo>
                    <a:lnTo>
                      <a:pt x="271783" y="96390"/>
                    </a:lnTo>
                    <a:cubicBezTo>
                      <a:pt x="274284" y="96390"/>
                      <a:pt x="276428" y="96390"/>
                      <a:pt x="278265" y="96390"/>
                    </a:cubicBezTo>
                    <a:lnTo>
                      <a:pt x="282589" y="96390"/>
                    </a:lnTo>
                    <a:lnTo>
                      <a:pt x="282589" y="93397"/>
                    </a:lnTo>
                    <a:cubicBezTo>
                      <a:pt x="282589" y="70064"/>
                      <a:pt x="282589" y="70064"/>
                      <a:pt x="282589" y="70064"/>
                    </a:cubicBezTo>
                    <a:cubicBezTo>
                      <a:pt x="277731" y="70064"/>
                      <a:pt x="274088" y="70064"/>
                      <a:pt x="271355" y="70064"/>
                    </a:cubicBezTo>
                    <a:close/>
                    <a:moveTo>
                      <a:pt x="17030" y="0"/>
                    </a:moveTo>
                    <a:cubicBezTo>
                      <a:pt x="263218" y="0"/>
                      <a:pt x="263218" y="0"/>
                      <a:pt x="263218" y="0"/>
                    </a:cubicBezTo>
                    <a:cubicBezTo>
                      <a:pt x="266907" y="0"/>
                      <a:pt x="269926" y="3014"/>
                      <a:pt x="269926" y="6697"/>
                    </a:cubicBezTo>
                    <a:cubicBezTo>
                      <a:pt x="269926" y="17726"/>
                      <a:pt x="269926" y="28410"/>
                      <a:pt x="269926" y="38760"/>
                    </a:cubicBezTo>
                    <a:lnTo>
                      <a:pt x="269926" y="56679"/>
                    </a:lnTo>
                    <a:lnTo>
                      <a:pt x="271783" y="56679"/>
                    </a:lnTo>
                    <a:cubicBezTo>
                      <a:pt x="289290" y="56679"/>
                      <a:pt x="289290" y="56679"/>
                      <a:pt x="289290" y="56679"/>
                    </a:cubicBezTo>
                    <a:cubicBezTo>
                      <a:pt x="292976" y="56679"/>
                      <a:pt x="295991" y="59691"/>
                      <a:pt x="295991" y="63372"/>
                    </a:cubicBezTo>
                    <a:cubicBezTo>
                      <a:pt x="295991" y="70869"/>
                      <a:pt x="295991" y="78132"/>
                      <a:pt x="295991" y="85169"/>
                    </a:cubicBezTo>
                    <a:lnTo>
                      <a:pt x="295991" y="103125"/>
                    </a:lnTo>
                    <a:lnTo>
                      <a:pt x="295991" y="105604"/>
                    </a:lnTo>
                    <a:cubicBezTo>
                      <a:pt x="295991" y="118783"/>
                      <a:pt x="295991" y="131084"/>
                      <a:pt x="295991" y="142565"/>
                    </a:cubicBezTo>
                    <a:lnTo>
                      <a:pt x="295991" y="143360"/>
                    </a:lnTo>
                    <a:lnTo>
                      <a:pt x="295991" y="159178"/>
                    </a:lnTo>
                    <a:lnTo>
                      <a:pt x="295991" y="183158"/>
                    </a:lnTo>
                    <a:lnTo>
                      <a:pt x="295991" y="184546"/>
                    </a:lnTo>
                    <a:cubicBezTo>
                      <a:pt x="295991" y="191968"/>
                      <a:pt x="295991" y="198925"/>
                      <a:pt x="295991" y="205448"/>
                    </a:cubicBezTo>
                    <a:lnTo>
                      <a:pt x="295991" y="216438"/>
                    </a:lnTo>
                    <a:lnTo>
                      <a:pt x="282589" y="216438"/>
                    </a:lnTo>
                    <a:lnTo>
                      <a:pt x="282589" y="213840"/>
                    </a:lnTo>
                    <a:cubicBezTo>
                      <a:pt x="282589" y="205998"/>
                      <a:pt x="282589" y="198583"/>
                      <a:pt x="282589" y="191573"/>
                    </a:cubicBezTo>
                    <a:lnTo>
                      <a:pt x="282589" y="189805"/>
                    </a:lnTo>
                    <a:lnTo>
                      <a:pt x="280664" y="189805"/>
                    </a:lnTo>
                    <a:cubicBezTo>
                      <a:pt x="278163" y="189805"/>
                      <a:pt x="276019" y="189805"/>
                      <a:pt x="274182" y="189805"/>
                    </a:cubicBezTo>
                    <a:lnTo>
                      <a:pt x="269926" y="189805"/>
                    </a:lnTo>
                    <a:lnTo>
                      <a:pt x="269926" y="198792"/>
                    </a:lnTo>
                    <a:lnTo>
                      <a:pt x="269926" y="216438"/>
                    </a:lnTo>
                    <a:lnTo>
                      <a:pt x="256456" y="216438"/>
                    </a:lnTo>
                    <a:lnTo>
                      <a:pt x="256456" y="183158"/>
                    </a:lnTo>
                    <a:lnTo>
                      <a:pt x="256456" y="143360"/>
                    </a:lnTo>
                    <a:lnTo>
                      <a:pt x="256456" y="103125"/>
                    </a:lnTo>
                    <a:lnTo>
                      <a:pt x="256456" y="63372"/>
                    </a:lnTo>
                    <a:lnTo>
                      <a:pt x="256456" y="13470"/>
                    </a:lnTo>
                    <a:lnTo>
                      <a:pt x="23791" y="13470"/>
                    </a:lnTo>
                    <a:lnTo>
                      <a:pt x="23791" y="53006"/>
                    </a:lnTo>
                    <a:lnTo>
                      <a:pt x="25744" y="53006"/>
                    </a:lnTo>
                    <a:cubicBezTo>
                      <a:pt x="28465" y="53006"/>
                      <a:pt x="28465" y="53006"/>
                      <a:pt x="28465" y="53006"/>
                    </a:cubicBezTo>
                    <a:cubicBezTo>
                      <a:pt x="32148" y="53006"/>
                      <a:pt x="35162" y="55997"/>
                      <a:pt x="35162" y="59653"/>
                    </a:cubicBezTo>
                    <a:cubicBezTo>
                      <a:pt x="35162" y="63309"/>
                      <a:pt x="32148" y="66301"/>
                      <a:pt x="28465" y="66301"/>
                    </a:cubicBezTo>
                    <a:lnTo>
                      <a:pt x="23791" y="66301"/>
                    </a:lnTo>
                    <a:lnTo>
                      <a:pt x="23791" y="88168"/>
                    </a:lnTo>
                    <a:lnTo>
                      <a:pt x="25744" y="88168"/>
                    </a:lnTo>
                    <a:cubicBezTo>
                      <a:pt x="28465" y="88168"/>
                      <a:pt x="28465" y="88168"/>
                      <a:pt x="28465" y="88168"/>
                    </a:cubicBezTo>
                    <a:cubicBezTo>
                      <a:pt x="32148" y="88168"/>
                      <a:pt x="35162" y="91159"/>
                      <a:pt x="35162" y="94815"/>
                    </a:cubicBezTo>
                    <a:cubicBezTo>
                      <a:pt x="35162" y="98471"/>
                      <a:pt x="32148" y="101463"/>
                      <a:pt x="28465" y="101463"/>
                    </a:cubicBezTo>
                    <a:lnTo>
                      <a:pt x="23791" y="101463"/>
                    </a:lnTo>
                    <a:lnTo>
                      <a:pt x="23791" y="123155"/>
                    </a:lnTo>
                    <a:lnTo>
                      <a:pt x="25744" y="123155"/>
                    </a:lnTo>
                    <a:cubicBezTo>
                      <a:pt x="28465" y="123155"/>
                      <a:pt x="28465" y="123155"/>
                      <a:pt x="28465" y="123155"/>
                    </a:cubicBezTo>
                    <a:cubicBezTo>
                      <a:pt x="32148" y="123155"/>
                      <a:pt x="35162" y="126185"/>
                      <a:pt x="35162" y="129890"/>
                    </a:cubicBezTo>
                    <a:cubicBezTo>
                      <a:pt x="35162" y="133594"/>
                      <a:pt x="32148" y="136625"/>
                      <a:pt x="28465" y="136625"/>
                    </a:cubicBezTo>
                    <a:lnTo>
                      <a:pt x="23791" y="136625"/>
                    </a:lnTo>
                    <a:lnTo>
                      <a:pt x="23791" y="158142"/>
                    </a:lnTo>
                    <a:lnTo>
                      <a:pt x="25744" y="158142"/>
                    </a:lnTo>
                    <a:cubicBezTo>
                      <a:pt x="28465" y="158142"/>
                      <a:pt x="28465" y="158142"/>
                      <a:pt x="28465" y="158142"/>
                    </a:cubicBezTo>
                    <a:cubicBezTo>
                      <a:pt x="32148" y="158142"/>
                      <a:pt x="35162" y="161133"/>
                      <a:pt x="35162" y="164789"/>
                    </a:cubicBezTo>
                    <a:cubicBezTo>
                      <a:pt x="35162" y="168446"/>
                      <a:pt x="32148" y="171437"/>
                      <a:pt x="28465" y="171437"/>
                    </a:cubicBezTo>
                    <a:lnTo>
                      <a:pt x="23791" y="171437"/>
                    </a:lnTo>
                    <a:lnTo>
                      <a:pt x="23791" y="193304"/>
                    </a:lnTo>
                    <a:lnTo>
                      <a:pt x="25744" y="193304"/>
                    </a:lnTo>
                    <a:cubicBezTo>
                      <a:pt x="28465" y="193304"/>
                      <a:pt x="28465" y="193304"/>
                      <a:pt x="28465" y="193304"/>
                    </a:cubicBezTo>
                    <a:cubicBezTo>
                      <a:pt x="32148" y="193304"/>
                      <a:pt x="35162" y="196295"/>
                      <a:pt x="35162" y="199951"/>
                    </a:cubicBezTo>
                    <a:cubicBezTo>
                      <a:pt x="35162" y="203608"/>
                      <a:pt x="32148" y="206599"/>
                      <a:pt x="28465" y="206599"/>
                    </a:cubicBezTo>
                    <a:lnTo>
                      <a:pt x="23791" y="206599"/>
                    </a:lnTo>
                    <a:lnTo>
                      <a:pt x="23791" y="228116"/>
                    </a:lnTo>
                    <a:lnTo>
                      <a:pt x="25744" y="228116"/>
                    </a:lnTo>
                    <a:cubicBezTo>
                      <a:pt x="28465" y="228116"/>
                      <a:pt x="28465" y="228116"/>
                      <a:pt x="28465" y="228116"/>
                    </a:cubicBezTo>
                    <a:cubicBezTo>
                      <a:pt x="32148" y="228116"/>
                      <a:pt x="35162" y="231107"/>
                      <a:pt x="35162" y="234764"/>
                    </a:cubicBezTo>
                    <a:cubicBezTo>
                      <a:pt x="35162" y="238420"/>
                      <a:pt x="32148" y="241411"/>
                      <a:pt x="28465" y="241411"/>
                    </a:cubicBezTo>
                    <a:lnTo>
                      <a:pt x="23791" y="241411"/>
                    </a:lnTo>
                    <a:lnTo>
                      <a:pt x="23791" y="263278"/>
                    </a:lnTo>
                    <a:lnTo>
                      <a:pt x="25744" y="263278"/>
                    </a:lnTo>
                    <a:cubicBezTo>
                      <a:pt x="28465" y="263278"/>
                      <a:pt x="28465" y="263278"/>
                      <a:pt x="28465" y="263278"/>
                    </a:cubicBezTo>
                    <a:cubicBezTo>
                      <a:pt x="32148" y="263278"/>
                      <a:pt x="35162" y="266270"/>
                      <a:pt x="35162" y="269926"/>
                    </a:cubicBezTo>
                    <a:cubicBezTo>
                      <a:pt x="35162" y="273582"/>
                      <a:pt x="32148" y="276573"/>
                      <a:pt x="28465" y="276573"/>
                    </a:cubicBezTo>
                    <a:lnTo>
                      <a:pt x="23791" y="276573"/>
                    </a:lnTo>
                    <a:lnTo>
                      <a:pt x="23791" y="298090"/>
                    </a:lnTo>
                    <a:lnTo>
                      <a:pt x="25744" y="298090"/>
                    </a:lnTo>
                    <a:cubicBezTo>
                      <a:pt x="28465" y="298090"/>
                      <a:pt x="28465" y="298090"/>
                      <a:pt x="28465" y="298090"/>
                    </a:cubicBezTo>
                    <a:cubicBezTo>
                      <a:pt x="32148" y="298090"/>
                      <a:pt x="35162" y="301082"/>
                      <a:pt x="35162" y="304738"/>
                    </a:cubicBezTo>
                    <a:cubicBezTo>
                      <a:pt x="35162" y="308394"/>
                      <a:pt x="32148" y="311385"/>
                      <a:pt x="28465" y="311385"/>
                    </a:cubicBezTo>
                    <a:lnTo>
                      <a:pt x="23791" y="311385"/>
                    </a:lnTo>
                    <a:lnTo>
                      <a:pt x="23791" y="352845"/>
                    </a:lnTo>
                    <a:lnTo>
                      <a:pt x="171599" y="352845"/>
                    </a:lnTo>
                    <a:lnTo>
                      <a:pt x="171599" y="366315"/>
                    </a:lnTo>
                    <a:lnTo>
                      <a:pt x="120890" y="366315"/>
                    </a:lnTo>
                    <a:cubicBezTo>
                      <a:pt x="17030" y="366315"/>
                      <a:pt x="17030" y="366315"/>
                      <a:pt x="17030" y="366315"/>
                    </a:cubicBezTo>
                    <a:cubicBezTo>
                      <a:pt x="13340" y="366315"/>
                      <a:pt x="10321" y="363302"/>
                      <a:pt x="10321" y="359618"/>
                    </a:cubicBezTo>
                    <a:cubicBezTo>
                      <a:pt x="10321" y="348590"/>
                      <a:pt x="10321" y="337905"/>
                      <a:pt x="10321" y="327555"/>
                    </a:cubicBezTo>
                    <a:lnTo>
                      <a:pt x="10321" y="311385"/>
                    </a:lnTo>
                    <a:lnTo>
                      <a:pt x="9419" y="311385"/>
                    </a:lnTo>
                    <a:cubicBezTo>
                      <a:pt x="6698" y="311385"/>
                      <a:pt x="6698" y="311385"/>
                      <a:pt x="6698" y="311385"/>
                    </a:cubicBezTo>
                    <a:cubicBezTo>
                      <a:pt x="3014" y="311385"/>
                      <a:pt x="0" y="308394"/>
                      <a:pt x="0" y="304738"/>
                    </a:cubicBezTo>
                    <a:cubicBezTo>
                      <a:pt x="0" y="301082"/>
                      <a:pt x="3014" y="298090"/>
                      <a:pt x="6698" y="298090"/>
                    </a:cubicBezTo>
                    <a:lnTo>
                      <a:pt x="10321" y="298090"/>
                    </a:lnTo>
                    <a:lnTo>
                      <a:pt x="10321" y="297495"/>
                    </a:lnTo>
                    <a:lnTo>
                      <a:pt x="10321" y="276573"/>
                    </a:lnTo>
                    <a:lnTo>
                      <a:pt x="9419" y="276573"/>
                    </a:lnTo>
                    <a:cubicBezTo>
                      <a:pt x="6698" y="276573"/>
                      <a:pt x="6698" y="276573"/>
                      <a:pt x="6698" y="276573"/>
                    </a:cubicBezTo>
                    <a:cubicBezTo>
                      <a:pt x="3014" y="276573"/>
                      <a:pt x="0" y="273582"/>
                      <a:pt x="0" y="269926"/>
                    </a:cubicBezTo>
                    <a:cubicBezTo>
                      <a:pt x="0" y="266270"/>
                      <a:pt x="3014" y="263278"/>
                      <a:pt x="6698" y="263278"/>
                    </a:cubicBezTo>
                    <a:lnTo>
                      <a:pt x="10321" y="263278"/>
                    </a:lnTo>
                    <a:lnTo>
                      <a:pt x="10321" y="243127"/>
                    </a:lnTo>
                    <a:lnTo>
                      <a:pt x="10321" y="241411"/>
                    </a:lnTo>
                    <a:lnTo>
                      <a:pt x="9419" y="241411"/>
                    </a:lnTo>
                    <a:cubicBezTo>
                      <a:pt x="6698" y="241411"/>
                      <a:pt x="6698" y="241411"/>
                      <a:pt x="6698" y="241411"/>
                    </a:cubicBezTo>
                    <a:cubicBezTo>
                      <a:pt x="3014" y="241411"/>
                      <a:pt x="0" y="238420"/>
                      <a:pt x="0" y="234764"/>
                    </a:cubicBezTo>
                    <a:cubicBezTo>
                      <a:pt x="0" y="231107"/>
                      <a:pt x="3014" y="228116"/>
                      <a:pt x="6698" y="228116"/>
                    </a:cubicBezTo>
                    <a:lnTo>
                      <a:pt x="10321" y="228116"/>
                    </a:lnTo>
                    <a:lnTo>
                      <a:pt x="10321" y="213306"/>
                    </a:lnTo>
                    <a:lnTo>
                      <a:pt x="10321" y="206599"/>
                    </a:lnTo>
                    <a:lnTo>
                      <a:pt x="9419" y="206599"/>
                    </a:lnTo>
                    <a:cubicBezTo>
                      <a:pt x="6698" y="206599"/>
                      <a:pt x="6698" y="206599"/>
                      <a:pt x="6698" y="206599"/>
                    </a:cubicBezTo>
                    <a:cubicBezTo>
                      <a:pt x="3014" y="206599"/>
                      <a:pt x="0" y="203608"/>
                      <a:pt x="0" y="199951"/>
                    </a:cubicBezTo>
                    <a:cubicBezTo>
                      <a:pt x="0" y="196295"/>
                      <a:pt x="3014" y="193304"/>
                      <a:pt x="6698" y="193304"/>
                    </a:cubicBezTo>
                    <a:lnTo>
                      <a:pt x="10321" y="193304"/>
                    </a:lnTo>
                    <a:lnTo>
                      <a:pt x="10321" y="186105"/>
                    </a:lnTo>
                    <a:lnTo>
                      <a:pt x="10321" y="171437"/>
                    </a:lnTo>
                    <a:lnTo>
                      <a:pt x="9419" y="171437"/>
                    </a:lnTo>
                    <a:cubicBezTo>
                      <a:pt x="6698" y="171437"/>
                      <a:pt x="6698" y="171437"/>
                      <a:pt x="6698" y="171437"/>
                    </a:cubicBezTo>
                    <a:cubicBezTo>
                      <a:pt x="3014" y="171437"/>
                      <a:pt x="0" y="168446"/>
                      <a:pt x="0" y="164789"/>
                    </a:cubicBezTo>
                    <a:cubicBezTo>
                      <a:pt x="0" y="161133"/>
                      <a:pt x="3014" y="158142"/>
                      <a:pt x="6698" y="158142"/>
                    </a:cubicBezTo>
                    <a:lnTo>
                      <a:pt x="10321" y="158142"/>
                    </a:lnTo>
                    <a:lnTo>
                      <a:pt x="10321" y="139079"/>
                    </a:lnTo>
                    <a:lnTo>
                      <a:pt x="10321" y="136625"/>
                    </a:lnTo>
                    <a:lnTo>
                      <a:pt x="9419" y="136625"/>
                    </a:lnTo>
                    <a:cubicBezTo>
                      <a:pt x="6698" y="136625"/>
                      <a:pt x="6698" y="136625"/>
                      <a:pt x="6698" y="136625"/>
                    </a:cubicBezTo>
                    <a:cubicBezTo>
                      <a:pt x="3014" y="136625"/>
                      <a:pt x="0" y="133594"/>
                      <a:pt x="0" y="129890"/>
                    </a:cubicBezTo>
                    <a:cubicBezTo>
                      <a:pt x="0" y="126185"/>
                      <a:pt x="3014" y="123155"/>
                      <a:pt x="6698" y="123155"/>
                    </a:cubicBezTo>
                    <a:lnTo>
                      <a:pt x="10321" y="123155"/>
                    </a:lnTo>
                    <a:lnTo>
                      <a:pt x="10321" y="112806"/>
                    </a:lnTo>
                    <a:lnTo>
                      <a:pt x="10321" y="101463"/>
                    </a:lnTo>
                    <a:lnTo>
                      <a:pt x="9419" y="101463"/>
                    </a:lnTo>
                    <a:cubicBezTo>
                      <a:pt x="6698" y="101463"/>
                      <a:pt x="6698" y="101463"/>
                      <a:pt x="6698" y="101463"/>
                    </a:cubicBezTo>
                    <a:cubicBezTo>
                      <a:pt x="3014" y="101463"/>
                      <a:pt x="0" y="98471"/>
                      <a:pt x="0" y="94815"/>
                    </a:cubicBezTo>
                    <a:cubicBezTo>
                      <a:pt x="0" y="91159"/>
                      <a:pt x="3014" y="88168"/>
                      <a:pt x="6698" y="88168"/>
                    </a:cubicBezTo>
                    <a:lnTo>
                      <a:pt x="10321" y="88168"/>
                    </a:lnTo>
                    <a:lnTo>
                      <a:pt x="10321" y="83525"/>
                    </a:lnTo>
                    <a:lnTo>
                      <a:pt x="10321" y="66301"/>
                    </a:lnTo>
                    <a:lnTo>
                      <a:pt x="9419" y="66301"/>
                    </a:lnTo>
                    <a:cubicBezTo>
                      <a:pt x="6698" y="66301"/>
                      <a:pt x="6698" y="66301"/>
                      <a:pt x="6698" y="66301"/>
                    </a:cubicBezTo>
                    <a:cubicBezTo>
                      <a:pt x="3014" y="66301"/>
                      <a:pt x="0" y="63309"/>
                      <a:pt x="0" y="59653"/>
                    </a:cubicBezTo>
                    <a:cubicBezTo>
                      <a:pt x="0" y="55997"/>
                      <a:pt x="3014" y="53006"/>
                      <a:pt x="6698" y="53006"/>
                    </a:cubicBezTo>
                    <a:lnTo>
                      <a:pt x="10321" y="53006"/>
                    </a:lnTo>
                    <a:lnTo>
                      <a:pt x="10321" y="48776"/>
                    </a:lnTo>
                    <a:cubicBezTo>
                      <a:pt x="10321" y="6697"/>
                      <a:pt x="10321" y="6697"/>
                      <a:pt x="10321" y="6697"/>
                    </a:cubicBezTo>
                    <a:cubicBezTo>
                      <a:pt x="10321" y="3014"/>
                      <a:pt x="13340" y="0"/>
                      <a:pt x="17030"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grpSp>
            <p:nvGrpSpPr>
              <p:cNvPr id="664" name="Group 14"/>
              <p:cNvGrpSpPr>
                <a:grpSpLocks noChangeAspect="1"/>
              </p:cNvGrpSpPr>
              <p:nvPr/>
            </p:nvGrpSpPr>
            <p:grpSpPr bwMode="auto">
              <a:xfrm>
                <a:off x="2409106" y="3620181"/>
                <a:ext cx="188035" cy="233340"/>
                <a:chOff x="2986" y="1098"/>
                <a:chExt cx="1710" cy="2122"/>
              </a:xfrm>
              <a:grpFill/>
            </p:grpSpPr>
            <p:sp>
              <p:nvSpPr>
                <p:cNvPr id="665" name="Freeform 664"/>
                <p:cNvSpPr>
                  <a:spLocks/>
                </p:cNvSpPr>
                <p:nvPr/>
              </p:nvSpPr>
              <p:spPr bwMode="auto">
                <a:xfrm>
                  <a:off x="2986" y="1454"/>
                  <a:ext cx="1710" cy="380"/>
                </a:xfrm>
                <a:custGeom>
                  <a:avLst/>
                  <a:gdLst>
                    <a:gd name="T0" fmla="*/ 442 w 885"/>
                    <a:gd name="T1" fmla="*/ 198 h 198"/>
                    <a:gd name="T2" fmla="*/ 0 w 885"/>
                    <a:gd name="T3" fmla="*/ 24 h 198"/>
                    <a:gd name="T4" fmla="*/ 24 w 885"/>
                    <a:gd name="T5" fmla="*/ 0 h 198"/>
                    <a:gd name="T6" fmla="*/ 48 w 885"/>
                    <a:gd name="T7" fmla="*/ 24 h 198"/>
                    <a:gd name="T8" fmla="*/ 442 w 885"/>
                    <a:gd name="T9" fmla="*/ 150 h 198"/>
                    <a:gd name="T10" fmla="*/ 837 w 885"/>
                    <a:gd name="T11" fmla="*/ 24 h 198"/>
                    <a:gd name="T12" fmla="*/ 861 w 885"/>
                    <a:gd name="T13" fmla="*/ 0 h 198"/>
                    <a:gd name="T14" fmla="*/ 885 w 885"/>
                    <a:gd name="T15" fmla="*/ 24 h 198"/>
                    <a:gd name="T16" fmla="*/ 442 w 885"/>
                    <a:gd name="T1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5" h="198">
                      <a:moveTo>
                        <a:pt x="442" y="198"/>
                      </a:moveTo>
                      <a:cubicBezTo>
                        <a:pt x="228" y="198"/>
                        <a:pt x="0" y="137"/>
                        <a:pt x="0" y="24"/>
                      </a:cubicBezTo>
                      <a:cubicBezTo>
                        <a:pt x="0" y="11"/>
                        <a:pt x="11" y="0"/>
                        <a:pt x="24" y="0"/>
                      </a:cubicBezTo>
                      <a:cubicBezTo>
                        <a:pt x="37" y="0"/>
                        <a:pt x="48" y="11"/>
                        <a:pt x="48" y="24"/>
                      </a:cubicBezTo>
                      <a:cubicBezTo>
                        <a:pt x="48" y="84"/>
                        <a:pt x="217" y="150"/>
                        <a:pt x="442" y="150"/>
                      </a:cubicBezTo>
                      <a:cubicBezTo>
                        <a:pt x="668" y="150"/>
                        <a:pt x="837" y="84"/>
                        <a:pt x="837" y="24"/>
                      </a:cubicBezTo>
                      <a:cubicBezTo>
                        <a:pt x="837" y="11"/>
                        <a:pt x="847" y="0"/>
                        <a:pt x="861" y="0"/>
                      </a:cubicBezTo>
                      <a:cubicBezTo>
                        <a:pt x="874" y="0"/>
                        <a:pt x="885" y="11"/>
                        <a:pt x="885" y="24"/>
                      </a:cubicBezTo>
                      <a:cubicBezTo>
                        <a:pt x="885" y="137"/>
                        <a:pt x="657" y="198"/>
                        <a:pt x="442"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lumMod val="75000"/>
                      </a:schemeClr>
                    </a:solidFill>
                    <a:effectLst/>
                    <a:uLnTx/>
                    <a:uFillTx/>
                  </a:endParaRPr>
                </a:p>
              </p:txBody>
            </p:sp>
            <p:sp>
              <p:nvSpPr>
                <p:cNvPr id="666" name="Freeform 665"/>
                <p:cNvSpPr>
                  <a:spLocks noEditPoints="1"/>
                </p:cNvSpPr>
                <p:nvPr/>
              </p:nvSpPr>
              <p:spPr bwMode="auto">
                <a:xfrm>
                  <a:off x="2986" y="1098"/>
                  <a:ext cx="1710" cy="2122"/>
                </a:xfrm>
                <a:custGeom>
                  <a:avLst/>
                  <a:gdLst>
                    <a:gd name="T0" fmla="*/ 895 w 895"/>
                    <a:gd name="T1" fmla="*/ 216 h 1108"/>
                    <a:gd name="T2" fmla="*/ 895 w 895"/>
                    <a:gd name="T3" fmla="*/ 213 h 1108"/>
                    <a:gd name="T4" fmla="*/ 750 w 895"/>
                    <a:gd name="T5" fmla="*/ 53 h 1108"/>
                    <a:gd name="T6" fmla="*/ 447 w 895"/>
                    <a:gd name="T7" fmla="*/ 0 h 1108"/>
                    <a:gd name="T8" fmla="*/ 145 w 895"/>
                    <a:gd name="T9" fmla="*/ 53 h 1108"/>
                    <a:gd name="T10" fmla="*/ 0 w 895"/>
                    <a:gd name="T11" fmla="*/ 213 h 1108"/>
                    <a:gd name="T12" fmla="*/ 0 w 895"/>
                    <a:gd name="T13" fmla="*/ 216 h 1108"/>
                    <a:gd name="T14" fmla="*/ 0 w 895"/>
                    <a:gd name="T15" fmla="*/ 219 h 1108"/>
                    <a:gd name="T16" fmla="*/ 0 w 895"/>
                    <a:gd name="T17" fmla="*/ 225 h 1108"/>
                    <a:gd name="T18" fmla="*/ 0 w 895"/>
                    <a:gd name="T19" fmla="*/ 895 h 1108"/>
                    <a:gd name="T20" fmla="*/ 145 w 895"/>
                    <a:gd name="T21" fmla="*/ 1055 h 1108"/>
                    <a:gd name="T22" fmla="*/ 447 w 895"/>
                    <a:gd name="T23" fmla="*/ 1108 h 1108"/>
                    <a:gd name="T24" fmla="*/ 750 w 895"/>
                    <a:gd name="T25" fmla="*/ 1055 h 1108"/>
                    <a:gd name="T26" fmla="*/ 895 w 895"/>
                    <a:gd name="T27" fmla="*/ 895 h 1108"/>
                    <a:gd name="T28" fmla="*/ 895 w 895"/>
                    <a:gd name="T29" fmla="*/ 225 h 1108"/>
                    <a:gd name="T30" fmla="*/ 894 w 895"/>
                    <a:gd name="T31" fmla="*/ 220 h 1108"/>
                    <a:gd name="T32" fmla="*/ 895 w 895"/>
                    <a:gd name="T33" fmla="*/ 216 h 1108"/>
                    <a:gd name="T34" fmla="*/ 847 w 895"/>
                    <a:gd name="T35" fmla="*/ 895 h 1108"/>
                    <a:gd name="T36" fmla="*/ 731 w 895"/>
                    <a:gd name="T37" fmla="*/ 1011 h 1108"/>
                    <a:gd name="T38" fmla="*/ 447 w 895"/>
                    <a:gd name="T39" fmla="*/ 1060 h 1108"/>
                    <a:gd name="T40" fmla="*/ 163 w 895"/>
                    <a:gd name="T41" fmla="*/ 1011 h 1108"/>
                    <a:gd name="T42" fmla="*/ 48 w 895"/>
                    <a:gd name="T43" fmla="*/ 895 h 1108"/>
                    <a:gd name="T44" fmla="*/ 48 w 895"/>
                    <a:gd name="T45" fmla="*/ 232 h 1108"/>
                    <a:gd name="T46" fmla="*/ 49 w 895"/>
                    <a:gd name="T47" fmla="*/ 222 h 1108"/>
                    <a:gd name="T48" fmla="*/ 48 w 895"/>
                    <a:gd name="T49" fmla="*/ 212 h 1108"/>
                    <a:gd name="T50" fmla="*/ 163 w 895"/>
                    <a:gd name="T51" fmla="*/ 98 h 1108"/>
                    <a:gd name="T52" fmla="*/ 447 w 895"/>
                    <a:gd name="T53" fmla="*/ 48 h 1108"/>
                    <a:gd name="T54" fmla="*/ 731 w 895"/>
                    <a:gd name="T55" fmla="*/ 98 h 1108"/>
                    <a:gd name="T56" fmla="*/ 847 w 895"/>
                    <a:gd name="T57" fmla="*/ 212 h 1108"/>
                    <a:gd name="T58" fmla="*/ 846 w 895"/>
                    <a:gd name="T59" fmla="*/ 222 h 1108"/>
                    <a:gd name="T60" fmla="*/ 847 w 895"/>
                    <a:gd name="T61" fmla="*/ 232 h 1108"/>
                    <a:gd name="T62" fmla="*/ 847 w 895"/>
                    <a:gd name="T63" fmla="*/ 895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5" h="1108">
                      <a:moveTo>
                        <a:pt x="895" y="216"/>
                      </a:moveTo>
                      <a:cubicBezTo>
                        <a:pt x="895" y="215"/>
                        <a:pt x="895" y="214"/>
                        <a:pt x="895" y="213"/>
                      </a:cubicBezTo>
                      <a:cubicBezTo>
                        <a:pt x="895" y="149"/>
                        <a:pt x="843" y="92"/>
                        <a:pt x="750" y="53"/>
                      </a:cubicBezTo>
                      <a:cubicBezTo>
                        <a:pt x="668" y="19"/>
                        <a:pt x="561" y="0"/>
                        <a:pt x="447" y="0"/>
                      </a:cubicBezTo>
                      <a:cubicBezTo>
                        <a:pt x="334" y="0"/>
                        <a:pt x="227" y="19"/>
                        <a:pt x="145" y="53"/>
                      </a:cubicBezTo>
                      <a:cubicBezTo>
                        <a:pt x="51" y="92"/>
                        <a:pt x="0" y="149"/>
                        <a:pt x="0" y="213"/>
                      </a:cubicBezTo>
                      <a:cubicBezTo>
                        <a:pt x="0" y="214"/>
                        <a:pt x="0" y="215"/>
                        <a:pt x="0" y="216"/>
                      </a:cubicBezTo>
                      <a:cubicBezTo>
                        <a:pt x="0" y="219"/>
                        <a:pt x="0" y="219"/>
                        <a:pt x="0" y="219"/>
                      </a:cubicBezTo>
                      <a:cubicBezTo>
                        <a:pt x="0" y="221"/>
                        <a:pt x="0" y="223"/>
                        <a:pt x="0" y="225"/>
                      </a:cubicBezTo>
                      <a:cubicBezTo>
                        <a:pt x="0" y="895"/>
                        <a:pt x="0" y="895"/>
                        <a:pt x="0" y="895"/>
                      </a:cubicBezTo>
                      <a:cubicBezTo>
                        <a:pt x="0" y="960"/>
                        <a:pt x="51" y="1016"/>
                        <a:pt x="145" y="1055"/>
                      </a:cubicBezTo>
                      <a:cubicBezTo>
                        <a:pt x="227" y="1089"/>
                        <a:pt x="334" y="1108"/>
                        <a:pt x="447" y="1108"/>
                      </a:cubicBezTo>
                      <a:cubicBezTo>
                        <a:pt x="561" y="1108"/>
                        <a:pt x="668" y="1089"/>
                        <a:pt x="750" y="1055"/>
                      </a:cubicBezTo>
                      <a:cubicBezTo>
                        <a:pt x="843" y="1016"/>
                        <a:pt x="895" y="960"/>
                        <a:pt x="895" y="895"/>
                      </a:cubicBezTo>
                      <a:cubicBezTo>
                        <a:pt x="895" y="225"/>
                        <a:pt x="895" y="225"/>
                        <a:pt x="895" y="225"/>
                      </a:cubicBezTo>
                      <a:cubicBezTo>
                        <a:pt x="895" y="223"/>
                        <a:pt x="895" y="221"/>
                        <a:pt x="894" y="220"/>
                      </a:cubicBezTo>
                      <a:lnTo>
                        <a:pt x="895" y="216"/>
                      </a:lnTo>
                      <a:close/>
                      <a:moveTo>
                        <a:pt x="847" y="895"/>
                      </a:moveTo>
                      <a:cubicBezTo>
                        <a:pt x="847" y="939"/>
                        <a:pt x="806" y="980"/>
                        <a:pt x="731" y="1011"/>
                      </a:cubicBezTo>
                      <a:cubicBezTo>
                        <a:pt x="655" y="1042"/>
                        <a:pt x="554" y="1060"/>
                        <a:pt x="447" y="1060"/>
                      </a:cubicBezTo>
                      <a:cubicBezTo>
                        <a:pt x="340" y="1060"/>
                        <a:pt x="239" y="1042"/>
                        <a:pt x="163" y="1011"/>
                      </a:cubicBezTo>
                      <a:cubicBezTo>
                        <a:pt x="89" y="980"/>
                        <a:pt x="48" y="939"/>
                        <a:pt x="48" y="895"/>
                      </a:cubicBezTo>
                      <a:cubicBezTo>
                        <a:pt x="48" y="232"/>
                        <a:pt x="48" y="232"/>
                        <a:pt x="48" y="232"/>
                      </a:cubicBezTo>
                      <a:cubicBezTo>
                        <a:pt x="49" y="229"/>
                        <a:pt x="49" y="226"/>
                        <a:pt x="49" y="222"/>
                      </a:cubicBezTo>
                      <a:cubicBezTo>
                        <a:pt x="48" y="212"/>
                        <a:pt x="48" y="212"/>
                        <a:pt x="48" y="212"/>
                      </a:cubicBezTo>
                      <a:cubicBezTo>
                        <a:pt x="48" y="169"/>
                        <a:pt x="89" y="128"/>
                        <a:pt x="163" y="98"/>
                      </a:cubicBezTo>
                      <a:cubicBezTo>
                        <a:pt x="239" y="66"/>
                        <a:pt x="340" y="48"/>
                        <a:pt x="447" y="48"/>
                      </a:cubicBezTo>
                      <a:cubicBezTo>
                        <a:pt x="554" y="48"/>
                        <a:pt x="655" y="66"/>
                        <a:pt x="731" y="98"/>
                      </a:cubicBezTo>
                      <a:cubicBezTo>
                        <a:pt x="805" y="128"/>
                        <a:pt x="846" y="169"/>
                        <a:pt x="847" y="212"/>
                      </a:cubicBezTo>
                      <a:cubicBezTo>
                        <a:pt x="846" y="222"/>
                        <a:pt x="846" y="222"/>
                        <a:pt x="846" y="222"/>
                      </a:cubicBezTo>
                      <a:cubicBezTo>
                        <a:pt x="846" y="226"/>
                        <a:pt x="846" y="229"/>
                        <a:pt x="847" y="232"/>
                      </a:cubicBezTo>
                      <a:lnTo>
                        <a:pt x="847" y="8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grpSp>
        </p:grpSp>
        <p:sp>
          <p:nvSpPr>
            <p:cNvPr id="667" name="TextBox 666"/>
            <p:cNvSpPr txBox="1"/>
            <p:nvPr/>
          </p:nvSpPr>
          <p:spPr>
            <a:xfrm>
              <a:off x="14557223" y="3100719"/>
              <a:ext cx="1149449" cy="642942"/>
            </a:xfrm>
            <a:prstGeom prst="rect">
              <a:avLst/>
            </a:prstGeom>
            <a:noFill/>
            <a:ln w="19050">
              <a:solidFill>
                <a:srgbClr val="0078D7"/>
              </a:solidFill>
            </a:ln>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chemeClr val="accent2">
                      <a:lumMod val="75000"/>
                    </a:schemeClr>
                  </a:solidFill>
                  <a:effectLst/>
                  <a:uLnTx/>
                  <a:uFillTx/>
                </a:rPr>
                <a:t>DATA</a:t>
              </a:r>
              <a:br>
                <a:rPr kumimoji="0" lang="en-US" sz="1200" b="0" i="0" u="none" strike="noStrike" kern="0" cap="none" spc="0" normalizeH="0" baseline="0" noProof="0" dirty="0">
                  <a:ln>
                    <a:noFill/>
                  </a:ln>
                  <a:solidFill>
                    <a:schemeClr val="accent2">
                      <a:lumMod val="75000"/>
                    </a:schemeClr>
                  </a:solidFill>
                  <a:effectLst/>
                  <a:uLnTx/>
                  <a:uFillTx/>
                </a:rPr>
              </a:br>
              <a:r>
                <a:rPr kumimoji="0" lang="en-US" sz="1200" b="0" i="0" u="none" strike="noStrike" kern="0" cap="none" spc="0" normalizeH="0" baseline="0" noProof="0" dirty="0">
                  <a:ln>
                    <a:noFill/>
                  </a:ln>
                  <a:solidFill>
                    <a:schemeClr val="accent2">
                      <a:lumMod val="75000"/>
                    </a:schemeClr>
                  </a:solidFill>
                  <a:effectLst/>
                  <a:uLnTx/>
                  <a:uFillTx/>
                </a:rPr>
                <a:t>CONSUMPTION</a:t>
              </a:r>
            </a:p>
          </p:txBody>
        </p:sp>
        <p:cxnSp>
          <p:nvCxnSpPr>
            <p:cNvPr id="668" name="Straight Connector 667"/>
            <p:cNvCxnSpPr>
              <a:stCxn id="574" idx="6"/>
              <a:endCxn id="588" idx="2"/>
            </p:cNvCxnSpPr>
            <p:nvPr/>
          </p:nvCxnSpPr>
          <p:spPr>
            <a:xfrm>
              <a:off x="11160249" y="3393670"/>
              <a:ext cx="168632" cy="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669" name="Group 668"/>
            <p:cNvGrpSpPr/>
            <p:nvPr/>
          </p:nvGrpSpPr>
          <p:grpSpPr>
            <a:xfrm rot="10800000">
              <a:off x="14222242" y="3274811"/>
              <a:ext cx="314332" cy="234950"/>
              <a:chOff x="4329106" y="3274811"/>
              <a:chExt cx="414344" cy="234950"/>
            </a:xfrm>
            <a:grpFill/>
          </p:grpSpPr>
          <p:cxnSp>
            <p:nvCxnSpPr>
              <p:cNvPr id="670" name="Straight Connector 669"/>
              <p:cNvCxnSpPr/>
              <p:nvPr/>
            </p:nvCxnSpPr>
            <p:spPr>
              <a:xfrm>
                <a:off x="4329107" y="3382761"/>
                <a:ext cx="414343" cy="0"/>
              </a:xfrm>
              <a:prstGeom prst="line">
                <a:avLst/>
              </a:prstGeom>
              <a:grpFill/>
              <a:ln>
                <a:solidFill>
                  <a:srgbClr val="0078D7"/>
                </a:solidFill>
                <a:prstDash val="dash"/>
                <a:headEnd type="none"/>
                <a:tailEnd type="oval"/>
              </a:ln>
            </p:spPr>
            <p:style>
              <a:lnRef idx="1">
                <a:schemeClr val="accent1"/>
              </a:lnRef>
              <a:fillRef idx="0">
                <a:schemeClr val="accent1"/>
              </a:fillRef>
              <a:effectRef idx="0">
                <a:schemeClr val="accent1"/>
              </a:effectRef>
              <a:fontRef idx="minor">
                <a:schemeClr val="tx1"/>
              </a:fontRef>
            </p:style>
          </p:cxnSp>
          <p:cxnSp>
            <p:nvCxnSpPr>
              <p:cNvPr id="671" name="Straight Connector 670"/>
              <p:cNvCxnSpPr/>
              <p:nvPr/>
            </p:nvCxnSpPr>
            <p:spPr>
              <a:xfrm rot="10800000" flipH="1">
                <a:off x="4329106" y="3274811"/>
                <a:ext cx="152745" cy="0"/>
              </a:xfrm>
              <a:prstGeom prst="line">
                <a:avLst/>
              </a:prstGeom>
              <a:grpFill/>
              <a:ln>
                <a:solidFill>
                  <a:srgbClr val="0078D7"/>
                </a:solidFill>
                <a:prstDash val="dash"/>
                <a:headEnd type="none"/>
                <a:tailEnd type="oval"/>
              </a:ln>
            </p:spPr>
            <p:style>
              <a:lnRef idx="1">
                <a:schemeClr val="accent1"/>
              </a:lnRef>
              <a:fillRef idx="0">
                <a:schemeClr val="accent1"/>
              </a:fillRef>
              <a:effectRef idx="0">
                <a:schemeClr val="accent1"/>
              </a:effectRef>
              <a:fontRef idx="minor">
                <a:schemeClr val="tx1"/>
              </a:fontRef>
            </p:style>
          </p:cxnSp>
          <p:cxnSp>
            <p:nvCxnSpPr>
              <p:cNvPr id="672" name="Straight Connector 671"/>
              <p:cNvCxnSpPr/>
              <p:nvPr/>
            </p:nvCxnSpPr>
            <p:spPr>
              <a:xfrm rot="10800000" flipH="1">
                <a:off x="4329106" y="3509761"/>
                <a:ext cx="286675" cy="0"/>
              </a:xfrm>
              <a:prstGeom prst="line">
                <a:avLst/>
              </a:prstGeom>
              <a:grpFill/>
              <a:ln>
                <a:solidFill>
                  <a:srgbClr val="0078D7"/>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
          <p:nvSpPr>
            <p:cNvPr id="673" name="Freeform 672"/>
            <p:cNvSpPr/>
            <p:nvPr/>
          </p:nvSpPr>
          <p:spPr bwMode="auto">
            <a:xfrm>
              <a:off x="14770907" y="4121149"/>
              <a:ext cx="767389" cy="523875"/>
            </a:xfrm>
            <a:custGeom>
              <a:avLst/>
              <a:gdLst>
                <a:gd name="connsiteX0" fmla="*/ 2437823 w 6083300"/>
                <a:gd name="connsiteY0" fmla="*/ 3786803 h 4152900"/>
                <a:gd name="connsiteX1" fmla="*/ 2307294 w 6083300"/>
                <a:gd name="connsiteY1" fmla="*/ 3873324 h 4152900"/>
                <a:gd name="connsiteX2" fmla="*/ 2296161 w 6083300"/>
                <a:gd name="connsiteY2" fmla="*/ 3928465 h 4152900"/>
                <a:gd name="connsiteX3" fmla="*/ 2307294 w 6083300"/>
                <a:gd name="connsiteY3" fmla="*/ 3983606 h 4152900"/>
                <a:gd name="connsiteX4" fmla="*/ 2437823 w 6083300"/>
                <a:gd name="connsiteY4" fmla="*/ 4070126 h 4152900"/>
                <a:gd name="connsiteX5" fmla="*/ 3688509 w 6083300"/>
                <a:gd name="connsiteY5" fmla="*/ 4070127 h 4152900"/>
                <a:gd name="connsiteX6" fmla="*/ 3830171 w 6083300"/>
                <a:gd name="connsiteY6" fmla="*/ 3928465 h 4152900"/>
                <a:gd name="connsiteX7" fmla="*/ 3830172 w 6083300"/>
                <a:gd name="connsiteY7" fmla="*/ 3928465 h 4152900"/>
                <a:gd name="connsiteX8" fmla="*/ 3688510 w 6083300"/>
                <a:gd name="connsiteY8" fmla="*/ 3786803 h 4152900"/>
                <a:gd name="connsiteX9" fmla="*/ 332080 w 6083300"/>
                <a:gd name="connsiteY9" fmla="*/ 165100 h 4152900"/>
                <a:gd name="connsiteX10" fmla="*/ 198419 w 6083300"/>
                <a:gd name="connsiteY10" fmla="*/ 298761 h 4152900"/>
                <a:gd name="connsiteX11" fmla="*/ 198419 w 6083300"/>
                <a:gd name="connsiteY11" fmla="*/ 3527675 h 4152900"/>
                <a:gd name="connsiteX12" fmla="*/ 332080 w 6083300"/>
                <a:gd name="connsiteY12" fmla="*/ 3661336 h 4152900"/>
                <a:gd name="connsiteX13" fmla="*/ 5751220 w 6083300"/>
                <a:gd name="connsiteY13" fmla="*/ 3661336 h 4152900"/>
                <a:gd name="connsiteX14" fmla="*/ 5884881 w 6083300"/>
                <a:gd name="connsiteY14" fmla="*/ 3527675 h 4152900"/>
                <a:gd name="connsiteX15" fmla="*/ 5884881 w 6083300"/>
                <a:gd name="connsiteY15" fmla="*/ 298761 h 4152900"/>
                <a:gd name="connsiteX16" fmla="*/ 5751220 w 6083300"/>
                <a:gd name="connsiteY16" fmla="*/ 165100 h 4152900"/>
                <a:gd name="connsiteX17" fmla="*/ 158765 w 6083300"/>
                <a:gd name="connsiteY17" fmla="*/ 0 h 4152900"/>
                <a:gd name="connsiteX18" fmla="*/ 5924535 w 6083300"/>
                <a:gd name="connsiteY18" fmla="*/ 0 h 4152900"/>
                <a:gd name="connsiteX19" fmla="*/ 6083300 w 6083300"/>
                <a:gd name="connsiteY19" fmla="*/ 158765 h 4152900"/>
                <a:gd name="connsiteX20" fmla="*/ 6083300 w 6083300"/>
                <a:gd name="connsiteY20" fmla="*/ 3994135 h 4152900"/>
                <a:gd name="connsiteX21" fmla="*/ 5924535 w 6083300"/>
                <a:gd name="connsiteY21" fmla="*/ 4152900 h 4152900"/>
                <a:gd name="connsiteX22" fmla="*/ 158765 w 6083300"/>
                <a:gd name="connsiteY22" fmla="*/ 4152900 h 4152900"/>
                <a:gd name="connsiteX23" fmla="*/ 0 w 6083300"/>
                <a:gd name="connsiteY23" fmla="*/ 3994135 h 4152900"/>
                <a:gd name="connsiteX24" fmla="*/ 0 w 6083300"/>
                <a:gd name="connsiteY24" fmla="*/ 158765 h 4152900"/>
                <a:gd name="connsiteX25" fmla="*/ 158765 w 6083300"/>
                <a:gd name="connsiteY25" fmla="*/ 0 h 415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083300" h="4152900">
                  <a:moveTo>
                    <a:pt x="2437823" y="3786803"/>
                  </a:moveTo>
                  <a:cubicBezTo>
                    <a:pt x="2379145" y="3786803"/>
                    <a:pt x="2328799" y="3822479"/>
                    <a:pt x="2307294" y="3873324"/>
                  </a:cubicBezTo>
                  <a:lnTo>
                    <a:pt x="2296161" y="3928465"/>
                  </a:lnTo>
                  <a:lnTo>
                    <a:pt x="2307294" y="3983606"/>
                  </a:lnTo>
                  <a:cubicBezTo>
                    <a:pt x="2328799" y="4034450"/>
                    <a:pt x="2379145" y="4070126"/>
                    <a:pt x="2437823" y="4070126"/>
                  </a:cubicBezTo>
                  <a:lnTo>
                    <a:pt x="3688509" y="4070127"/>
                  </a:lnTo>
                  <a:cubicBezTo>
                    <a:pt x="3766747" y="4070127"/>
                    <a:pt x="3830171" y="4006703"/>
                    <a:pt x="3830171" y="3928465"/>
                  </a:cubicBezTo>
                  <a:lnTo>
                    <a:pt x="3830172" y="3928465"/>
                  </a:lnTo>
                  <a:cubicBezTo>
                    <a:pt x="3830172" y="3850227"/>
                    <a:pt x="3766748" y="3786803"/>
                    <a:pt x="3688510" y="3786803"/>
                  </a:cubicBezTo>
                  <a:close/>
                  <a:moveTo>
                    <a:pt x="332080" y="165100"/>
                  </a:moveTo>
                  <a:cubicBezTo>
                    <a:pt x="258261" y="165100"/>
                    <a:pt x="198419" y="224942"/>
                    <a:pt x="198419" y="298761"/>
                  </a:cubicBezTo>
                  <a:lnTo>
                    <a:pt x="198419" y="3527675"/>
                  </a:lnTo>
                  <a:cubicBezTo>
                    <a:pt x="198419" y="3601494"/>
                    <a:pt x="258261" y="3661336"/>
                    <a:pt x="332080" y="3661336"/>
                  </a:cubicBezTo>
                  <a:lnTo>
                    <a:pt x="5751220" y="3661336"/>
                  </a:lnTo>
                  <a:cubicBezTo>
                    <a:pt x="5825039" y="3661336"/>
                    <a:pt x="5884881" y="3601494"/>
                    <a:pt x="5884881" y="3527675"/>
                  </a:cubicBezTo>
                  <a:lnTo>
                    <a:pt x="5884881" y="298761"/>
                  </a:lnTo>
                  <a:cubicBezTo>
                    <a:pt x="5884881" y="224942"/>
                    <a:pt x="5825039" y="165100"/>
                    <a:pt x="5751220" y="165100"/>
                  </a:cubicBezTo>
                  <a:close/>
                  <a:moveTo>
                    <a:pt x="158765" y="0"/>
                  </a:moveTo>
                  <a:lnTo>
                    <a:pt x="5924535" y="0"/>
                  </a:lnTo>
                  <a:cubicBezTo>
                    <a:pt x="6012218" y="0"/>
                    <a:pt x="6083300" y="71082"/>
                    <a:pt x="6083300" y="158765"/>
                  </a:cubicBezTo>
                  <a:lnTo>
                    <a:pt x="6083300" y="3994135"/>
                  </a:lnTo>
                  <a:cubicBezTo>
                    <a:pt x="6083300" y="4081818"/>
                    <a:pt x="6012218" y="4152900"/>
                    <a:pt x="5924535" y="4152900"/>
                  </a:cubicBezTo>
                  <a:lnTo>
                    <a:pt x="158765" y="4152900"/>
                  </a:lnTo>
                  <a:cubicBezTo>
                    <a:pt x="71082" y="4152900"/>
                    <a:pt x="0" y="4081818"/>
                    <a:pt x="0" y="3994135"/>
                  </a:cubicBezTo>
                  <a:lnTo>
                    <a:pt x="0" y="158765"/>
                  </a:lnTo>
                  <a:cubicBezTo>
                    <a:pt x="0" y="71082"/>
                    <a:pt x="71082" y="0"/>
                    <a:pt x="158765" y="0"/>
                  </a:cubicBez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74" name="Rectangle 673"/>
            <p:cNvSpPr/>
            <p:nvPr/>
          </p:nvSpPr>
          <p:spPr bwMode="auto">
            <a:xfrm>
              <a:off x="14848315" y="4553160"/>
              <a:ext cx="626954" cy="8142"/>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75" name="Rectangle 674"/>
            <p:cNvSpPr/>
            <p:nvPr/>
          </p:nvSpPr>
          <p:spPr bwMode="auto">
            <a:xfrm>
              <a:off x="14908025" y="4428312"/>
              <a:ext cx="42068" cy="124848"/>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76" name="Rectangle 675"/>
            <p:cNvSpPr/>
            <p:nvPr/>
          </p:nvSpPr>
          <p:spPr bwMode="auto">
            <a:xfrm>
              <a:off x="14985376" y="4428312"/>
              <a:ext cx="42068" cy="124848"/>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77" name="Rectangle 676"/>
            <p:cNvSpPr/>
            <p:nvPr/>
          </p:nvSpPr>
          <p:spPr bwMode="auto">
            <a:xfrm>
              <a:off x="15062728" y="4450533"/>
              <a:ext cx="42068" cy="102626"/>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78" name="Rectangle 677"/>
            <p:cNvSpPr/>
            <p:nvPr/>
          </p:nvSpPr>
          <p:spPr bwMode="auto">
            <a:xfrm>
              <a:off x="15140079" y="4480332"/>
              <a:ext cx="42068" cy="72828"/>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79" name="Rectangle 678"/>
            <p:cNvSpPr/>
            <p:nvPr/>
          </p:nvSpPr>
          <p:spPr bwMode="auto">
            <a:xfrm>
              <a:off x="15214717" y="4502440"/>
              <a:ext cx="42068" cy="50719"/>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80" name="Rectangle 679"/>
            <p:cNvSpPr/>
            <p:nvPr/>
          </p:nvSpPr>
          <p:spPr bwMode="auto">
            <a:xfrm>
              <a:off x="15296139" y="4514936"/>
              <a:ext cx="42068" cy="38223"/>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81" name="Rectangle 680"/>
            <p:cNvSpPr/>
            <p:nvPr/>
          </p:nvSpPr>
          <p:spPr bwMode="auto">
            <a:xfrm>
              <a:off x="15370777" y="4509734"/>
              <a:ext cx="42068" cy="43425"/>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82" name="Rectangle 681"/>
            <p:cNvSpPr/>
            <p:nvPr/>
          </p:nvSpPr>
          <p:spPr bwMode="auto">
            <a:xfrm>
              <a:off x="15370777" y="4391672"/>
              <a:ext cx="42068" cy="120777"/>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83" name="Rectangle 682"/>
            <p:cNvSpPr/>
            <p:nvPr/>
          </p:nvSpPr>
          <p:spPr bwMode="auto">
            <a:xfrm>
              <a:off x="15296139" y="4391672"/>
              <a:ext cx="42068" cy="123265"/>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84" name="Rectangle 683"/>
            <p:cNvSpPr/>
            <p:nvPr/>
          </p:nvSpPr>
          <p:spPr bwMode="auto">
            <a:xfrm>
              <a:off x="15214717" y="4391672"/>
              <a:ext cx="42068" cy="110769"/>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85" name="Rectangle 684"/>
            <p:cNvSpPr/>
            <p:nvPr/>
          </p:nvSpPr>
          <p:spPr bwMode="auto">
            <a:xfrm>
              <a:off x="15140079" y="4391672"/>
              <a:ext cx="42068" cy="88660"/>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86" name="Rectangle 685"/>
            <p:cNvSpPr/>
            <p:nvPr/>
          </p:nvSpPr>
          <p:spPr bwMode="auto">
            <a:xfrm>
              <a:off x="15062728" y="4391672"/>
              <a:ext cx="42068" cy="58862"/>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87" name="Rectangle 686"/>
            <p:cNvSpPr/>
            <p:nvPr/>
          </p:nvSpPr>
          <p:spPr bwMode="auto">
            <a:xfrm>
              <a:off x="14985376" y="4391672"/>
              <a:ext cx="42068" cy="36640"/>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88" name="Rectangle 687"/>
            <p:cNvSpPr/>
            <p:nvPr/>
          </p:nvSpPr>
          <p:spPr bwMode="auto">
            <a:xfrm>
              <a:off x="14908025" y="4391672"/>
              <a:ext cx="42068" cy="36640"/>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89" name="Oval 688"/>
            <p:cNvSpPr/>
            <p:nvPr/>
          </p:nvSpPr>
          <p:spPr bwMode="auto">
            <a:xfrm>
              <a:off x="14843961" y="4277510"/>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90" name="Oval 689"/>
            <p:cNvSpPr/>
            <p:nvPr/>
          </p:nvSpPr>
          <p:spPr bwMode="auto">
            <a:xfrm>
              <a:off x="14894907" y="4208301"/>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91" name="Oval 690"/>
            <p:cNvSpPr/>
            <p:nvPr/>
          </p:nvSpPr>
          <p:spPr bwMode="auto">
            <a:xfrm>
              <a:off x="14950093" y="4247599"/>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92" name="Oval 691"/>
            <p:cNvSpPr/>
            <p:nvPr/>
          </p:nvSpPr>
          <p:spPr bwMode="auto">
            <a:xfrm>
              <a:off x="14996233" y="4166902"/>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93" name="Oval 692"/>
            <p:cNvSpPr/>
            <p:nvPr/>
          </p:nvSpPr>
          <p:spPr bwMode="auto">
            <a:xfrm>
              <a:off x="15073207" y="4278528"/>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cxnSp>
          <p:nvCxnSpPr>
            <p:cNvPr id="694" name="Straight Connector 693"/>
            <p:cNvCxnSpPr/>
            <p:nvPr/>
          </p:nvCxnSpPr>
          <p:spPr>
            <a:xfrm flipV="1">
              <a:off x="14874541" y="4244107"/>
              <a:ext cx="28837" cy="37849"/>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5" name="Straight Connector 694"/>
            <p:cNvCxnSpPr>
              <a:endCxn id="691" idx="1"/>
            </p:cNvCxnSpPr>
            <p:nvPr/>
          </p:nvCxnSpPr>
          <p:spPr>
            <a:xfrm>
              <a:off x="14929511" y="4239301"/>
              <a:ext cx="24632" cy="19225"/>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6" name="Straight Connector 695"/>
            <p:cNvCxnSpPr/>
            <p:nvPr/>
          </p:nvCxnSpPr>
          <p:spPr>
            <a:xfrm flipV="1">
              <a:off x="14978475" y="4203856"/>
              <a:ext cx="28236" cy="46560"/>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7" name="Straight Connector 696"/>
            <p:cNvCxnSpPr>
              <a:endCxn id="693" idx="1"/>
            </p:cNvCxnSpPr>
            <p:nvPr/>
          </p:nvCxnSpPr>
          <p:spPr>
            <a:xfrm>
              <a:off x="15030742" y="4198749"/>
              <a:ext cx="51967" cy="83808"/>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98" name="Freeform 697"/>
            <p:cNvSpPr/>
            <p:nvPr/>
          </p:nvSpPr>
          <p:spPr bwMode="auto">
            <a:xfrm>
              <a:off x="15155403" y="4142777"/>
              <a:ext cx="359664" cy="205865"/>
            </a:xfrm>
            <a:custGeom>
              <a:avLst/>
              <a:gdLst>
                <a:gd name="connsiteX0" fmla="*/ 0 w 2851150"/>
                <a:gd name="connsiteY0" fmla="*/ 0 h 1631950"/>
                <a:gd name="connsiteX1" fmla="*/ 0 w 2851150"/>
                <a:gd name="connsiteY1" fmla="*/ 1631950 h 1631950"/>
                <a:gd name="connsiteX2" fmla="*/ 2851150 w 2851150"/>
                <a:gd name="connsiteY2" fmla="*/ 1631950 h 1631950"/>
              </a:gdLst>
              <a:ahLst/>
              <a:cxnLst>
                <a:cxn ang="0">
                  <a:pos x="connsiteX0" y="connsiteY0"/>
                </a:cxn>
                <a:cxn ang="0">
                  <a:pos x="connsiteX1" y="connsiteY1"/>
                </a:cxn>
                <a:cxn ang="0">
                  <a:pos x="connsiteX2" y="connsiteY2"/>
                </a:cxn>
              </a:cxnLst>
              <a:rect l="l" t="t" r="r" b="b"/>
              <a:pathLst>
                <a:path w="2851150" h="1631950">
                  <a:moveTo>
                    <a:pt x="0" y="0"/>
                  </a:moveTo>
                  <a:lnTo>
                    <a:pt x="0" y="1631950"/>
                  </a:lnTo>
                  <a:lnTo>
                    <a:pt x="2851150" y="1631950"/>
                  </a:lnTo>
                </a:path>
              </a:pathLst>
            </a:custGeom>
            <a:noFill/>
            <a:ln w="3175">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699" name="Rectangle 698"/>
            <p:cNvSpPr/>
            <p:nvPr/>
          </p:nvSpPr>
          <p:spPr bwMode="auto">
            <a:xfrm>
              <a:off x="15207037" y="4185938"/>
              <a:ext cx="5767" cy="12185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00" name="Rectangle 699"/>
            <p:cNvSpPr/>
            <p:nvPr/>
          </p:nvSpPr>
          <p:spPr bwMode="auto">
            <a:xfrm>
              <a:off x="15253329" y="4194243"/>
              <a:ext cx="16521" cy="3124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01" name="Rectangle 700"/>
            <p:cNvSpPr/>
            <p:nvPr/>
          </p:nvSpPr>
          <p:spPr bwMode="auto">
            <a:xfrm>
              <a:off x="15354255" y="4228487"/>
              <a:ext cx="16521" cy="3124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02" name="Rectangle 701"/>
            <p:cNvSpPr/>
            <p:nvPr/>
          </p:nvSpPr>
          <p:spPr bwMode="auto">
            <a:xfrm>
              <a:off x="15314847" y="4260629"/>
              <a:ext cx="16521" cy="3124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03" name="Rectangle 702"/>
            <p:cNvSpPr/>
            <p:nvPr/>
          </p:nvSpPr>
          <p:spPr bwMode="auto">
            <a:xfrm>
              <a:off x="15211994" y="4206980"/>
              <a:ext cx="46139" cy="57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04" name="Rectangle 703"/>
            <p:cNvSpPr/>
            <p:nvPr/>
          </p:nvSpPr>
          <p:spPr bwMode="auto">
            <a:xfrm>
              <a:off x="15211994" y="4241224"/>
              <a:ext cx="149953" cy="57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05" name="Rectangle 704"/>
            <p:cNvSpPr/>
            <p:nvPr/>
          </p:nvSpPr>
          <p:spPr bwMode="auto">
            <a:xfrm>
              <a:off x="15211994" y="4273265"/>
              <a:ext cx="103814" cy="57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cxnSp>
          <p:nvCxnSpPr>
            <p:cNvPr id="706" name="Straight Connector 705"/>
            <p:cNvCxnSpPr>
              <a:stCxn id="702" idx="3"/>
            </p:cNvCxnSpPr>
            <p:nvPr/>
          </p:nvCxnSpPr>
          <p:spPr>
            <a:xfrm flipV="1">
              <a:off x="15331368" y="4275468"/>
              <a:ext cx="120720" cy="781"/>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7" name="Straight Connector 706"/>
            <p:cNvCxnSpPr/>
            <p:nvPr/>
          </p:nvCxnSpPr>
          <p:spPr>
            <a:xfrm>
              <a:off x="15370777" y="4244107"/>
              <a:ext cx="81312" cy="0"/>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8" name="Straight Connector 707"/>
            <p:cNvCxnSpPr/>
            <p:nvPr/>
          </p:nvCxnSpPr>
          <p:spPr>
            <a:xfrm>
              <a:off x="15269850" y="4208301"/>
              <a:ext cx="182238" cy="0"/>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9" name="Straight Connector 708"/>
            <p:cNvCxnSpPr/>
            <p:nvPr/>
          </p:nvCxnSpPr>
          <p:spPr>
            <a:xfrm flipV="1">
              <a:off x="15288900" y="2413000"/>
              <a:ext cx="0" cy="65682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10" name="Straight Connector 709"/>
            <p:cNvCxnSpPr/>
            <p:nvPr/>
          </p:nvCxnSpPr>
          <p:spPr>
            <a:xfrm flipV="1">
              <a:off x="15288900" y="3767813"/>
              <a:ext cx="0" cy="329184"/>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11" name="Straight Connector 710"/>
            <p:cNvCxnSpPr/>
            <p:nvPr/>
          </p:nvCxnSpPr>
          <p:spPr>
            <a:xfrm flipV="1">
              <a:off x="14692000" y="2203450"/>
              <a:ext cx="0" cy="86637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712" name="Group 711"/>
            <p:cNvGrpSpPr/>
            <p:nvPr/>
          </p:nvGrpSpPr>
          <p:grpSpPr>
            <a:xfrm>
              <a:off x="8333265" y="2729082"/>
              <a:ext cx="1329176" cy="1329176"/>
              <a:chOff x="4605967" y="2729082"/>
              <a:chExt cx="1329176" cy="1329176"/>
            </a:xfrm>
            <a:grpFill/>
          </p:grpSpPr>
          <p:grpSp>
            <p:nvGrpSpPr>
              <p:cNvPr id="713" name="Group 712"/>
              <p:cNvGrpSpPr/>
              <p:nvPr/>
            </p:nvGrpSpPr>
            <p:grpSpPr>
              <a:xfrm>
                <a:off x="4605967" y="2729082"/>
                <a:ext cx="1329176" cy="1329176"/>
                <a:chOff x="4807673" y="2729082"/>
                <a:chExt cx="1329176" cy="1329176"/>
              </a:xfrm>
              <a:grpFill/>
            </p:grpSpPr>
            <p:sp>
              <p:nvSpPr>
                <p:cNvPr id="715" name="Oval 714"/>
                <p:cNvSpPr/>
                <p:nvPr/>
              </p:nvSpPr>
              <p:spPr bwMode="auto">
                <a:xfrm>
                  <a:off x="4807673" y="2729082"/>
                  <a:ext cx="1329176" cy="1329176"/>
                </a:xfrm>
                <a:prstGeom prst="ellipse">
                  <a:avLst/>
                </a:prstGeom>
                <a:noFill/>
                <a:ln w="190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1005840" numCol="1" rtlCol="0" anchor="t"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accent2">
                          <a:lumMod val="75000"/>
                        </a:schemeClr>
                      </a:solidFill>
                      <a:effectLst/>
                      <a:uLnTx/>
                      <a:uFillTx/>
                    </a:rPr>
                    <a:t>INGEST</a:t>
                  </a:r>
                </a:p>
              </p:txBody>
            </p:sp>
            <p:sp>
              <p:nvSpPr>
                <p:cNvPr id="716" name="Freeform 715"/>
                <p:cNvSpPr>
                  <a:spLocks/>
                </p:cNvSpPr>
                <p:nvPr/>
              </p:nvSpPr>
              <p:spPr bwMode="auto">
                <a:xfrm>
                  <a:off x="5335033" y="3158167"/>
                  <a:ext cx="335186" cy="190824"/>
                </a:xfrm>
                <a:custGeom>
                  <a:avLst/>
                  <a:gdLst>
                    <a:gd name="connsiteX0" fmla="*/ 1624088 w 3848100"/>
                    <a:gd name="connsiteY0" fmla="*/ 122238 h 2190750"/>
                    <a:gd name="connsiteX1" fmla="*/ 861739 w 3848100"/>
                    <a:gd name="connsiteY1" fmla="*/ 624012 h 2190750"/>
                    <a:gd name="connsiteX2" fmla="*/ 816180 w 3848100"/>
                    <a:gd name="connsiteY2" fmla="*/ 769983 h 2190750"/>
                    <a:gd name="connsiteX3" fmla="*/ 755435 w 3848100"/>
                    <a:gd name="connsiteY3" fmla="*/ 812558 h 2190750"/>
                    <a:gd name="connsiteX4" fmla="*/ 749360 w 3848100"/>
                    <a:gd name="connsiteY4" fmla="*/ 812558 h 2190750"/>
                    <a:gd name="connsiteX5" fmla="*/ 120650 w 3848100"/>
                    <a:gd name="connsiteY5" fmla="*/ 1442056 h 2190750"/>
                    <a:gd name="connsiteX6" fmla="*/ 685578 w 3848100"/>
                    <a:gd name="connsiteY6" fmla="*/ 2065472 h 2190750"/>
                    <a:gd name="connsiteX7" fmla="*/ 740249 w 3848100"/>
                    <a:gd name="connsiteY7" fmla="*/ 2068513 h 2190750"/>
                    <a:gd name="connsiteX8" fmla="*/ 746323 w 3848100"/>
                    <a:gd name="connsiteY8" fmla="*/ 2068513 h 2190750"/>
                    <a:gd name="connsiteX9" fmla="*/ 3343170 w 3848100"/>
                    <a:gd name="connsiteY9" fmla="*/ 2068513 h 2190750"/>
                    <a:gd name="connsiteX10" fmla="*/ 3349244 w 3848100"/>
                    <a:gd name="connsiteY10" fmla="*/ 2068513 h 2190750"/>
                    <a:gd name="connsiteX11" fmla="*/ 3422138 w 3848100"/>
                    <a:gd name="connsiteY11" fmla="*/ 2062431 h 2190750"/>
                    <a:gd name="connsiteX12" fmla="*/ 3725863 w 3848100"/>
                    <a:gd name="connsiteY12" fmla="*/ 1685340 h 2190750"/>
                    <a:gd name="connsiteX13" fmla="*/ 3422138 w 3848100"/>
                    <a:gd name="connsiteY13" fmla="*/ 1311291 h 2190750"/>
                    <a:gd name="connsiteX14" fmla="*/ 3382654 w 3848100"/>
                    <a:gd name="connsiteY14" fmla="*/ 1308250 h 2190750"/>
                    <a:gd name="connsiteX15" fmla="*/ 3327984 w 3848100"/>
                    <a:gd name="connsiteY15" fmla="*/ 1253511 h 2190750"/>
                    <a:gd name="connsiteX16" fmla="*/ 3324946 w 3848100"/>
                    <a:gd name="connsiteY16" fmla="*/ 1207895 h 2190750"/>
                    <a:gd name="connsiteX17" fmla="*/ 2720534 w 3848100"/>
                    <a:gd name="connsiteY17" fmla="*/ 718285 h 2190750"/>
                    <a:gd name="connsiteX18" fmla="*/ 2538299 w 3848100"/>
                    <a:gd name="connsiteY18" fmla="*/ 745654 h 2190750"/>
                    <a:gd name="connsiteX19" fmla="*/ 2495778 w 3848100"/>
                    <a:gd name="connsiteY19" fmla="*/ 760860 h 2190750"/>
                    <a:gd name="connsiteX20" fmla="*/ 2447182 w 3848100"/>
                    <a:gd name="connsiteY20" fmla="*/ 760860 h 2190750"/>
                    <a:gd name="connsiteX21" fmla="*/ 2416809 w 3848100"/>
                    <a:gd name="connsiteY21" fmla="*/ 724367 h 2190750"/>
                    <a:gd name="connsiteX22" fmla="*/ 2386437 w 3848100"/>
                    <a:gd name="connsiteY22" fmla="*/ 624012 h 2190750"/>
                    <a:gd name="connsiteX23" fmla="*/ 1624088 w 3848100"/>
                    <a:gd name="connsiteY23" fmla="*/ 122238 h 2190750"/>
                    <a:gd name="connsiteX24" fmla="*/ 1624889 w 3848100"/>
                    <a:gd name="connsiteY24" fmla="*/ 0 h 2190750"/>
                    <a:gd name="connsiteX25" fmla="*/ 2499595 w 3848100"/>
                    <a:gd name="connsiteY25" fmla="*/ 581157 h 2190750"/>
                    <a:gd name="connsiteX26" fmla="*/ 2499595 w 3848100"/>
                    <a:gd name="connsiteY26" fmla="*/ 587243 h 2190750"/>
                    <a:gd name="connsiteX27" fmla="*/ 2514781 w 3848100"/>
                    <a:gd name="connsiteY27" fmla="*/ 626798 h 2190750"/>
                    <a:gd name="connsiteX28" fmla="*/ 2721308 w 3848100"/>
                    <a:gd name="connsiteY28" fmla="*/ 596371 h 2190750"/>
                    <a:gd name="connsiteX29" fmla="*/ 3444156 w 3848100"/>
                    <a:gd name="connsiteY29" fmla="*/ 1186656 h 2190750"/>
                    <a:gd name="connsiteX30" fmla="*/ 3447193 w 3848100"/>
                    <a:gd name="connsiteY30" fmla="*/ 1192742 h 2190750"/>
                    <a:gd name="connsiteX31" fmla="*/ 3848100 w 3848100"/>
                    <a:gd name="connsiteY31" fmla="*/ 1685661 h 2190750"/>
                    <a:gd name="connsiteX32" fmla="*/ 3444156 w 3848100"/>
                    <a:gd name="connsiteY32" fmla="*/ 2181622 h 2190750"/>
                    <a:gd name="connsiteX33" fmla="*/ 3438082 w 3848100"/>
                    <a:gd name="connsiteY33" fmla="*/ 2181622 h 2190750"/>
                    <a:gd name="connsiteX34" fmla="*/ 3374301 w 3848100"/>
                    <a:gd name="connsiteY34" fmla="*/ 2187707 h 2190750"/>
                    <a:gd name="connsiteX35" fmla="*/ 3356078 w 3848100"/>
                    <a:gd name="connsiteY35" fmla="*/ 2190750 h 2190750"/>
                    <a:gd name="connsiteX36" fmla="*/ 738034 w 3848100"/>
                    <a:gd name="connsiteY36" fmla="*/ 2190750 h 2190750"/>
                    <a:gd name="connsiteX37" fmla="*/ 722848 w 3848100"/>
                    <a:gd name="connsiteY37" fmla="*/ 2190750 h 2190750"/>
                    <a:gd name="connsiteX38" fmla="*/ 677290 w 3848100"/>
                    <a:gd name="connsiteY38" fmla="*/ 2187707 h 2190750"/>
                    <a:gd name="connsiteX39" fmla="*/ 674253 w 3848100"/>
                    <a:gd name="connsiteY39" fmla="*/ 2187707 h 2190750"/>
                    <a:gd name="connsiteX40" fmla="*/ 0 w 3848100"/>
                    <a:gd name="connsiteY40" fmla="*/ 1442244 h 2190750"/>
                    <a:gd name="connsiteX41" fmla="*/ 716773 w 3848100"/>
                    <a:gd name="connsiteY41" fmla="*/ 690695 h 2190750"/>
                    <a:gd name="connsiteX42" fmla="*/ 747145 w 3848100"/>
                    <a:gd name="connsiteY42" fmla="*/ 587243 h 2190750"/>
                    <a:gd name="connsiteX43" fmla="*/ 750182 w 3848100"/>
                    <a:gd name="connsiteY43" fmla="*/ 581157 h 2190750"/>
                    <a:gd name="connsiteX44" fmla="*/ 1624889 w 3848100"/>
                    <a:gd name="connsiteY44" fmla="*/ 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848100" h="2190750">
                      <a:moveTo>
                        <a:pt x="1624088" y="122238"/>
                      </a:moveTo>
                      <a:cubicBezTo>
                        <a:pt x="1293028" y="122238"/>
                        <a:pt x="992340" y="319907"/>
                        <a:pt x="861739" y="624012"/>
                      </a:cubicBezTo>
                      <a:cubicBezTo>
                        <a:pt x="816180" y="769983"/>
                        <a:pt x="816180" y="769983"/>
                        <a:pt x="816180" y="769983"/>
                      </a:cubicBezTo>
                      <a:cubicBezTo>
                        <a:pt x="810105" y="797352"/>
                        <a:pt x="782770" y="815599"/>
                        <a:pt x="755435" y="812558"/>
                      </a:cubicBezTo>
                      <a:cubicBezTo>
                        <a:pt x="749360" y="812558"/>
                        <a:pt x="749360" y="812558"/>
                        <a:pt x="749360" y="812558"/>
                      </a:cubicBezTo>
                      <a:cubicBezTo>
                        <a:pt x="403114" y="812558"/>
                        <a:pt x="120650" y="1095376"/>
                        <a:pt x="120650" y="1442056"/>
                      </a:cubicBezTo>
                      <a:cubicBezTo>
                        <a:pt x="120650" y="1764408"/>
                        <a:pt x="363630" y="2032021"/>
                        <a:pt x="685578" y="2065472"/>
                      </a:cubicBezTo>
                      <a:cubicBezTo>
                        <a:pt x="740249" y="2068513"/>
                        <a:pt x="740249" y="2068513"/>
                        <a:pt x="740249" y="2068513"/>
                      </a:cubicBezTo>
                      <a:cubicBezTo>
                        <a:pt x="740249" y="2068513"/>
                        <a:pt x="743286" y="2068513"/>
                        <a:pt x="746323" y="2068513"/>
                      </a:cubicBezTo>
                      <a:cubicBezTo>
                        <a:pt x="3343170" y="2068513"/>
                        <a:pt x="3343170" y="2068513"/>
                        <a:pt x="3343170" y="2068513"/>
                      </a:cubicBezTo>
                      <a:cubicBezTo>
                        <a:pt x="3346207" y="2068513"/>
                        <a:pt x="3346207" y="2068513"/>
                        <a:pt x="3349244" y="2068513"/>
                      </a:cubicBezTo>
                      <a:cubicBezTo>
                        <a:pt x="3422138" y="2062431"/>
                        <a:pt x="3422138" y="2062431"/>
                        <a:pt x="3422138" y="2062431"/>
                      </a:cubicBezTo>
                      <a:cubicBezTo>
                        <a:pt x="3598299" y="2022897"/>
                        <a:pt x="3725863" y="1867804"/>
                        <a:pt x="3725863" y="1685340"/>
                      </a:cubicBezTo>
                      <a:cubicBezTo>
                        <a:pt x="3725863" y="1505918"/>
                        <a:pt x="3598299" y="1350824"/>
                        <a:pt x="3422138" y="1311291"/>
                      </a:cubicBezTo>
                      <a:cubicBezTo>
                        <a:pt x="3382654" y="1308250"/>
                        <a:pt x="3382654" y="1308250"/>
                        <a:pt x="3382654" y="1308250"/>
                      </a:cubicBezTo>
                      <a:cubicBezTo>
                        <a:pt x="3355319" y="1305208"/>
                        <a:pt x="3331021" y="1283921"/>
                        <a:pt x="3327984" y="1253511"/>
                      </a:cubicBezTo>
                      <a:cubicBezTo>
                        <a:pt x="3324946" y="1207895"/>
                        <a:pt x="3324946" y="1207895"/>
                        <a:pt x="3324946" y="1207895"/>
                      </a:cubicBezTo>
                      <a:cubicBezTo>
                        <a:pt x="3264201" y="925077"/>
                        <a:pt x="3012110" y="718285"/>
                        <a:pt x="2720534" y="718285"/>
                      </a:cubicBezTo>
                      <a:cubicBezTo>
                        <a:pt x="2659789" y="718285"/>
                        <a:pt x="2596007" y="727408"/>
                        <a:pt x="2538299" y="745654"/>
                      </a:cubicBezTo>
                      <a:cubicBezTo>
                        <a:pt x="2495778" y="760860"/>
                        <a:pt x="2495778" y="760860"/>
                        <a:pt x="2495778" y="760860"/>
                      </a:cubicBezTo>
                      <a:cubicBezTo>
                        <a:pt x="2477554" y="766942"/>
                        <a:pt x="2462368" y="766942"/>
                        <a:pt x="2447182" y="760860"/>
                      </a:cubicBezTo>
                      <a:cubicBezTo>
                        <a:pt x="2431996" y="751736"/>
                        <a:pt x="2419847" y="739572"/>
                        <a:pt x="2416809" y="724367"/>
                      </a:cubicBezTo>
                      <a:cubicBezTo>
                        <a:pt x="2386437" y="624012"/>
                        <a:pt x="2386437" y="624012"/>
                        <a:pt x="2386437" y="624012"/>
                      </a:cubicBezTo>
                      <a:cubicBezTo>
                        <a:pt x="2255835" y="319907"/>
                        <a:pt x="1955148" y="122238"/>
                        <a:pt x="1624088" y="122238"/>
                      </a:cubicBezTo>
                      <a:close/>
                      <a:moveTo>
                        <a:pt x="1624889" y="0"/>
                      </a:moveTo>
                      <a:cubicBezTo>
                        <a:pt x="2007572" y="0"/>
                        <a:pt x="2350773" y="228203"/>
                        <a:pt x="2499595" y="581157"/>
                      </a:cubicBezTo>
                      <a:cubicBezTo>
                        <a:pt x="2499595" y="581157"/>
                        <a:pt x="2499595" y="584200"/>
                        <a:pt x="2499595" y="587243"/>
                      </a:cubicBezTo>
                      <a:cubicBezTo>
                        <a:pt x="2514781" y="626798"/>
                        <a:pt x="2514781" y="626798"/>
                        <a:pt x="2514781" y="626798"/>
                      </a:cubicBezTo>
                      <a:cubicBezTo>
                        <a:pt x="2581598" y="605499"/>
                        <a:pt x="2651453" y="596371"/>
                        <a:pt x="2721308" y="596371"/>
                      </a:cubicBezTo>
                      <a:cubicBezTo>
                        <a:pt x="3070583" y="596371"/>
                        <a:pt x="3374301" y="845873"/>
                        <a:pt x="3444156" y="1186656"/>
                      </a:cubicBezTo>
                      <a:cubicBezTo>
                        <a:pt x="3444156" y="1186656"/>
                        <a:pt x="3447193" y="1189699"/>
                        <a:pt x="3447193" y="1192742"/>
                      </a:cubicBezTo>
                      <a:cubicBezTo>
                        <a:pt x="3678018" y="1241425"/>
                        <a:pt x="3848100" y="1448329"/>
                        <a:pt x="3848100" y="1685661"/>
                      </a:cubicBezTo>
                      <a:cubicBezTo>
                        <a:pt x="3848100" y="1926035"/>
                        <a:pt x="3678018" y="2132939"/>
                        <a:pt x="3444156" y="2181622"/>
                      </a:cubicBezTo>
                      <a:cubicBezTo>
                        <a:pt x="3444156" y="2181622"/>
                        <a:pt x="3441119" y="2181622"/>
                        <a:pt x="3438082" y="2181622"/>
                      </a:cubicBezTo>
                      <a:cubicBezTo>
                        <a:pt x="3374301" y="2187707"/>
                        <a:pt x="3374301" y="2187707"/>
                        <a:pt x="3374301" y="2187707"/>
                      </a:cubicBezTo>
                      <a:cubicBezTo>
                        <a:pt x="3368227" y="2190750"/>
                        <a:pt x="3362152" y="2190750"/>
                        <a:pt x="3356078" y="2190750"/>
                      </a:cubicBezTo>
                      <a:cubicBezTo>
                        <a:pt x="738034" y="2190750"/>
                        <a:pt x="738034" y="2190750"/>
                        <a:pt x="738034" y="2190750"/>
                      </a:cubicBezTo>
                      <a:cubicBezTo>
                        <a:pt x="731959" y="2190750"/>
                        <a:pt x="728922" y="2190750"/>
                        <a:pt x="722848" y="2190750"/>
                      </a:cubicBezTo>
                      <a:cubicBezTo>
                        <a:pt x="677290" y="2187707"/>
                        <a:pt x="677290" y="2187707"/>
                        <a:pt x="677290" y="2187707"/>
                      </a:cubicBezTo>
                      <a:cubicBezTo>
                        <a:pt x="677290" y="2187707"/>
                        <a:pt x="677290" y="2187707"/>
                        <a:pt x="674253" y="2187707"/>
                      </a:cubicBezTo>
                      <a:cubicBezTo>
                        <a:pt x="291569" y="2148152"/>
                        <a:pt x="0" y="1828668"/>
                        <a:pt x="0" y="1442244"/>
                      </a:cubicBezTo>
                      <a:cubicBezTo>
                        <a:pt x="0" y="1040606"/>
                        <a:pt x="318904" y="711994"/>
                        <a:pt x="716773" y="690695"/>
                      </a:cubicBezTo>
                      <a:cubicBezTo>
                        <a:pt x="747145" y="587243"/>
                        <a:pt x="747145" y="587243"/>
                        <a:pt x="747145" y="587243"/>
                      </a:cubicBezTo>
                      <a:cubicBezTo>
                        <a:pt x="750182" y="584200"/>
                        <a:pt x="750182" y="581157"/>
                        <a:pt x="750182" y="581157"/>
                      </a:cubicBezTo>
                      <a:cubicBezTo>
                        <a:pt x="899004" y="228203"/>
                        <a:pt x="1242205" y="0"/>
                        <a:pt x="1624889"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lumMod val="75000"/>
                      </a:schemeClr>
                    </a:solidFill>
                    <a:effectLst/>
                    <a:uLnTx/>
                    <a:uFillTx/>
                  </a:endParaRPr>
                </a:p>
              </p:txBody>
            </p:sp>
            <p:sp>
              <p:nvSpPr>
                <p:cNvPr id="717" name="Freeform 716"/>
                <p:cNvSpPr>
                  <a:spLocks/>
                </p:cNvSpPr>
                <p:nvPr/>
              </p:nvSpPr>
              <p:spPr bwMode="auto">
                <a:xfrm>
                  <a:off x="5793620" y="3133724"/>
                  <a:ext cx="212800" cy="274637"/>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7160" rIns="0" bIns="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chemeClr val="accent2">
                          <a:lumMod val="75000"/>
                        </a:schemeClr>
                      </a:solidFill>
                      <a:effectLst/>
                      <a:uLnTx/>
                      <a:uFillTx/>
                    </a:rPr>
                    <a:t>SQL</a:t>
                  </a:r>
                </a:p>
              </p:txBody>
            </p:sp>
            <p:sp>
              <p:nvSpPr>
                <p:cNvPr id="718" name="Freeform 717"/>
                <p:cNvSpPr>
                  <a:spLocks/>
                </p:cNvSpPr>
                <p:nvPr/>
              </p:nvSpPr>
              <p:spPr bwMode="auto">
                <a:xfrm>
                  <a:off x="5021986" y="3425258"/>
                  <a:ext cx="189254" cy="244249"/>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7160" rIns="0" bIns="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chemeClr val="accent2">
                        <a:lumMod val="75000"/>
                      </a:schemeClr>
                    </a:solidFill>
                    <a:effectLst/>
                    <a:uLnTx/>
                    <a:uFillTx/>
                  </a:endParaRPr>
                </a:p>
              </p:txBody>
            </p:sp>
            <p:sp>
              <p:nvSpPr>
                <p:cNvPr id="719" name="Freeform 718"/>
                <p:cNvSpPr>
                  <a:spLocks/>
                </p:cNvSpPr>
                <p:nvPr/>
              </p:nvSpPr>
              <p:spPr bwMode="auto">
                <a:xfrm>
                  <a:off x="5364264" y="3421858"/>
                  <a:ext cx="201512" cy="260718"/>
                </a:xfrm>
                <a:custGeom>
                  <a:avLst/>
                  <a:gdLst>
                    <a:gd name="connsiteX0" fmla="*/ 194437 w 2257425"/>
                    <a:gd name="connsiteY0" fmla="*/ 122771 h 2920668"/>
                    <a:gd name="connsiteX1" fmla="*/ 121523 w 2257425"/>
                    <a:gd name="connsiteY1" fmla="*/ 195680 h 2920668"/>
                    <a:gd name="connsiteX2" fmla="*/ 121523 w 2257425"/>
                    <a:gd name="connsiteY2" fmla="*/ 2726243 h 2920668"/>
                    <a:gd name="connsiteX3" fmla="*/ 194437 w 2257425"/>
                    <a:gd name="connsiteY3" fmla="*/ 2799152 h 2920668"/>
                    <a:gd name="connsiteX4" fmla="*/ 2059814 w 2257425"/>
                    <a:gd name="connsiteY4" fmla="*/ 2799152 h 2920668"/>
                    <a:gd name="connsiteX5" fmla="*/ 2132727 w 2257425"/>
                    <a:gd name="connsiteY5" fmla="*/ 2726243 h 2920668"/>
                    <a:gd name="connsiteX6" fmla="*/ 2132727 w 2257425"/>
                    <a:gd name="connsiteY6" fmla="*/ 1078413 h 2920668"/>
                    <a:gd name="connsiteX7" fmla="*/ 2132727 w 2257425"/>
                    <a:gd name="connsiteY7" fmla="*/ 1054761 h 2920668"/>
                    <a:gd name="connsiteX8" fmla="*/ 2129823 w 2257425"/>
                    <a:gd name="connsiteY8" fmla="*/ 1055355 h 2920668"/>
                    <a:gd name="connsiteX9" fmla="*/ 2126785 w 2257425"/>
                    <a:gd name="connsiteY9" fmla="*/ 1055355 h 2920668"/>
                    <a:gd name="connsiteX10" fmla="*/ 2123747 w 2257425"/>
                    <a:gd name="connsiteY10" fmla="*/ 1055355 h 2920668"/>
                    <a:gd name="connsiteX11" fmla="*/ 1327752 w 2257425"/>
                    <a:gd name="connsiteY11" fmla="*/ 1055355 h 2920668"/>
                    <a:gd name="connsiteX12" fmla="*/ 1200150 w 2257425"/>
                    <a:gd name="connsiteY12" fmla="*/ 927704 h 2920668"/>
                    <a:gd name="connsiteX13" fmla="*/ 1200150 w 2257425"/>
                    <a:gd name="connsiteY13" fmla="*/ 128364 h 2920668"/>
                    <a:gd name="connsiteX14" fmla="*/ 1200966 w 2257425"/>
                    <a:gd name="connsiteY14" fmla="*/ 122771 h 2920668"/>
                    <a:gd name="connsiteX15" fmla="*/ 1128166 w 2257425"/>
                    <a:gd name="connsiteY15" fmla="*/ 122771 h 2920668"/>
                    <a:gd name="connsiteX16" fmla="*/ 194437 w 2257425"/>
                    <a:gd name="connsiteY16" fmla="*/ 122771 h 2920668"/>
                    <a:gd name="connsiteX17" fmla="*/ 1331572 w 2257425"/>
                    <a:gd name="connsiteY17" fmla="*/ 121972 h 2920668"/>
                    <a:gd name="connsiteX18" fmla="*/ 1327638 w 2257425"/>
                    <a:gd name="connsiteY18" fmla="*/ 122771 h 2920668"/>
                    <a:gd name="connsiteX19" fmla="*/ 1324994 w 2257425"/>
                    <a:gd name="connsiteY19" fmla="*/ 122771 h 2920668"/>
                    <a:gd name="connsiteX20" fmla="*/ 1322388 w 2257425"/>
                    <a:gd name="connsiteY20" fmla="*/ 127982 h 2920668"/>
                    <a:gd name="connsiteX21" fmla="*/ 1322388 w 2257425"/>
                    <a:gd name="connsiteY21" fmla="*/ 927042 h 2920668"/>
                    <a:gd name="connsiteX22" fmla="*/ 1328466 w 2257425"/>
                    <a:gd name="connsiteY22" fmla="*/ 933118 h 2920668"/>
                    <a:gd name="connsiteX23" fmla="*/ 2130699 w 2257425"/>
                    <a:gd name="connsiteY23" fmla="*/ 933118 h 2920668"/>
                    <a:gd name="connsiteX24" fmla="*/ 2132727 w 2257425"/>
                    <a:gd name="connsiteY24" fmla="*/ 931091 h 2920668"/>
                    <a:gd name="connsiteX25" fmla="*/ 2132727 w 2257425"/>
                    <a:gd name="connsiteY25" fmla="*/ 927812 h 2920668"/>
                    <a:gd name="connsiteX26" fmla="*/ 2134009 w 2257425"/>
                    <a:gd name="connsiteY26" fmla="*/ 921508 h 2920668"/>
                    <a:gd name="connsiteX27" fmla="*/ 2133737 w 2257425"/>
                    <a:gd name="connsiteY27" fmla="*/ 920965 h 2920668"/>
                    <a:gd name="connsiteX28" fmla="*/ 2127660 w 2257425"/>
                    <a:gd name="connsiteY28" fmla="*/ 917927 h 2920668"/>
                    <a:gd name="connsiteX29" fmla="*/ 1333060 w 2257425"/>
                    <a:gd name="connsiteY29" fmla="*/ 123460 h 2920668"/>
                    <a:gd name="connsiteX30" fmla="*/ 1315932 w 2257425"/>
                    <a:gd name="connsiteY30" fmla="*/ 0 h 2920668"/>
                    <a:gd name="connsiteX31" fmla="*/ 1325803 w 2257425"/>
                    <a:gd name="connsiteY31" fmla="*/ 1255 h 2920668"/>
                    <a:gd name="connsiteX32" fmla="*/ 1327638 w 2257425"/>
                    <a:gd name="connsiteY32" fmla="*/ 1255 h 2920668"/>
                    <a:gd name="connsiteX33" fmla="*/ 1330705 w 2257425"/>
                    <a:gd name="connsiteY33" fmla="*/ 1878 h 2920668"/>
                    <a:gd name="connsiteX34" fmla="*/ 1370138 w 2257425"/>
                    <a:gd name="connsiteY34" fmla="*/ 6892 h 2920668"/>
                    <a:gd name="connsiteX35" fmla="*/ 1418897 w 2257425"/>
                    <a:gd name="connsiteY35" fmla="*/ 37184 h 2920668"/>
                    <a:gd name="connsiteX36" fmla="*/ 2205777 w 2257425"/>
                    <a:gd name="connsiteY36" fmla="*/ 827406 h 2920668"/>
                    <a:gd name="connsiteX37" fmla="*/ 2257425 w 2257425"/>
                    <a:gd name="connsiteY37" fmla="*/ 927704 h 2920668"/>
                    <a:gd name="connsiteX38" fmla="*/ 2254250 w 2257425"/>
                    <a:gd name="connsiteY38" fmla="*/ 943227 h 2920668"/>
                    <a:gd name="connsiteX39" fmla="*/ 2254250 w 2257425"/>
                    <a:gd name="connsiteY39" fmla="*/ 1091201 h 2920668"/>
                    <a:gd name="connsiteX40" fmla="*/ 2254250 w 2257425"/>
                    <a:gd name="connsiteY40" fmla="*/ 2726243 h 2920668"/>
                    <a:gd name="connsiteX41" fmla="*/ 2059814 w 2257425"/>
                    <a:gd name="connsiteY41" fmla="*/ 2920668 h 2920668"/>
                    <a:gd name="connsiteX42" fmla="*/ 194437 w 2257425"/>
                    <a:gd name="connsiteY42" fmla="*/ 2920668 h 2920668"/>
                    <a:gd name="connsiteX43" fmla="*/ 0 w 2257425"/>
                    <a:gd name="connsiteY43" fmla="*/ 2726243 h 2920668"/>
                    <a:gd name="connsiteX44" fmla="*/ 0 w 2257425"/>
                    <a:gd name="connsiteY44" fmla="*/ 195680 h 2920668"/>
                    <a:gd name="connsiteX45" fmla="*/ 194437 w 2257425"/>
                    <a:gd name="connsiteY45" fmla="*/ 1255 h 2920668"/>
                    <a:gd name="connsiteX46" fmla="*/ 1309932 w 2257425"/>
                    <a:gd name="connsiteY46" fmla="*/ 1255 h 2920668"/>
                    <a:gd name="connsiteX47" fmla="*/ 1311235 w 2257425"/>
                    <a:gd name="connsiteY47" fmla="*/ 1255 h 29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57425" h="2920668">
                      <a:moveTo>
                        <a:pt x="194437" y="122771"/>
                      </a:moveTo>
                      <a:cubicBezTo>
                        <a:pt x="154942" y="122771"/>
                        <a:pt x="121523" y="153150"/>
                        <a:pt x="121523" y="195680"/>
                      </a:cubicBezTo>
                      <a:cubicBezTo>
                        <a:pt x="121523" y="2726243"/>
                        <a:pt x="121523" y="2726243"/>
                        <a:pt x="121523" y="2726243"/>
                      </a:cubicBezTo>
                      <a:cubicBezTo>
                        <a:pt x="121523" y="2768774"/>
                        <a:pt x="154942" y="2799152"/>
                        <a:pt x="194437" y="2799152"/>
                      </a:cubicBezTo>
                      <a:cubicBezTo>
                        <a:pt x="2059814" y="2799152"/>
                        <a:pt x="2059814" y="2799152"/>
                        <a:pt x="2059814" y="2799152"/>
                      </a:cubicBezTo>
                      <a:cubicBezTo>
                        <a:pt x="2099308" y="2799152"/>
                        <a:pt x="2132727" y="2768774"/>
                        <a:pt x="2132727" y="2726243"/>
                      </a:cubicBezTo>
                      <a:cubicBezTo>
                        <a:pt x="2132727" y="1714626"/>
                        <a:pt x="2132727" y="1272043"/>
                        <a:pt x="2132727" y="1078413"/>
                      </a:cubicBezTo>
                      <a:lnTo>
                        <a:pt x="2132727" y="1054761"/>
                      </a:lnTo>
                      <a:lnTo>
                        <a:pt x="2129823" y="1055355"/>
                      </a:lnTo>
                      <a:lnTo>
                        <a:pt x="2126785" y="1055355"/>
                      </a:lnTo>
                      <a:cubicBezTo>
                        <a:pt x="2123747" y="1055355"/>
                        <a:pt x="2123747" y="1055355"/>
                        <a:pt x="2123747" y="1055355"/>
                      </a:cubicBezTo>
                      <a:cubicBezTo>
                        <a:pt x="1327752" y="1055355"/>
                        <a:pt x="1327752" y="1055355"/>
                        <a:pt x="1327752" y="1055355"/>
                      </a:cubicBezTo>
                      <a:cubicBezTo>
                        <a:pt x="1257875" y="1055355"/>
                        <a:pt x="1200150" y="997608"/>
                        <a:pt x="1200150" y="927704"/>
                      </a:cubicBezTo>
                      <a:cubicBezTo>
                        <a:pt x="1200150" y="128364"/>
                        <a:pt x="1200150" y="128364"/>
                        <a:pt x="1200150" y="128364"/>
                      </a:cubicBezTo>
                      <a:lnTo>
                        <a:pt x="1200966" y="122771"/>
                      </a:lnTo>
                      <a:lnTo>
                        <a:pt x="1128166" y="122771"/>
                      </a:lnTo>
                      <a:cubicBezTo>
                        <a:pt x="194437" y="122771"/>
                        <a:pt x="194437" y="122771"/>
                        <a:pt x="194437" y="122771"/>
                      </a:cubicBezTo>
                      <a:close/>
                      <a:moveTo>
                        <a:pt x="1331572" y="121972"/>
                      </a:moveTo>
                      <a:lnTo>
                        <a:pt x="1327638" y="122771"/>
                      </a:lnTo>
                      <a:lnTo>
                        <a:pt x="1324994" y="122771"/>
                      </a:lnTo>
                      <a:lnTo>
                        <a:pt x="1322388" y="127982"/>
                      </a:lnTo>
                      <a:cubicBezTo>
                        <a:pt x="1322388" y="927042"/>
                        <a:pt x="1322388" y="927042"/>
                        <a:pt x="1322388" y="927042"/>
                      </a:cubicBezTo>
                      <a:cubicBezTo>
                        <a:pt x="1322388" y="930080"/>
                        <a:pt x="1325427" y="933118"/>
                        <a:pt x="1328466" y="933118"/>
                      </a:cubicBezTo>
                      <a:cubicBezTo>
                        <a:pt x="2130699" y="933118"/>
                        <a:pt x="2130699" y="933118"/>
                        <a:pt x="2130699" y="933118"/>
                      </a:cubicBezTo>
                      <a:lnTo>
                        <a:pt x="2132727" y="931091"/>
                      </a:lnTo>
                      <a:lnTo>
                        <a:pt x="2132727" y="927812"/>
                      </a:lnTo>
                      <a:lnTo>
                        <a:pt x="2134009" y="921508"/>
                      </a:lnTo>
                      <a:lnTo>
                        <a:pt x="2133737" y="920965"/>
                      </a:lnTo>
                      <a:cubicBezTo>
                        <a:pt x="2127660" y="917927"/>
                        <a:pt x="2127660" y="917927"/>
                        <a:pt x="2127660" y="917927"/>
                      </a:cubicBezTo>
                      <a:cubicBezTo>
                        <a:pt x="1431025" y="221408"/>
                        <a:pt x="1343945" y="134343"/>
                        <a:pt x="1333060" y="123460"/>
                      </a:cubicBezTo>
                      <a:close/>
                      <a:moveTo>
                        <a:pt x="1315932" y="0"/>
                      </a:moveTo>
                      <a:lnTo>
                        <a:pt x="1325803" y="1255"/>
                      </a:lnTo>
                      <a:lnTo>
                        <a:pt x="1327638" y="1255"/>
                      </a:lnTo>
                      <a:lnTo>
                        <a:pt x="1330705" y="1878"/>
                      </a:lnTo>
                      <a:lnTo>
                        <a:pt x="1370138" y="6892"/>
                      </a:lnTo>
                      <a:cubicBezTo>
                        <a:pt x="1387566" y="13249"/>
                        <a:pt x="1404086" y="23507"/>
                        <a:pt x="1418897" y="37184"/>
                      </a:cubicBezTo>
                      <a:cubicBezTo>
                        <a:pt x="2205777" y="827406"/>
                        <a:pt x="2205777" y="827406"/>
                        <a:pt x="2205777" y="827406"/>
                      </a:cubicBezTo>
                      <a:cubicBezTo>
                        <a:pt x="2239196" y="851721"/>
                        <a:pt x="2257425" y="888193"/>
                        <a:pt x="2257425" y="927704"/>
                      </a:cubicBezTo>
                      <a:lnTo>
                        <a:pt x="2254250" y="943227"/>
                      </a:lnTo>
                      <a:lnTo>
                        <a:pt x="2254250" y="1091201"/>
                      </a:lnTo>
                      <a:cubicBezTo>
                        <a:pt x="2254250" y="2726243"/>
                        <a:pt x="2254250" y="2726243"/>
                        <a:pt x="2254250" y="2726243"/>
                      </a:cubicBezTo>
                      <a:cubicBezTo>
                        <a:pt x="2254250" y="2835607"/>
                        <a:pt x="2166146" y="2920668"/>
                        <a:pt x="2059814" y="2920668"/>
                      </a:cubicBezTo>
                      <a:cubicBezTo>
                        <a:pt x="194437" y="2920668"/>
                        <a:pt x="194437" y="2920668"/>
                        <a:pt x="194437" y="2920668"/>
                      </a:cubicBezTo>
                      <a:cubicBezTo>
                        <a:pt x="88104" y="2920668"/>
                        <a:pt x="0" y="2835607"/>
                        <a:pt x="0" y="2726243"/>
                      </a:cubicBezTo>
                      <a:cubicBezTo>
                        <a:pt x="0" y="195680"/>
                        <a:pt x="0" y="195680"/>
                        <a:pt x="0" y="195680"/>
                      </a:cubicBezTo>
                      <a:cubicBezTo>
                        <a:pt x="0" y="86316"/>
                        <a:pt x="88104" y="1255"/>
                        <a:pt x="194437" y="1255"/>
                      </a:cubicBezTo>
                      <a:cubicBezTo>
                        <a:pt x="1044338" y="1255"/>
                        <a:pt x="1256813" y="1255"/>
                        <a:pt x="1309932" y="1255"/>
                      </a:cubicBezTo>
                      <a:lnTo>
                        <a:pt x="1311235" y="12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440" rIns="0" bIns="4572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lumMod val="75000"/>
                        </a:schemeClr>
                      </a:solidFill>
                      <a:effectLst/>
                      <a:uLnTx/>
                      <a:uFillTx/>
                    </a:rPr>
                    <a:t>&lt;&gt;</a:t>
                  </a:r>
                </a:p>
              </p:txBody>
            </p:sp>
            <p:grpSp>
              <p:nvGrpSpPr>
                <p:cNvPr id="720" name="Group 719"/>
                <p:cNvGrpSpPr/>
                <p:nvPr/>
              </p:nvGrpSpPr>
              <p:grpSpPr>
                <a:xfrm>
                  <a:off x="5710236" y="3453323"/>
                  <a:ext cx="260177" cy="181932"/>
                  <a:chOff x="1182255" y="2216727"/>
                  <a:chExt cx="5006109" cy="3500582"/>
                </a:xfrm>
                <a:grpFill/>
              </p:grpSpPr>
              <p:sp>
                <p:nvSpPr>
                  <p:cNvPr id="728" name="Freeform 727"/>
                  <p:cNvSpPr/>
                  <p:nvPr/>
                </p:nvSpPr>
                <p:spPr bwMode="auto">
                  <a:xfrm>
                    <a:off x="1182255" y="2216727"/>
                    <a:ext cx="5006109" cy="350058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nvGrpSpPr>
                  <p:cNvPr id="729" name="Group 728"/>
                  <p:cNvGrpSpPr/>
                  <p:nvPr/>
                </p:nvGrpSpPr>
                <p:grpSpPr>
                  <a:xfrm>
                    <a:off x="1371600" y="2904099"/>
                    <a:ext cx="4622800" cy="2628550"/>
                    <a:chOff x="1371600" y="3272399"/>
                    <a:chExt cx="4622800" cy="2628550"/>
                  </a:xfrm>
                  <a:grpFill/>
                </p:grpSpPr>
                <p:grpSp>
                  <p:nvGrpSpPr>
                    <p:cNvPr id="730" name="Group 729"/>
                    <p:cNvGrpSpPr/>
                    <p:nvPr/>
                  </p:nvGrpSpPr>
                  <p:grpSpPr>
                    <a:xfrm>
                      <a:off x="1371600" y="3272399"/>
                      <a:ext cx="4622800" cy="609250"/>
                      <a:chOff x="1403350" y="3272399"/>
                      <a:chExt cx="4216400" cy="609250"/>
                    </a:xfrm>
                    <a:grpFill/>
                  </p:grpSpPr>
                  <p:sp>
                    <p:nvSpPr>
                      <p:cNvPr id="746" name="Freeform 745"/>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47" name="Freeform 746"/>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48" name="Freeform 747"/>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49" name="Freeform 748"/>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nvGrpSpPr>
                    <p:cNvPr id="731" name="Group 730"/>
                    <p:cNvGrpSpPr/>
                    <p:nvPr/>
                  </p:nvGrpSpPr>
                  <p:grpSpPr>
                    <a:xfrm>
                      <a:off x="1371600" y="3945499"/>
                      <a:ext cx="4622800" cy="609250"/>
                      <a:chOff x="1403350" y="3272399"/>
                      <a:chExt cx="4216400" cy="609250"/>
                    </a:xfrm>
                    <a:grpFill/>
                  </p:grpSpPr>
                  <p:sp>
                    <p:nvSpPr>
                      <p:cNvPr id="742" name="Freeform 741"/>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43" name="Freeform 742"/>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44" name="Freeform 743"/>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45" name="Freeform 744"/>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nvGrpSpPr>
                    <p:cNvPr id="732" name="Group 731"/>
                    <p:cNvGrpSpPr/>
                    <p:nvPr/>
                  </p:nvGrpSpPr>
                  <p:grpSpPr>
                    <a:xfrm>
                      <a:off x="1371600" y="4618599"/>
                      <a:ext cx="4622800" cy="609250"/>
                      <a:chOff x="1403350" y="3272399"/>
                      <a:chExt cx="4216400" cy="609250"/>
                    </a:xfrm>
                    <a:grpFill/>
                  </p:grpSpPr>
                  <p:sp>
                    <p:nvSpPr>
                      <p:cNvPr id="738" name="Freeform 737"/>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39" name="Freeform 738"/>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40" name="Freeform 739"/>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41" name="Freeform 740"/>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nvGrpSpPr>
                    <p:cNvPr id="733" name="Group 732"/>
                    <p:cNvGrpSpPr/>
                    <p:nvPr/>
                  </p:nvGrpSpPr>
                  <p:grpSpPr>
                    <a:xfrm>
                      <a:off x="1371600" y="5291699"/>
                      <a:ext cx="4622800" cy="609250"/>
                      <a:chOff x="1403350" y="3272399"/>
                      <a:chExt cx="4216400" cy="609250"/>
                    </a:xfrm>
                    <a:grpFill/>
                  </p:grpSpPr>
                  <p:sp>
                    <p:nvSpPr>
                      <p:cNvPr id="734" name="Freeform 733"/>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35" name="Freeform 734"/>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36" name="Freeform 735"/>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37" name="Freeform 736"/>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grpSp>
            <p:sp>
              <p:nvSpPr>
                <p:cNvPr id="721" name="Freeform 720"/>
                <p:cNvSpPr>
                  <a:spLocks noChangeArrowheads="1"/>
                </p:cNvSpPr>
                <p:nvPr/>
              </p:nvSpPr>
              <p:spPr bwMode="auto">
                <a:xfrm flipH="1">
                  <a:off x="5586423" y="3735905"/>
                  <a:ext cx="230969" cy="194321"/>
                </a:xfrm>
                <a:custGeom>
                  <a:avLst/>
                  <a:gdLst>
                    <a:gd name="connsiteX0" fmla="*/ 1925912 w 3848648"/>
                    <a:gd name="connsiteY0" fmla="*/ 2280727 h 3237989"/>
                    <a:gd name="connsiteX1" fmla="*/ 1506812 w 3848648"/>
                    <a:gd name="connsiteY1" fmla="*/ 2698240 h 3237989"/>
                    <a:gd name="connsiteX2" fmla="*/ 1925912 w 3848648"/>
                    <a:gd name="connsiteY2" fmla="*/ 3115753 h 3237989"/>
                    <a:gd name="connsiteX3" fmla="*/ 2345012 w 3848648"/>
                    <a:gd name="connsiteY3" fmla="*/ 2698240 h 3237989"/>
                    <a:gd name="connsiteX4" fmla="*/ 1925912 w 3848648"/>
                    <a:gd name="connsiteY4" fmla="*/ 2280727 h 3237989"/>
                    <a:gd name="connsiteX5" fmla="*/ 1925118 w 3848648"/>
                    <a:gd name="connsiteY5" fmla="*/ 2158489 h 3237989"/>
                    <a:gd name="connsiteX6" fmla="*/ 2465662 w 3848648"/>
                    <a:gd name="connsiteY6" fmla="*/ 2698239 h 3237989"/>
                    <a:gd name="connsiteX7" fmla="*/ 1925118 w 3848648"/>
                    <a:gd name="connsiteY7" fmla="*/ 3237989 h 3237989"/>
                    <a:gd name="connsiteX8" fmla="*/ 1384574 w 3848648"/>
                    <a:gd name="connsiteY8" fmla="*/ 2698239 h 3237989"/>
                    <a:gd name="connsiteX9" fmla="*/ 1925118 w 3848648"/>
                    <a:gd name="connsiteY9" fmla="*/ 2158489 h 3237989"/>
                    <a:gd name="connsiteX10" fmla="*/ 1924773 w 3848648"/>
                    <a:gd name="connsiteY10" fmla="*/ 1438131 h 3237989"/>
                    <a:gd name="connsiteX11" fmla="*/ 2816009 w 3848648"/>
                    <a:gd name="connsiteY11" fmla="*/ 1805943 h 3237989"/>
                    <a:gd name="connsiteX12" fmla="*/ 2816009 w 3848648"/>
                    <a:gd name="connsiteY12" fmla="*/ 1894279 h 3237989"/>
                    <a:gd name="connsiteX13" fmla="*/ 2727911 w 3848648"/>
                    <a:gd name="connsiteY13" fmla="*/ 1894279 h 3237989"/>
                    <a:gd name="connsiteX14" fmla="*/ 1120875 w 3848648"/>
                    <a:gd name="connsiteY14" fmla="*/ 1894279 h 3237989"/>
                    <a:gd name="connsiteX15" fmla="*/ 1078345 w 3848648"/>
                    <a:gd name="connsiteY15" fmla="*/ 1909510 h 3237989"/>
                    <a:gd name="connsiteX16" fmla="*/ 1035815 w 3848648"/>
                    <a:gd name="connsiteY16" fmla="*/ 1894279 h 3237989"/>
                    <a:gd name="connsiteX17" fmla="*/ 1035815 w 3848648"/>
                    <a:gd name="connsiteY17" fmla="*/ 1805943 h 3237989"/>
                    <a:gd name="connsiteX18" fmla="*/ 1924773 w 3848648"/>
                    <a:gd name="connsiteY18" fmla="*/ 1438131 h 3237989"/>
                    <a:gd name="connsiteX19" fmla="*/ 1925119 w 3848648"/>
                    <a:gd name="connsiteY19" fmla="*/ 717039 h 3237989"/>
                    <a:gd name="connsiteX20" fmla="*/ 3322424 w 3848648"/>
                    <a:gd name="connsiteY20" fmla="*/ 1298085 h 3237989"/>
                    <a:gd name="connsiteX21" fmla="*/ 3322424 w 3848648"/>
                    <a:gd name="connsiteY21" fmla="*/ 1383265 h 3237989"/>
                    <a:gd name="connsiteX22" fmla="*/ 3237371 w 3848648"/>
                    <a:gd name="connsiteY22" fmla="*/ 1383265 h 3237989"/>
                    <a:gd name="connsiteX23" fmla="*/ 1925119 w 3848648"/>
                    <a:gd name="connsiteY23" fmla="*/ 838724 h 3237989"/>
                    <a:gd name="connsiteX24" fmla="*/ 612866 w 3848648"/>
                    <a:gd name="connsiteY24" fmla="*/ 1383265 h 3237989"/>
                    <a:gd name="connsiteX25" fmla="*/ 570339 w 3848648"/>
                    <a:gd name="connsiteY25" fmla="*/ 1401518 h 3237989"/>
                    <a:gd name="connsiteX26" fmla="*/ 527813 w 3848648"/>
                    <a:gd name="connsiteY26" fmla="*/ 1383265 h 3237989"/>
                    <a:gd name="connsiteX27" fmla="*/ 527813 w 3848648"/>
                    <a:gd name="connsiteY27" fmla="*/ 1298085 h 3237989"/>
                    <a:gd name="connsiteX28" fmla="*/ 1925119 w 3848648"/>
                    <a:gd name="connsiteY28" fmla="*/ 717039 h 3237989"/>
                    <a:gd name="connsiteX29" fmla="*/ 1925843 w 3848648"/>
                    <a:gd name="connsiteY29" fmla="*/ 0 h 3237989"/>
                    <a:gd name="connsiteX30" fmla="*/ 3830423 w 3848648"/>
                    <a:gd name="connsiteY30" fmla="*/ 790191 h 3237989"/>
                    <a:gd name="connsiteX31" fmla="*/ 3830423 w 3848648"/>
                    <a:gd name="connsiteY31" fmla="*/ 875288 h 3237989"/>
                    <a:gd name="connsiteX32" fmla="*/ 3787897 w 3848648"/>
                    <a:gd name="connsiteY32" fmla="*/ 893523 h 3237989"/>
                    <a:gd name="connsiteX33" fmla="*/ 3745370 w 3848648"/>
                    <a:gd name="connsiteY33" fmla="*/ 875288 h 3237989"/>
                    <a:gd name="connsiteX34" fmla="*/ 103278 w 3848648"/>
                    <a:gd name="connsiteY34" fmla="*/ 875288 h 3237989"/>
                    <a:gd name="connsiteX35" fmla="*/ 18225 w 3848648"/>
                    <a:gd name="connsiteY35" fmla="*/ 875288 h 3237989"/>
                    <a:gd name="connsiteX36" fmla="*/ 18225 w 3848648"/>
                    <a:gd name="connsiteY36" fmla="*/ 790191 h 3237989"/>
                    <a:gd name="connsiteX37" fmla="*/ 1925843 w 3848648"/>
                    <a:gd name="connsiteY37" fmla="*/ 0 h 323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48648" h="3237989">
                      <a:moveTo>
                        <a:pt x="1925912" y="2280727"/>
                      </a:moveTo>
                      <a:cubicBezTo>
                        <a:pt x="1694449" y="2280727"/>
                        <a:pt x="1506812" y="2467654"/>
                        <a:pt x="1506812" y="2698240"/>
                      </a:cubicBezTo>
                      <a:cubicBezTo>
                        <a:pt x="1506812" y="2928826"/>
                        <a:pt x="1694449" y="3115753"/>
                        <a:pt x="1925912" y="3115753"/>
                      </a:cubicBezTo>
                      <a:cubicBezTo>
                        <a:pt x="2157375" y="3115753"/>
                        <a:pt x="2345012" y="2928826"/>
                        <a:pt x="2345012" y="2698240"/>
                      </a:cubicBezTo>
                      <a:cubicBezTo>
                        <a:pt x="2345012" y="2467654"/>
                        <a:pt x="2157375" y="2280727"/>
                        <a:pt x="1925912" y="2280727"/>
                      </a:cubicBezTo>
                      <a:close/>
                      <a:moveTo>
                        <a:pt x="1925118" y="2158489"/>
                      </a:moveTo>
                      <a:cubicBezTo>
                        <a:pt x="2223652" y="2158489"/>
                        <a:pt x="2465662" y="2400143"/>
                        <a:pt x="2465662" y="2698239"/>
                      </a:cubicBezTo>
                      <a:cubicBezTo>
                        <a:pt x="2465662" y="2996335"/>
                        <a:pt x="2223652" y="3237989"/>
                        <a:pt x="1925118" y="3237989"/>
                      </a:cubicBezTo>
                      <a:cubicBezTo>
                        <a:pt x="1626584" y="3237989"/>
                        <a:pt x="1384574" y="2996335"/>
                        <a:pt x="1384574" y="2698239"/>
                      </a:cubicBezTo>
                      <a:cubicBezTo>
                        <a:pt x="1384574" y="2400143"/>
                        <a:pt x="1626584" y="2158489"/>
                        <a:pt x="1925118" y="2158489"/>
                      </a:cubicBezTo>
                      <a:close/>
                      <a:moveTo>
                        <a:pt x="1924773" y="1438131"/>
                      </a:moveTo>
                      <a:cubicBezTo>
                        <a:pt x="2247167" y="1438131"/>
                        <a:pt x="2569942" y="1560735"/>
                        <a:pt x="2816009" y="1805943"/>
                      </a:cubicBezTo>
                      <a:cubicBezTo>
                        <a:pt x="2840312" y="1830312"/>
                        <a:pt x="2840312" y="1869911"/>
                        <a:pt x="2816009" y="1894279"/>
                      </a:cubicBezTo>
                      <a:cubicBezTo>
                        <a:pt x="2791706" y="1915602"/>
                        <a:pt x="2752214" y="1915602"/>
                        <a:pt x="2727911" y="1894279"/>
                      </a:cubicBezTo>
                      <a:cubicBezTo>
                        <a:pt x="2287419" y="1449554"/>
                        <a:pt x="1564405" y="1449554"/>
                        <a:pt x="1120875" y="1894279"/>
                      </a:cubicBezTo>
                      <a:cubicBezTo>
                        <a:pt x="1108724" y="1903418"/>
                        <a:pt x="1093534" y="1909510"/>
                        <a:pt x="1078345" y="1909510"/>
                      </a:cubicBezTo>
                      <a:cubicBezTo>
                        <a:pt x="1063156" y="1909510"/>
                        <a:pt x="1047966" y="1903418"/>
                        <a:pt x="1035815" y="1894279"/>
                      </a:cubicBezTo>
                      <a:cubicBezTo>
                        <a:pt x="1011512" y="1869911"/>
                        <a:pt x="1011512" y="1830312"/>
                        <a:pt x="1035815" y="1805943"/>
                      </a:cubicBezTo>
                      <a:cubicBezTo>
                        <a:pt x="1280364" y="1560735"/>
                        <a:pt x="1602379" y="1438131"/>
                        <a:pt x="1924773" y="1438131"/>
                      </a:cubicBezTo>
                      <a:close/>
                      <a:moveTo>
                        <a:pt x="1925119" y="717039"/>
                      </a:moveTo>
                      <a:cubicBezTo>
                        <a:pt x="2453665" y="717039"/>
                        <a:pt x="2948797" y="923904"/>
                        <a:pt x="3322424" y="1298085"/>
                      </a:cubicBezTo>
                      <a:cubicBezTo>
                        <a:pt x="3346725" y="1322422"/>
                        <a:pt x="3346725" y="1358928"/>
                        <a:pt x="3322424" y="1383265"/>
                      </a:cubicBezTo>
                      <a:cubicBezTo>
                        <a:pt x="3298123" y="1407602"/>
                        <a:pt x="3261672" y="1407602"/>
                        <a:pt x="3237371" y="1383265"/>
                      </a:cubicBezTo>
                      <a:cubicBezTo>
                        <a:pt x="2885007" y="1033420"/>
                        <a:pt x="2420251" y="838724"/>
                        <a:pt x="1925119" y="838724"/>
                      </a:cubicBezTo>
                      <a:cubicBezTo>
                        <a:pt x="1429987" y="838724"/>
                        <a:pt x="962192" y="1033420"/>
                        <a:pt x="612866" y="1383265"/>
                      </a:cubicBezTo>
                      <a:cubicBezTo>
                        <a:pt x="600716" y="1395433"/>
                        <a:pt x="585528" y="1401518"/>
                        <a:pt x="570339" y="1401518"/>
                      </a:cubicBezTo>
                      <a:cubicBezTo>
                        <a:pt x="555151" y="1401518"/>
                        <a:pt x="536926" y="1395433"/>
                        <a:pt x="527813" y="1383265"/>
                      </a:cubicBezTo>
                      <a:cubicBezTo>
                        <a:pt x="503512" y="1358928"/>
                        <a:pt x="503512" y="1322422"/>
                        <a:pt x="527813" y="1298085"/>
                      </a:cubicBezTo>
                      <a:cubicBezTo>
                        <a:pt x="898402" y="923904"/>
                        <a:pt x="1396573" y="717039"/>
                        <a:pt x="1925119" y="717039"/>
                      </a:cubicBezTo>
                      <a:close/>
                      <a:moveTo>
                        <a:pt x="1925843" y="0"/>
                      </a:moveTo>
                      <a:cubicBezTo>
                        <a:pt x="2645756" y="0"/>
                        <a:pt x="3323143" y="279606"/>
                        <a:pt x="3830423" y="790191"/>
                      </a:cubicBezTo>
                      <a:cubicBezTo>
                        <a:pt x="3854724" y="814504"/>
                        <a:pt x="3854724" y="850975"/>
                        <a:pt x="3830423" y="875288"/>
                      </a:cubicBezTo>
                      <a:cubicBezTo>
                        <a:pt x="3818273" y="887445"/>
                        <a:pt x="3803085" y="893523"/>
                        <a:pt x="3787897" y="893523"/>
                      </a:cubicBezTo>
                      <a:cubicBezTo>
                        <a:pt x="3772709" y="893523"/>
                        <a:pt x="3757521" y="887445"/>
                        <a:pt x="3745370" y="875288"/>
                      </a:cubicBezTo>
                      <a:cubicBezTo>
                        <a:pt x="2742960" y="-127647"/>
                        <a:pt x="1108726" y="-130686"/>
                        <a:pt x="103278" y="875288"/>
                      </a:cubicBezTo>
                      <a:cubicBezTo>
                        <a:pt x="82014" y="899602"/>
                        <a:pt x="42525" y="899602"/>
                        <a:pt x="18225" y="875288"/>
                      </a:cubicBezTo>
                      <a:cubicBezTo>
                        <a:pt x="-6076" y="850975"/>
                        <a:pt x="-6076" y="811465"/>
                        <a:pt x="18225" y="790191"/>
                      </a:cubicBezTo>
                      <a:cubicBezTo>
                        <a:pt x="528543" y="279606"/>
                        <a:pt x="1205929" y="0"/>
                        <a:pt x="1925843"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lumMod val="75000"/>
                      </a:schemeClr>
                    </a:solidFill>
                    <a:effectLst/>
                    <a:uLnTx/>
                    <a:uFillTx/>
                  </a:endParaRPr>
                </a:p>
              </p:txBody>
            </p:sp>
            <p:grpSp>
              <p:nvGrpSpPr>
                <p:cNvPr id="722" name="Group 721"/>
                <p:cNvGrpSpPr/>
                <p:nvPr/>
              </p:nvGrpSpPr>
              <p:grpSpPr>
                <a:xfrm>
                  <a:off x="5238058" y="3729040"/>
                  <a:ext cx="195955" cy="253528"/>
                  <a:chOff x="5364264" y="3609977"/>
                  <a:chExt cx="201512" cy="260718"/>
                </a:xfrm>
                <a:grpFill/>
              </p:grpSpPr>
              <p:sp>
                <p:nvSpPr>
                  <p:cNvPr id="723" name="Freeform 722"/>
                  <p:cNvSpPr>
                    <a:spLocks/>
                  </p:cNvSpPr>
                  <p:nvPr/>
                </p:nvSpPr>
                <p:spPr bwMode="auto">
                  <a:xfrm>
                    <a:off x="5364264" y="3609977"/>
                    <a:ext cx="201512" cy="260718"/>
                  </a:xfrm>
                  <a:custGeom>
                    <a:avLst/>
                    <a:gdLst>
                      <a:gd name="connsiteX0" fmla="*/ 194437 w 2257425"/>
                      <a:gd name="connsiteY0" fmla="*/ 122771 h 2920668"/>
                      <a:gd name="connsiteX1" fmla="*/ 121523 w 2257425"/>
                      <a:gd name="connsiteY1" fmla="*/ 195680 h 2920668"/>
                      <a:gd name="connsiteX2" fmla="*/ 121523 w 2257425"/>
                      <a:gd name="connsiteY2" fmla="*/ 2726243 h 2920668"/>
                      <a:gd name="connsiteX3" fmla="*/ 194437 w 2257425"/>
                      <a:gd name="connsiteY3" fmla="*/ 2799152 h 2920668"/>
                      <a:gd name="connsiteX4" fmla="*/ 2059814 w 2257425"/>
                      <a:gd name="connsiteY4" fmla="*/ 2799152 h 2920668"/>
                      <a:gd name="connsiteX5" fmla="*/ 2132727 w 2257425"/>
                      <a:gd name="connsiteY5" fmla="*/ 2726243 h 2920668"/>
                      <a:gd name="connsiteX6" fmla="*/ 2132727 w 2257425"/>
                      <a:gd name="connsiteY6" fmla="*/ 1078413 h 2920668"/>
                      <a:gd name="connsiteX7" fmla="*/ 2132727 w 2257425"/>
                      <a:gd name="connsiteY7" fmla="*/ 1054761 h 2920668"/>
                      <a:gd name="connsiteX8" fmla="*/ 2129823 w 2257425"/>
                      <a:gd name="connsiteY8" fmla="*/ 1055355 h 2920668"/>
                      <a:gd name="connsiteX9" fmla="*/ 2126785 w 2257425"/>
                      <a:gd name="connsiteY9" fmla="*/ 1055355 h 2920668"/>
                      <a:gd name="connsiteX10" fmla="*/ 2123747 w 2257425"/>
                      <a:gd name="connsiteY10" fmla="*/ 1055355 h 2920668"/>
                      <a:gd name="connsiteX11" fmla="*/ 1327752 w 2257425"/>
                      <a:gd name="connsiteY11" fmla="*/ 1055355 h 2920668"/>
                      <a:gd name="connsiteX12" fmla="*/ 1200150 w 2257425"/>
                      <a:gd name="connsiteY12" fmla="*/ 927704 h 2920668"/>
                      <a:gd name="connsiteX13" fmla="*/ 1200150 w 2257425"/>
                      <a:gd name="connsiteY13" fmla="*/ 128364 h 2920668"/>
                      <a:gd name="connsiteX14" fmla="*/ 1200966 w 2257425"/>
                      <a:gd name="connsiteY14" fmla="*/ 122771 h 2920668"/>
                      <a:gd name="connsiteX15" fmla="*/ 1128166 w 2257425"/>
                      <a:gd name="connsiteY15" fmla="*/ 122771 h 2920668"/>
                      <a:gd name="connsiteX16" fmla="*/ 194437 w 2257425"/>
                      <a:gd name="connsiteY16" fmla="*/ 122771 h 2920668"/>
                      <a:gd name="connsiteX17" fmla="*/ 1331572 w 2257425"/>
                      <a:gd name="connsiteY17" fmla="*/ 121972 h 2920668"/>
                      <a:gd name="connsiteX18" fmla="*/ 1327638 w 2257425"/>
                      <a:gd name="connsiteY18" fmla="*/ 122771 h 2920668"/>
                      <a:gd name="connsiteX19" fmla="*/ 1324994 w 2257425"/>
                      <a:gd name="connsiteY19" fmla="*/ 122771 h 2920668"/>
                      <a:gd name="connsiteX20" fmla="*/ 1322388 w 2257425"/>
                      <a:gd name="connsiteY20" fmla="*/ 127982 h 2920668"/>
                      <a:gd name="connsiteX21" fmla="*/ 1322388 w 2257425"/>
                      <a:gd name="connsiteY21" fmla="*/ 927042 h 2920668"/>
                      <a:gd name="connsiteX22" fmla="*/ 1328466 w 2257425"/>
                      <a:gd name="connsiteY22" fmla="*/ 933118 h 2920668"/>
                      <a:gd name="connsiteX23" fmla="*/ 2130699 w 2257425"/>
                      <a:gd name="connsiteY23" fmla="*/ 933118 h 2920668"/>
                      <a:gd name="connsiteX24" fmla="*/ 2132727 w 2257425"/>
                      <a:gd name="connsiteY24" fmla="*/ 931091 h 2920668"/>
                      <a:gd name="connsiteX25" fmla="*/ 2132727 w 2257425"/>
                      <a:gd name="connsiteY25" fmla="*/ 927812 h 2920668"/>
                      <a:gd name="connsiteX26" fmla="*/ 2134009 w 2257425"/>
                      <a:gd name="connsiteY26" fmla="*/ 921508 h 2920668"/>
                      <a:gd name="connsiteX27" fmla="*/ 2133737 w 2257425"/>
                      <a:gd name="connsiteY27" fmla="*/ 920965 h 2920668"/>
                      <a:gd name="connsiteX28" fmla="*/ 2127660 w 2257425"/>
                      <a:gd name="connsiteY28" fmla="*/ 917927 h 2920668"/>
                      <a:gd name="connsiteX29" fmla="*/ 1333060 w 2257425"/>
                      <a:gd name="connsiteY29" fmla="*/ 123460 h 2920668"/>
                      <a:gd name="connsiteX30" fmla="*/ 1315932 w 2257425"/>
                      <a:gd name="connsiteY30" fmla="*/ 0 h 2920668"/>
                      <a:gd name="connsiteX31" fmla="*/ 1325803 w 2257425"/>
                      <a:gd name="connsiteY31" fmla="*/ 1255 h 2920668"/>
                      <a:gd name="connsiteX32" fmla="*/ 1327638 w 2257425"/>
                      <a:gd name="connsiteY32" fmla="*/ 1255 h 2920668"/>
                      <a:gd name="connsiteX33" fmla="*/ 1330705 w 2257425"/>
                      <a:gd name="connsiteY33" fmla="*/ 1878 h 2920668"/>
                      <a:gd name="connsiteX34" fmla="*/ 1370138 w 2257425"/>
                      <a:gd name="connsiteY34" fmla="*/ 6892 h 2920668"/>
                      <a:gd name="connsiteX35" fmla="*/ 1418897 w 2257425"/>
                      <a:gd name="connsiteY35" fmla="*/ 37184 h 2920668"/>
                      <a:gd name="connsiteX36" fmla="*/ 2205777 w 2257425"/>
                      <a:gd name="connsiteY36" fmla="*/ 827406 h 2920668"/>
                      <a:gd name="connsiteX37" fmla="*/ 2257425 w 2257425"/>
                      <a:gd name="connsiteY37" fmla="*/ 927704 h 2920668"/>
                      <a:gd name="connsiteX38" fmla="*/ 2254250 w 2257425"/>
                      <a:gd name="connsiteY38" fmla="*/ 943227 h 2920668"/>
                      <a:gd name="connsiteX39" fmla="*/ 2254250 w 2257425"/>
                      <a:gd name="connsiteY39" fmla="*/ 1091201 h 2920668"/>
                      <a:gd name="connsiteX40" fmla="*/ 2254250 w 2257425"/>
                      <a:gd name="connsiteY40" fmla="*/ 2726243 h 2920668"/>
                      <a:gd name="connsiteX41" fmla="*/ 2059814 w 2257425"/>
                      <a:gd name="connsiteY41" fmla="*/ 2920668 h 2920668"/>
                      <a:gd name="connsiteX42" fmla="*/ 194437 w 2257425"/>
                      <a:gd name="connsiteY42" fmla="*/ 2920668 h 2920668"/>
                      <a:gd name="connsiteX43" fmla="*/ 0 w 2257425"/>
                      <a:gd name="connsiteY43" fmla="*/ 2726243 h 2920668"/>
                      <a:gd name="connsiteX44" fmla="*/ 0 w 2257425"/>
                      <a:gd name="connsiteY44" fmla="*/ 195680 h 2920668"/>
                      <a:gd name="connsiteX45" fmla="*/ 194437 w 2257425"/>
                      <a:gd name="connsiteY45" fmla="*/ 1255 h 2920668"/>
                      <a:gd name="connsiteX46" fmla="*/ 1309932 w 2257425"/>
                      <a:gd name="connsiteY46" fmla="*/ 1255 h 2920668"/>
                      <a:gd name="connsiteX47" fmla="*/ 1311235 w 2257425"/>
                      <a:gd name="connsiteY47" fmla="*/ 1255 h 29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57425" h="2920668">
                        <a:moveTo>
                          <a:pt x="194437" y="122771"/>
                        </a:moveTo>
                        <a:cubicBezTo>
                          <a:pt x="154942" y="122771"/>
                          <a:pt x="121523" y="153150"/>
                          <a:pt x="121523" y="195680"/>
                        </a:cubicBezTo>
                        <a:cubicBezTo>
                          <a:pt x="121523" y="2726243"/>
                          <a:pt x="121523" y="2726243"/>
                          <a:pt x="121523" y="2726243"/>
                        </a:cubicBezTo>
                        <a:cubicBezTo>
                          <a:pt x="121523" y="2768774"/>
                          <a:pt x="154942" y="2799152"/>
                          <a:pt x="194437" y="2799152"/>
                        </a:cubicBezTo>
                        <a:cubicBezTo>
                          <a:pt x="2059814" y="2799152"/>
                          <a:pt x="2059814" y="2799152"/>
                          <a:pt x="2059814" y="2799152"/>
                        </a:cubicBezTo>
                        <a:cubicBezTo>
                          <a:pt x="2099308" y="2799152"/>
                          <a:pt x="2132727" y="2768774"/>
                          <a:pt x="2132727" y="2726243"/>
                        </a:cubicBezTo>
                        <a:cubicBezTo>
                          <a:pt x="2132727" y="1714626"/>
                          <a:pt x="2132727" y="1272043"/>
                          <a:pt x="2132727" y="1078413"/>
                        </a:cubicBezTo>
                        <a:lnTo>
                          <a:pt x="2132727" y="1054761"/>
                        </a:lnTo>
                        <a:lnTo>
                          <a:pt x="2129823" y="1055355"/>
                        </a:lnTo>
                        <a:lnTo>
                          <a:pt x="2126785" y="1055355"/>
                        </a:lnTo>
                        <a:cubicBezTo>
                          <a:pt x="2123747" y="1055355"/>
                          <a:pt x="2123747" y="1055355"/>
                          <a:pt x="2123747" y="1055355"/>
                        </a:cubicBezTo>
                        <a:cubicBezTo>
                          <a:pt x="1327752" y="1055355"/>
                          <a:pt x="1327752" y="1055355"/>
                          <a:pt x="1327752" y="1055355"/>
                        </a:cubicBezTo>
                        <a:cubicBezTo>
                          <a:pt x="1257875" y="1055355"/>
                          <a:pt x="1200150" y="997608"/>
                          <a:pt x="1200150" y="927704"/>
                        </a:cubicBezTo>
                        <a:cubicBezTo>
                          <a:pt x="1200150" y="128364"/>
                          <a:pt x="1200150" y="128364"/>
                          <a:pt x="1200150" y="128364"/>
                        </a:cubicBezTo>
                        <a:lnTo>
                          <a:pt x="1200966" y="122771"/>
                        </a:lnTo>
                        <a:lnTo>
                          <a:pt x="1128166" y="122771"/>
                        </a:lnTo>
                        <a:cubicBezTo>
                          <a:pt x="194437" y="122771"/>
                          <a:pt x="194437" y="122771"/>
                          <a:pt x="194437" y="122771"/>
                        </a:cubicBezTo>
                        <a:close/>
                        <a:moveTo>
                          <a:pt x="1331572" y="121972"/>
                        </a:moveTo>
                        <a:lnTo>
                          <a:pt x="1327638" y="122771"/>
                        </a:lnTo>
                        <a:lnTo>
                          <a:pt x="1324994" y="122771"/>
                        </a:lnTo>
                        <a:lnTo>
                          <a:pt x="1322388" y="127982"/>
                        </a:lnTo>
                        <a:cubicBezTo>
                          <a:pt x="1322388" y="927042"/>
                          <a:pt x="1322388" y="927042"/>
                          <a:pt x="1322388" y="927042"/>
                        </a:cubicBezTo>
                        <a:cubicBezTo>
                          <a:pt x="1322388" y="930080"/>
                          <a:pt x="1325427" y="933118"/>
                          <a:pt x="1328466" y="933118"/>
                        </a:cubicBezTo>
                        <a:cubicBezTo>
                          <a:pt x="2130699" y="933118"/>
                          <a:pt x="2130699" y="933118"/>
                          <a:pt x="2130699" y="933118"/>
                        </a:cubicBezTo>
                        <a:lnTo>
                          <a:pt x="2132727" y="931091"/>
                        </a:lnTo>
                        <a:lnTo>
                          <a:pt x="2132727" y="927812"/>
                        </a:lnTo>
                        <a:lnTo>
                          <a:pt x="2134009" y="921508"/>
                        </a:lnTo>
                        <a:lnTo>
                          <a:pt x="2133737" y="920965"/>
                        </a:lnTo>
                        <a:cubicBezTo>
                          <a:pt x="2127660" y="917927"/>
                          <a:pt x="2127660" y="917927"/>
                          <a:pt x="2127660" y="917927"/>
                        </a:cubicBezTo>
                        <a:cubicBezTo>
                          <a:pt x="1431025" y="221408"/>
                          <a:pt x="1343945" y="134343"/>
                          <a:pt x="1333060" y="123460"/>
                        </a:cubicBezTo>
                        <a:close/>
                        <a:moveTo>
                          <a:pt x="1315932" y="0"/>
                        </a:moveTo>
                        <a:lnTo>
                          <a:pt x="1325803" y="1255"/>
                        </a:lnTo>
                        <a:lnTo>
                          <a:pt x="1327638" y="1255"/>
                        </a:lnTo>
                        <a:lnTo>
                          <a:pt x="1330705" y="1878"/>
                        </a:lnTo>
                        <a:lnTo>
                          <a:pt x="1370138" y="6892"/>
                        </a:lnTo>
                        <a:cubicBezTo>
                          <a:pt x="1387566" y="13249"/>
                          <a:pt x="1404086" y="23507"/>
                          <a:pt x="1418897" y="37184"/>
                        </a:cubicBezTo>
                        <a:cubicBezTo>
                          <a:pt x="2205777" y="827406"/>
                          <a:pt x="2205777" y="827406"/>
                          <a:pt x="2205777" y="827406"/>
                        </a:cubicBezTo>
                        <a:cubicBezTo>
                          <a:pt x="2239196" y="851721"/>
                          <a:pt x="2257425" y="888193"/>
                          <a:pt x="2257425" y="927704"/>
                        </a:cubicBezTo>
                        <a:lnTo>
                          <a:pt x="2254250" y="943227"/>
                        </a:lnTo>
                        <a:lnTo>
                          <a:pt x="2254250" y="1091201"/>
                        </a:lnTo>
                        <a:cubicBezTo>
                          <a:pt x="2254250" y="2726243"/>
                          <a:pt x="2254250" y="2726243"/>
                          <a:pt x="2254250" y="2726243"/>
                        </a:cubicBezTo>
                        <a:cubicBezTo>
                          <a:pt x="2254250" y="2835607"/>
                          <a:pt x="2166146" y="2920668"/>
                          <a:pt x="2059814" y="2920668"/>
                        </a:cubicBezTo>
                        <a:cubicBezTo>
                          <a:pt x="194437" y="2920668"/>
                          <a:pt x="194437" y="2920668"/>
                          <a:pt x="194437" y="2920668"/>
                        </a:cubicBezTo>
                        <a:cubicBezTo>
                          <a:pt x="88104" y="2920668"/>
                          <a:pt x="0" y="2835607"/>
                          <a:pt x="0" y="2726243"/>
                        </a:cubicBezTo>
                        <a:cubicBezTo>
                          <a:pt x="0" y="195680"/>
                          <a:pt x="0" y="195680"/>
                          <a:pt x="0" y="195680"/>
                        </a:cubicBezTo>
                        <a:cubicBezTo>
                          <a:pt x="0" y="86316"/>
                          <a:pt x="88104" y="1255"/>
                          <a:pt x="194437" y="1255"/>
                        </a:cubicBezTo>
                        <a:cubicBezTo>
                          <a:pt x="1044338" y="1255"/>
                          <a:pt x="1256813" y="1255"/>
                          <a:pt x="1309932" y="1255"/>
                        </a:cubicBezTo>
                        <a:lnTo>
                          <a:pt x="1311235" y="1255"/>
                        </a:lnTo>
                        <a:close/>
                      </a:path>
                    </a:pathLst>
                  </a:custGeom>
                  <a:grpFill/>
                  <a:ln w="9525">
                    <a:solidFill>
                      <a:schemeClr val="accent2"/>
                    </a:solidFill>
                    <a:round/>
                    <a:headEnd/>
                    <a:tailEnd/>
                  </a:ln>
                  <a:extLst/>
                </p:spPr>
                <p:txBody>
                  <a:bodyPr vert="horz" wrap="square" lIns="0" tIns="91440" rIns="0" bIns="4572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chemeClr val="accent2">
                          <a:lumMod val="75000"/>
                        </a:schemeClr>
                      </a:solidFill>
                      <a:effectLst/>
                      <a:uLnTx/>
                      <a:uFillTx/>
                    </a:endParaRPr>
                  </a:p>
                </p:txBody>
              </p:sp>
              <p:grpSp>
                <p:nvGrpSpPr>
                  <p:cNvPr id="724" name="Group 723"/>
                  <p:cNvGrpSpPr/>
                  <p:nvPr/>
                </p:nvGrpSpPr>
                <p:grpSpPr>
                  <a:xfrm>
                    <a:off x="5394597" y="3756883"/>
                    <a:ext cx="141809" cy="63290"/>
                    <a:chOff x="5211240" y="5761895"/>
                    <a:chExt cx="1356217" cy="393636"/>
                  </a:xfrm>
                  <a:grpFill/>
                </p:grpSpPr>
                <p:sp>
                  <p:nvSpPr>
                    <p:cNvPr id="725" name="Rectangle 724"/>
                    <p:cNvSpPr/>
                    <p:nvPr/>
                  </p:nvSpPr>
                  <p:spPr bwMode="auto">
                    <a:xfrm>
                      <a:off x="5211240" y="5761895"/>
                      <a:ext cx="1356217" cy="6409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26" name="Rectangle 725"/>
                    <p:cNvSpPr/>
                    <p:nvPr/>
                  </p:nvSpPr>
                  <p:spPr bwMode="auto">
                    <a:xfrm>
                      <a:off x="5211240" y="5926667"/>
                      <a:ext cx="1356217" cy="6409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27" name="Rectangle 726"/>
                    <p:cNvSpPr/>
                    <p:nvPr/>
                  </p:nvSpPr>
                  <p:spPr bwMode="auto">
                    <a:xfrm>
                      <a:off x="5211240" y="6091440"/>
                      <a:ext cx="1356217" cy="6409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grpSp>
          <p:sp>
            <p:nvSpPr>
              <p:cNvPr id="714" name="Freeform 713"/>
              <p:cNvSpPr>
                <a:spLocks/>
              </p:cNvSpPr>
              <p:nvPr/>
            </p:nvSpPr>
            <p:spPr bwMode="auto">
              <a:xfrm>
                <a:off x="4751749" y="3112038"/>
                <a:ext cx="302851" cy="2291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noFill/>
              <a:ln w="6350">
                <a:solidFill>
                  <a:schemeClr val="accent2"/>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accent2">
                      <a:lumMod val="75000"/>
                    </a:schemeClr>
                  </a:solidFill>
                  <a:effectLst/>
                  <a:uLnTx/>
                  <a:uFillTx/>
                </a:endParaRPr>
              </a:p>
            </p:txBody>
          </p:sp>
        </p:grpSp>
        <p:grpSp>
          <p:nvGrpSpPr>
            <p:cNvPr id="750" name="Group 749"/>
            <p:cNvGrpSpPr/>
            <p:nvPr/>
          </p:nvGrpSpPr>
          <p:grpSpPr>
            <a:xfrm>
              <a:off x="14395822" y="1782586"/>
              <a:ext cx="592356" cy="401381"/>
              <a:chOff x="9169540" y="1961150"/>
              <a:chExt cx="592356" cy="401381"/>
            </a:xfrm>
            <a:grpFill/>
          </p:grpSpPr>
          <p:sp>
            <p:nvSpPr>
              <p:cNvPr id="751" name="Freeform 55"/>
              <p:cNvSpPr>
                <a:spLocks noEditPoints="1"/>
              </p:cNvSpPr>
              <p:nvPr/>
            </p:nvSpPr>
            <p:spPr bwMode="auto">
              <a:xfrm>
                <a:off x="9215618" y="1961150"/>
                <a:ext cx="500199" cy="353915"/>
              </a:xfrm>
              <a:custGeom>
                <a:avLst/>
                <a:gdLst>
                  <a:gd name="T0" fmla="*/ 860 w 944"/>
                  <a:gd name="T1" fmla="*/ 0 h 665"/>
                  <a:gd name="T2" fmla="*/ 83 w 944"/>
                  <a:gd name="T3" fmla="*/ 0 h 665"/>
                  <a:gd name="T4" fmla="*/ 0 w 944"/>
                  <a:gd name="T5" fmla="*/ 77 h 665"/>
                  <a:gd name="T6" fmla="*/ 0 w 944"/>
                  <a:gd name="T7" fmla="*/ 624 h 665"/>
                  <a:gd name="T8" fmla="*/ 44 w 944"/>
                  <a:gd name="T9" fmla="*/ 665 h 665"/>
                  <a:gd name="T10" fmla="*/ 900 w 944"/>
                  <a:gd name="T11" fmla="*/ 665 h 665"/>
                  <a:gd name="T12" fmla="*/ 944 w 944"/>
                  <a:gd name="T13" fmla="*/ 624 h 665"/>
                  <a:gd name="T14" fmla="*/ 944 w 944"/>
                  <a:gd name="T15" fmla="*/ 77 h 665"/>
                  <a:gd name="T16" fmla="*/ 860 w 944"/>
                  <a:gd name="T17" fmla="*/ 0 h 665"/>
                  <a:gd name="T18" fmla="*/ 896 w 944"/>
                  <a:gd name="T19" fmla="*/ 617 h 665"/>
                  <a:gd name="T20" fmla="*/ 48 w 944"/>
                  <a:gd name="T21" fmla="*/ 617 h 665"/>
                  <a:gd name="T22" fmla="*/ 48 w 944"/>
                  <a:gd name="T23" fmla="*/ 77 h 665"/>
                  <a:gd name="T24" fmla="*/ 83 w 944"/>
                  <a:gd name="T25" fmla="*/ 48 h 665"/>
                  <a:gd name="T26" fmla="*/ 860 w 944"/>
                  <a:gd name="T27" fmla="*/ 48 h 665"/>
                  <a:gd name="T28" fmla="*/ 896 w 944"/>
                  <a:gd name="T29" fmla="*/ 77 h 665"/>
                  <a:gd name="T30" fmla="*/ 896 w 944"/>
                  <a:gd name="T31" fmla="*/ 617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4" h="665">
                    <a:moveTo>
                      <a:pt x="860" y="0"/>
                    </a:moveTo>
                    <a:cubicBezTo>
                      <a:pt x="83" y="0"/>
                      <a:pt x="83" y="0"/>
                      <a:pt x="83" y="0"/>
                    </a:cubicBezTo>
                    <a:cubicBezTo>
                      <a:pt x="38" y="0"/>
                      <a:pt x="0" y="34"/>
                      <a:pt x="0" y="77"/>
                    </a:cubicBezTo>
                    <a:cubicBezTo>
                      <a:pt x="0" y="624"/>
                      <a:pt x="0" y="624"/>
                      <a:pt x="0" y="624"/>
                    </a:cubicBezTo>
                    <a:cubicBezTo>
                      <a:pt x="0" y="647"/>
                      <a:pt x="20" y="665"/>
                      <a:pt x="44" y="665"/>
                    </a:cubicBezTo>
                    <a:cubicBezTo>
                      <a:pt x="900" y="665"/>
                      <a:pt x="900" y="665"/>
                      <a:pt x="900" y="665"/>
                    </a:cubicBezTo>
                    <a:cubicBezTo>
                      <a:pt x="924" y="665"/>
                      <a:pt x="944" y="647"/>
                      <a:pt x="944" y="624"/>
                    </a:cubicBezTo>
                    <a:cubicBezTo>
                      <a:pt x="944" y="77"/>
                      <a:pt x="944" y="77"/>
                      <a:pt x="944" y="77"/>
                    </a:cubicBezTo>
                    <a:cubicBezTo>
                      <a:pt x="944" y="34"/>
                      <a:pt x="906" y="0"/>
                      <a:pt x="860" y="0"/>
                    </a:cubicBezTo>
                    <a:close/>
                    <a:moveTo>
                      <a:pt x="896" y="617"/>
                    </a:moveTo>
                    <a:cubicBezTo>
                      <a:pt x="48" y="617"/>
                      <a:pt x="48" y="617"/>
                      <a:pt x="48" y="617"/>
                    </a:cubicBezTo>
                    <a:cubicBezTo>
                      <a:pt x="48" y="77"/>
                      <a:pt x="48" y="77"/>
                      <a:pt x="48" y="77"/>
                    </a:cubicBezTo>
                    <a:cubicBezTo>
                      <a:pt x="48" y="61"/>
                      <a:pt x="64" y="48"/>
                      <a:pt x="83" y="48"/>
                    </a:cubicBezTo>
                    <a:cubicBezTo>
                      <a:pt x="860" y="48"/>
                      <a:pt x="860" y="48"/>
                      <a:pt x="860" y="48"/>
                    </a:cubicBezTo>
                    <a:cubicBezTo>
                      <a:pt x="880" y="48"/>
                      <a:pt x="896" y="61"/>
                      <a:pt x="896" y="77"/>
                    </a:cubicBezTo>
                    <a:lnTo>
                      <a:pt x="896" y="6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752" name="Freeform 56"/>
              <p:cNvSpPr>
                <a:spLocks/>
              </p:cNvSpPr>
              <p:nvPr/>
            </p:nvSpPr>
            <p:spPr bwMode="auto">
              <a:xfrm>
                <a:off x="9308330" y="2144908"/>
                <a:ext cx="25537" cy="124356"/>
              </a:xfrm>
              <a:custGeom>
                <a:avLst/>
                <a:gdLst>
                  <a:gd name="T0" fmla="*/ 24 w 48"/>
                  <a:gd name="T1" fmla="*/ 234 h 234"/>
                  <a:gd name="T2" fmla="*/ 0 w 48"/>
                  <a:gd name="T3" fmla="*/ 210 h 234"/>
                  <a:gd name="T4" fmla="*/ 0 w 48"/>
                  <a:gd name="T5" fmla="*/ 24 h 234"/>
                  <a:gd name="T6" fmla="*/ 24 w 48"/>
                  <a:gd name="T7" fmla="*/ 0 h 234"/>
                  <a:gd name="T8" fmla="*/ 48 w 48"/>
                  <a:gd name="T9" fmla="*/ 24 h 234"/>
                  <a:gd name="T10" fmla="*/ 48 w 48"/>
                  <a:gd name="T11" fmla="*/ 210 h 234"/>
                  <a:gd name="T12" fmla="*/ 24 w 48"/>
                  <a:gd name="T13" fmla="*/ 234 h 234"/>
                </a:gdLst>
                <a:ahLst/>
                <a:cxnLst>
                  <a:cxn ang="0">
                    <a:pos x="T0" y="T1"/>
                  </a:cxn>
                  <a:cxn ang="0">
                    <a:pos x="T2" y="T3"/>
                  </a:cxn>
                  <a:cxn ang="0">
                    <a:pos x="T4" y="T5"/>
                  </a:cxn>
                  <a:cxn ang="0">
                    <a:pos x="T6" y="T7"/>
                  </a:cxn>
                  <a:cxn ang="0">
                    <a:pos x="T8" y="T9"/>
                  </a:cxn>
                  <a:cxn ang="0">
                    <a:pos x="T10" y="T11"/>
                  </a:cxn>
                  <a:cxn ang="0">
                    <a:pos x="T12" y="T13"/>
                  </a:cxn>
                </a:cxnLst>
                <a:rect l="0" t="0" r="r" b="b"/>
                <a:pathLst>
                  <a:path w="48" h="234">
                    <a:moveTo>
                      <a:pt x="24" y="234"/>
                    </a:moveTo>
                    <a:cubicBezTo>
                      <a:pt x="10" y="234"/>
                      <a:pt x="0" y="224"/>
                      <a:pt x="0" y="210"/>
                    </a:cubicBezTo>
                    <a:cubicBezTo>
                      <a:pt x="0" y="24"/>
                      <a:pt x="0" y="24"/>
                      <a:pt x="0" y="24"/>
                    </a:cubicBezTo>
                    <a:cubicBezTo>
                      <a:pt x="0" y="10"/>
                      <a:pt x="10" y="0"/>
                      <a:pt x="24" y="0"/>
                    </a:cubicBezTo>
                    <a:cubicBezTo>
                      <a:pt x="37" y="0"/>
                      <a:pt x="48" y="10"/>
                      <a:pt x="48" y="24"/>
                    </a:cubicBezTo>
                    <a:cubicBezTo>
                      <a:pt x="48" y="210"/>
                      <a:pt x="48" y="210"/>
                      <a:pt x="48" y="210"/>
                    </a:cubicBezTo>
                    <a:cubicBezTo>
                      <a:pt x="48" y="224"/>
                      <a:pt x="37" y="234"/>
                      <a:pt x="24" y="2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753" name="Freeform 57"/>
              <p:cNvSpPr>
                <a:spLocks/>
              </p:cNvSpPr>
              <p:nvPr/>
            </p:nvSpPr>
            <p:spPr bwMode="auto">
              <a:xfrm>
                <a:off x="9395768" y="2013890"/>
                <a:ext cx="25537" cy="255374"/>
              </a:xfrm>
              <a:custGeom>
                <a:avLst/>
                <a:gdLst>
                  <a:gd name="T0" fmla="*/ 24 w 48"/>
                  <a:gd name="T1" fmla="*/ 480 h 480"/>
                  <a:gd name="T2" fmla="*/ 0 w 48"/>
                  <a:gd name="T3" fmla="*/ 456 h 480"/>
                  <a:gd name="T4" fmla="*/ 0 w 48"/>
                  <a:gd name="T5" fmla="*/ 24 h 480"/>
                  <a:gd name="T6" fmla="*/ 24 w 48"/>
                  <a:gd name="T7" fmla="*/ 0 h 480"/>
                  <a:gd name="T8" fmla="*/ 48 w 48"/>
                  <a:gd name="T9" fmla="*/ 24 h 480"/>
                  <a:gd name="T10" fmla="*/ 48 w 48"/>
                  <a:gd name="T11" fmla="*/ 456 h 480"/>
                  <a:gd name="T12" fmla="*/ 24 w 48"/>
                  <a:gd name="T13" fmla="*/ 480 h 480"/>
                </a:gdLst>
                <a:ahLst/>
                <a:cxnLst>
                  <a:cxn ang="0">
                    <a:pos x="T0" y="T1"/>
                  </a:cxn>
                  <a:cxn ang="0">
                    <a:pos x="T2" y="T3"/>
                  </a:cxn>
                  <a:cxn ang="0">
                    <a:pos x="T4" y="T5"/>
                  </a:cxn>
                  <a:cxn ang="0">
                    <a:pos x="T6" y="T7"/>
                  </a:cxn>
                  <a:cxn ang="0">
                    <a:pos x="T8" y="T9"/>
                  </a:cxn>
                  <a:cxn ang="0">
                    <a:pos x="T10" y="T11"/>
                  </a:cxn>
                  <a:cxn ang="0">
                    <a:pos x="T12" y="T13"/>
                  </a:cxn>
                </a:cxnLst>
                <a:rect l="0" t="0" r="r" b="b"/>
                <a:pathLst>
                  <a:path w="48" h="480">
                    <a:moveTo>
                      <a:pt x="24" y="480"/>
                    </a:moveTo>
                    <a:cubicBezTo>
                      <a:pt x="11" y="480"/>
                      <a:pt x="0" y="470"/>
                      <a:pt x="0" y="456"/>
                    </a:cubicBezTo>
                    <a:cubicBezTo>
                      <a:pt x="0" y="24"/>
                      <a:pt x="0" y="24"/>
                      <a:pt x="0" y="24"/>
                    </a:cubicBezTo>
                    <a:cubicBezTo>
                      <a:pt x="0" y="11"/>
                      <a:pt x="11" y="0"/>
                      <a:pt x="24" y="0"/>
                    </a:cubicBezTo>
                    <a:cubicBezTo>
                      <a:pt x="37" y="0"/>
                      <a:pt x="48" y="11"/>
                      <a:pt x="48" y="24"/>
                    </a:cubicBezTo>
                    <a:cubicBezTo>
                      <a:pt x="48" y="456"/>
                      <a:pt x="48" y="456"/>
                      <a:pt x="48" y="456"/>
                    </a:cubicBezTo>
                    <a:cubicBezTo>
                      <a:pt x="48" y="470"/>
                      <a:pt x="37" y="480"/>
                      <a:pt x="24" y="4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754" name="Freeform 58"/>
              <p:cNvSpPr>
                <a:spLocks/>
              </p:cNvSpPr>
              <p:nvPr/>
            </p:nvSpPr>
            <p:spPr bwMode="auto">
              <a:xfrm>
                <a:off x="9494864" y="2058026"/>
                <a:ext cx="25537" cy="211239"/>
              </a:xfrm>
              <a:custGeom>
                <a:avLst/>
                <a:gdLst>
                  <a:gd name="T0" fmla="*/ 24 w 48"/>
                  <a:gd name="T1" fmla="*/ 397 h 397"/>
                  <a:gd name="T2" fmla="*/ 0 w 48"/>
                  <a:gd name="T3" fmla="*/ 373 h 397"/>
                  <a:gd name="T4" fmla="*/ 0 w 48"/>
                  <a:gd name="T5" fmla="*/ 24 h 397"/>
                  <a:gd name="T6" fmla="*/ 24 w 48"/>
                  <a:gd name="T7" fmla="*/ 0 h 397"/>
                  <a:gd name="T8" fmla="*/ 48 w 48"/>
                  <a:gd name="T9" fmla="*/ 24 h 397"/>
                  <a:gd name="T10" fmla="*/ 48 w 48"/>
                  <a:gd name="T11" fmla="*/ 373 h 397"/>
                  <a:gd name="T12" fmla="*/ 24 w 48"/>
                  <a:gd name="T13" fmla="*/ 397 h 397"/>
                </a:gdLst>
                <a:ahLst/>
                <a:cxnLst>
                  <a:cxn ang="0">
                    <a:pos x="T0" y="T1"/>
                  </a:cxn>
                  <a:cxn ang="0">
                    <a:pos x="T2" y="T3"/>
                  </a:cxn>
                  <a:cxn ang="0">
                    <a:pos x="T4" y="T5"/>
                  </a:cxn>
                  <a:cxn ang="0">
                    <a:pos x="T6" y="T7"/>
                  </a:cxn>
                  <a:cxn ang="0">
                    <a:pos x="T8" y="T9"/>
                  </a:cxn>
                  <a:cxn ang="0">
                    <a:pos x="T10" y="T11"/>
                  </a:cxn>
                  <a:cxn ang="0">
                    <a:pos x="T12" y="T13"/>
                  </a:cxn>
                </a:cxnLst>
                <a:rect l="0" t="0" r="r" b="b"/>
                <a:pathLst>
                  <a:path w="48" h="397">
                    <a:moveTo>
                      <a:pt x="24" y="397"/>
                    </a:moveTo>
                    <a:cubicBezTo>
                      <a:pt x="10" y="397"/>
                      <a:pt x="0" y="387"/>
                      <a:pt x="0" y="373"/>
                    </a:cubicBezTo>
                    <a:cubicBezTo>
                      <a:pt x="0" y="24"/>
                      <a:pt x="0" y="24"/>
                      <a:pt x="0" y="24"/>
                    </a:cubicBezTo>
                    <a:cubicBezTo>
                      <a:pt x="0" y="11"/>
                      <a:pt x="10" y="0"/>
                      <a:pt x="24" y="0"/>
                    </a:cubicBezTo>
                    <a:cubicBezTo>
                      <a:pt x="37" y="0"/>
                      <a:pt x="48" y="11"/>
                      <a:pt x="48" y="24"/>
                    </a:cubicBezTo>
                    <a:cubicBezTo>
                      <a:pt x="48" y="373"/>
                      <a:pt x="48" y="373"/>
                      <a:pt x="48" y="373"/>
                    </a:cubicBezTo>
                    <a:cubicBezTo>
                      <a:pt x="48" y="387"/>
                      <a:pt x="37" y="397"/>
                      <a:pt x="24" y="3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755" name="Freeform 59"/>
              <p:cNvSpPr>
                <a:spLocks/>
              </p:cNvSpPr>
              <p:nvPr/>
            </p:nvSpPr>
            <p:spPr bwMode="auto">
              <a:xfrm>
                <a:off x="9597569" y="2164616"/>
                <a:ext cx="25537" cy="104648"/>
              </a:xfrm>
              <a:custGeom>
                <a:avLst/>
                <a:gdLst>
                  <a:gd name="T0" fmla="*/ 24 w 48"/>
                  <a:gd name="T1" fmla="*/ 197 h 197"/>
                  <a:gd name="T2" fmla="*/ 0 w 48"/>
                  <a:gd name="T3" fmla="*/ 173 h 197"/>
                  <a:gd name="T4" fmla="*/ 0 w 48"/>
                  <a:gd name="T5" fmla="*/ 24 h 197"/>
                  <a:gd name="T6" fmla="*/ 24 w 48"/>
                  <a:gd name="T7" fmla="*/ 0 h 197"/>
                  <a:gd name="T8" fmla="*/ 48 w 48"/>
                  <a:gd name="T9" fmla="*/ 24 h 197"/>
                  <a:gd name="T10" fmla="*/ 48 w 48"/>
                  <a:gd name="T11" fmla="*/ 173 h 197"/>
                  <a:gd name="T12" fmla="*/ 24 w 48"/>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48" h="197">
                    <a:moveTo>
                      <a:pt x="24" y="197"/>
                    </a:moveTo>
                    <a:cubicBezTo>
                      <a:pt x="11" y="197"/>
                      <a:pt x="0" y="187"/>
                      <a:pt x="0" y="173"/>
                    </a:cubicBezTo>
                    <a:cubicBezTo>
                      <a:pt x="0" y="24"/>
                      <a:pt x="0" y="24"/>
                      <a:pt x="0" y="24"/>
                    </a:cubicBezTo>
                    <a:cubicBezTo>
                      <a:pt x="0" y="11"/>
                      <a:pt x="11" y="0"/>
                      <a:pt x="24" y="0"/>
                    </a:cubicBezTo>
                    <a:cubicBezTo>
                      <a:pt x="38" y="0"/>
                      <a:pt x="48" y="11"/>
                      <a:pt x="48" y="24"/>
                    </a:cubicBezTo>
                    <a:cubicBezTo>
                      <a:pt x="48" y="173"/>
                      <a:pt x="48" y="173"/>
                      <a:pt x="48" y="173"/>
                    </a:cubicBezTo>
                    <a:cubicBezTo>
                      <a:pt x="48" y="187"/>
                      <a:pt x="38" y="197"/>
                      <a:pt x="24"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756" name="Freeform 60"/>
              <p:cNvSpPr>
                <a:spLocks/>
              </p:cNvSpPr>
              <p:nvPr/>
            </p:nvSpPr>
            <p:spPr bwMode="auto">
              <a:xfrm>
                <a:off x="9169540" y="2336994"/>
                <a:ext cx="592356" cy="25537"/>
              </a:xfrm>
              <a:custGeom>
                <a:avLst/>
                <a:gdLst>
                  <a:gd name="T0" fmla="*/ 1099 w 1118"/>
                  <a:gd name="T1" fmla="*/ 48 h 48"/>
                  <a:gd name="T2" fmla="*/ 18 w 1118"/>
                  <a:gd name="T3" fmla="*/ 48 h 48"/>
                  <a:gd name="T4" fmla="*/ 0 w 1118"/>
                  <a:gd name="T5" fmla="*/ 24 h 48"/>
                  <a:gd name="T6" fmla="*/ 18 w 1118"/>
                  <a:gd name="T7" fmla="*/ 0 h 48"/>
                  <a:gd name="T8" fmla="*/ 1099 w 1118"/>
                  <a:gd name="T9" fmla="*/ 0 h 48"/>
                  <a:gd name="T10" fmla="*/ 1118 w 1118"/>
                  <a:gd name="T11" fmla="*/ 24 h 48"/>
                  <a:gd name="T12" fmla="*/ 1099 w 1118"/>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118" h="48">
                    <a:moveTo>
                      <a:pt x="1099" y="48"/>
                    </a:moveTo>
                    <a:cubicBezTo>
                      <a:pt x="18" y="48"/>
                      <a:pt x="18" y="48"/>
                      <a:pt x="18" y="48"/>
                    </a:cubicBezTo>
                    <a:cubicBezTo>
                      <a:pt x="8" y="48"/>
                      <a:pt x="0" y="38"/>
                      <a:pt x="0" y="24"/>
                    </a:cubicBezTo>
                    <a:cubicBezTo>
                      <a:pt x="0" y="11"/>
                      <a:pt x="8" y="0"/>
                      <a:pt x="18" y="0"/>
                    </a:cubicBezTo>
                    <a:cubicBezTo>
                      <a:pt x="1099" y="0"/>
                      <a:pt x="1099" y="0"/>
                      <a:pt x="1099" y="0"/>
                    </a:cubicBezTo>
                    <a:cubicBezTo>
                      <a:pt x="1110" y="0"/>
                      <a:pt x="1118" y="11"/>
                      <a:pt x="1118" y="24"/>
                    </a:cubicBezTo>
                    <a:cubicBezTo>
                      <a:pt x="1118" y="38"/>
                      <a:pt x="1110" y="48"/>
                      <a:pt x="1099"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grpSp>
      </p:grpSp>
      <p:grpSp>
        <p:nvGrpSpPr>
          <p:cNvPr id="5" name="Group 4"/>
          <p:cNvGrpSpPr/>
          <p:nvPr/>
        </p:nvGrpSpPr>
        <p:grpSpPr>
          <a:xfrm>
            <a:off x="2336627" y="1437795"/>
            <a:ext cx="8390648" cy="3439775"/>
            <a:chOff x="2402371" y="1664005"/>
            <a:chExt cx="8390648" cy="3439775"/>
          </a:xfrm>
          <a:solidFill>
            <a:schemeClr val="bg2"/>
          </a:solidFill>
        </p:grpSpPr>
        <p:sp>
          <p:nvSpPr>
            <p:cNvPr id="387" name="Freeform 386"/>
            <p:cNvSpPr>
              <a:spLocks/>
            </p:cNvSpPr>
            <p:nvPr/>
          </p:nvSpPr>
          <p:spPr bwMode="auto">
            <a:xfrm>
              <a:off x="2880352" y="2153035"/>
              <a:ext cx="382073" cy="342630"/>
            </a:xfrm>
            <a:custGeom>
              <a:avLst/>
              <a:gdLst>
                <a:gd name="connsiteX0" fmla="*/ 3516568 w 3629025"/>
                <a:gd name="connsiteY0" fmla="*/ 3138886 h 3254390"/>
                <a:gd name="connsiteX1" fmla="*/ 3513902 w 3629025"/>
                <a:gd name="connsiteY1" fmla="*/ 3141552 h 3254390"/>
                <a:gd name="connsiteX2" fmla="*/ 3516568 w 3629025"/>
                <a:gd name="connsiteY2" fmla="*/ 3141552 h 3254390"/>
                <a:gd name="connsiteX3" fmla="*/ 3516568 w 3629025"/>
                <a:gd name="connsiteY3" fmla="*/ 3140691 h 3254390"/>
                <a:gd name="connsiteX4" fmla="*/ 3516568 w 3629025"/>
                <a:gd name="connsiteY4" fmla="*/ 3138886 h 3254390"/>
                <a:gd name="connsiteX5" fmla="*/ 1814513 w 3629025"/>
                <a:gd name="connsiteY5" fmla="*/ 2087188 h 3254390"/>
                <a:gd name="connsiteX6" fmla="*/ 610916 w 3629025"/>
                <a:gd name="connsiteY6" fmla="*/ 2397227 h 3254390"/>
                <a:gd name="connsiteX7" fmla="*/ 145036 w 3629025"/>
                <a:gd name="connsiteY7" fmla="*/ 2934094 h 3254390"/>
                <a:gd name="connsiteX8" fmla="*/ 112994 w 3629025"/>
                <a:gd name="connsiteY8" fmla="*/ 3138502 h 3254390"/>
                <a:gd name="connsiteX9" fmla="*/ 711667 w 3629025"/>
                <a:gd name="connsiteY9" fmla="*/ 3138502 h 3254390"/>
                <a:gd name="connsiteX10" fmla="*/ 3509920 w 3629025"/>
                <a:gd name="connsiteY10" fmla="*/ 3138502 h 3254390"/>
                <a:gd name="connsiteX11" fmla="*/ 3512992 w 3629025"/>
                <a:gd name="connsiteY11" fmla="*/ 3138502 h 3254390"/>
                <a:gd name="connsiteX12" fmla="*/ 3480950 w 3629025"/>
                <a:gd name="connsiteY12" fmla="*/ 2934094 h 3254390"/>
                <a:gd name="connsiteX13" fmla="*/ 3015069 w 3629025"/>
                <a:gd name="connsiteY13" fmla="*/ 2397227 h 3254390"/>
                <a:gd name="connsiteX14" fmla="*/ 1814513 w 3629025"/>
                <a:gd name="connsiteY14" fmla="*/ 2087188 h 3254390"/>
                <a:gd name="connsiteX15" fmla="*/ 1814513 w 3629025"/>
                <a:gd name="connsiteY15" fmla="*/ 1971684 h 3254390"/>
                <a:gd name="connsiteX16" fmla="*/ 3075857 w 3629025"/>
                <a:gd name="connsiteY16" fmla="*/ 2296920 h 3254390"/>
                <a:gd name="connsiteX17" fmla="*/ 3592600 w 3629025"/>
                <a:gd name="connsiteY17" fmla="*/ 2905170 h 3254390"/>
                <a:gd name="connsiteX18" fmla="*/ 3628968 w 3629025"/>
                <a:gd name="connsiteY18" fmla="*/ 3141552 h 3254390"/>
                <a:gd name="connsiteX19" fmla="*/ 3629025 w 3629025"/>
                <a:gd name="connsiteY19" fmla="*/ 3141552 h 3254390"/>
                <a:gd name="connsiteX20" fmla="*/ 3628992 w 3629025"/>
                <a:gd name="connsiteY20" fmla="*/ 3141711 h 3254390"/>
                <a:gd name="connsiteX21" fmla="*/ 3629025 w 3629025"/>
                <a:gd name="connsiteY21" fmla="*/ 3141925 h 3254390"/>
                <a:gd name="connsiteX22" fmla="*/ 3516568 w 3629025"/>
                <a:gd name="connsiteY22" fmla="*/ 3254390 h 3254390"/>
                <a:gd name="connsiteX23" fmla="*/ 112457 w 3629025"/>
                <a:gd name="connsiteY23" fmla="*/ 3254390 h 3254390"/>
                <a:gd name="connsiteX24" fmla="*/ 8596 w 3629025"/>
                <a:gd name="connsiteY24" fmla="*/ 3184915 h 3254390"/>
                <a:gd name="connsiteX25" fmla="*/ 74 w 3629025"/>
                <a:gd name="connsiteY25" fmla="*/ 3141925 h 3254390"/>
                <a:gd name="connsiteX26" fmla="*/ 0 w 3629025"/>
                <a:gd name="connsiteY26" fmla="*/ 3141925 h 3254390"/>
                <a:gd name="connsiteX27" fmla="*/ 32 w 3629025"/>
                <a:gd name="connsiteY27" fmla="*/ 3141714 h 3254390"/>
                <a:gd name="connsiteX28" fmla="*/ 0 w 3629025"/>
                <a:gd name="connsiteY28" fmla="*/ 3141552 h 3254390"/>
                <a:gd name="connsiteX29" fmla="*/ 57 w 3629025"/>
                <a:gd name="connsiteY29" fmla="*/ 3141552 h 3254390"/>
                <a:gd name="connsiteX30" fmla="*/ 35950 w 3629025"/>
                <a:gd name="connsiteY30" fmla="*/ 2905170 h 3254390"/>
                <a:gd name="connsiteX31" fmla="*/ 550129 w 3629025"/>
                <a:gd name="connsiteY31" fmla="*/ 2296920 h 3254390"/>
                <a:gd name="connsiteX32" fmla="*/ 1814513 w 3629025"/>
                <a:gd name="connsiteY32" fmla="*/ 1971684 h 3254390"/>
                <a:gd name="connsiteX33" fmla="*/ 1746250 w 3629025"/>
                <a:gd name="connsiteY33" fmla="*/ 115888 h 3254390"/>
                <a:gd name="connsiteX34" fmla="*/ 973137 w 3629025"/>
                <a:gd name="connsiteY34" fmla="*/ 887417 h 3254390"/>
                <a:gd name="connsiteX35" fmla="*/ 1746250 w 3629025"/>
                <a:gd name="connsiteY35" fmla="*/ 1658946 h 3254390"/>
                <a:gd name="connsiteX36" fmla="*/ 2519363 w 3629025"/>
                <a:gd name="connsiteY36" fmla="*/ 887417 h 3254390"/>
                <a:gd name="connsiteX37" fmla="*/ 1746250 w 3629025"/>
                <a:gd name="connsiteY37" fmla="*/ 115888 h 3254390"/>
                <a:gd name="connsiteX38" fmla="*/ 1747837 w 3629025"/>
                <a:gd name="connsiteY38" fmla="*/ 0 h 3254390"/>
                <a:gd name="connsiteX39" fmla="*/ 2635250 w 3629025"/>
                <a:gd name="connsiteY39" fmla="*/ 887417 h 3254390"/>
                <a:gd name="connsiteX40" fmla="*/ 1747837 w 3629025"/>
                <a:gd name="connsiteY40" fmla="*/ 1774834 h 3254390"/>
                <a:gd name="connsiteX41" fmla="*/ 860424 w 3629025"/>
                <a:gd name="connsiteY41" fmla="*/ 887417 h 3254390"/>
                <a:gd name="connsiteX42" fmla="*/ 1747837 w 3629025"/>
                <a:gd name="connsiteY42" fmla="*/ 0 h 325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629025" h="3254390">
                  <a:moveTo>
                    <a:pt x="3516568" y="3138886"/>
                  </a:moveTo>
                  <a:lnTo>
                    <a:pt x="3513902" y="3141552"/>
                  </a:lnTo>
                  <a:lnTo>
                    <a:pt x="3516568" y="3141552"/>
                  </a:lnTo>
                  <a:lnTo>
                    <a:pt x="3516568" y="3140691"/>
                  </a:lnTo>
                  <a:cubicBezTo>
                    <a:pt x="3516568" y="3138886"/>
                    <a:pt x="3516568" y="3138886"/>
                    <a:pt x="3516568" y="3138886"/>
                  </a:cubicBezTo>
                  <a:close/>
                  <a:moveTo>
                    <a:pt x="1814513" y="2087188"/>
                  </a:moveTo>
                  <a:cubicBezTo>
                    <a:pt x="1358605" y="2087188"/>
                    <a:pt x="933091" y="2196614"/>
                    <a:pt x="610916" y="2397227"/>
                  </a:cubicBezTo>
                  <a:cubicBezTo>
                    <a:pt x="369285" y="2545407"/>
                    <a:pt x="209718" y="2731201"/>
                    <a:pt x="145036" y="2934094"/>
                  </a:cubicBezTo>
                  <a:lnTo>
                    <a:pt x="112994" y="3138502"/>
                  </a:lnTo>
                  <a:lnTo>
                    <a:pt x="711667" y="3138502"/>
                  </a:lnTo>
                  <a:cubicBezTo>
                    <a:pt x="3142581" y="3138502"/>
                    <a:pt x="3466703" y="3138502"/>
                    <a:pt x="3509920" y="3138502"/>
                  </a:cubicBezTo>
                  <a:lnTo>
                    <a:pt x="3512992" y="3138502"/>
                  </a:lnTo>
                  <a:lnTo>
                    <a:pt x="3480950" y="2934094"/>
                  </a:lnTo>
                  <a:cubicBezTo>
                    <a:pt x="3416268" y="2731201"/>
                    <a:pt x="3256701" y="2545407"/>
                    <a:pt x="3015069" y="2397227"/>
                  </a:cubicBezTo>
                  <a:cubicBezTo>
                    <a:pt x="2695934" y="2196614"/>
                    <a:pt x="2267381" y="2087188"/>
                    <a:pt x="1814513" y="2087188"/>
                  </a:cubicBezTo>
                  <a:close/>
                  <a:moveTo>
                    <a:pt x="1814513" y="1971684"/>
                  </a:moveTo>
                  <a:cubicBezTo>
                    <a:pt x="2288657" y="1971684"/>
                    <a:pt x="2738485" y="2087188"/>
                    <a:pt x="3075857" y="2296920"/>
                  </a:cubicBezTo>
                  <a:cubicBezTo>
                    <a:pt x="3342563" y="2463338"/>
                    <a:pt x="3520367" y="2674209"/>
                    <a:pt x="3592600" y="2905170"/>
                  </a:cubicBezTo>
                  <a:lnTo>
                    <a:pt x="3628968" y="3141552"/>
                  </a:lnTo>
                  <a:lnTo>
                    <a:pt x="3629025" y="3141552"/>
                  </a:lnTo>
                  <a:lnTo>
                    <a:pt x="3628992" y="3141711"/>
                  </a:lnTo>
                  <a:lnTo>
                    <a:pt x="3629025" y="3141925"/>
                  </a:lnTo>
                  <a:cubicBezTo>
                    <a:pt x="3629025" y="3202717"/>
                    <a:pt x="3577356" y="3254390"/>
                    <a:pt x="3516568" y="3254390"/>
                  </a:cubicBezTo>
                  <a:cubicBezTo>
                    <a:pt x="112457" y="3254390"/>
                    <a:pt x="112457" y="3254390"/>
                    <a:pt x="112457" y="3254390"/>
                  </a:cubicBezTo>
                  <a:cubicBezTo>
                    <a:pt x="64587" y="3254390"/>
                    <a:pt x="25265" y="3225228"/>
                    <a:pt x="8596" y="3184915"/>
                  </a:cubicBezTo>
                  <a:lnTo>
                    <a:pt x="74" y="3141925"/>
                  </a:lnTo>
                  <a:lnTo>
                    <a:pt x="0" y="3141925"/>
                  </a:lnTo>
                  <a:lnTo>
                    <a:pt x="32" y="3141714"/>
                  </a:lnTo>
                  <a:lnTo>
                    <a:pt x="0" y="3141552"/>
                  </a:lnTo>
                  <a:lnTo>
                    <a:pt x="57" y="3141552"/>
                  </a:lnTo>
                  <a:lnTo>
                    <a:pt x="35950" y="2905170"/>
                  </a:lnTo>
                  <a:cubicBezTo>
                    <a:pt x="107329" y="2674209"/>
                    <a:pt x="283423" y="2463338"/>
                    <a:pt x="550129" y="2296920"/>
                  </a:cubicBezTo>
                  <a:cubicBezTo>
                    <a:pt x="890540" y="2087188"/>
                    <a:pt x="1337329" y="1971684"/>
                    <a:pt x="1814513" y="1971684"/>
                  </a:cubicBezTo>
                  <a:close/>
                  <a:moveTo>
                    <a:pt x="1746250" y="115888"/>
                  </a:moveTo>
                  <a:cubicBezTo>
                    <a:pt x="1319271" y="115888"/>
                    <a:pt x="973137" y="461313"/>
                    <a:pt x="973137" y="887417"/>
                  </a:cubicBezTo>
                  <a:cubicBezTo>
                    <a:pt x="973137" y="1313521"/>
                    <a:pt x="1319271" y="1658946"/>
                    <a:pt x="1746250" y="1658946"/>
                  </a:cubicBezTo>
                  <a:cubicBezTo>
                    <a:pt x="2173229" y="1658946"/>
                    <a:pt x="2519363" y="1313521"/>
                    <a:pt x="2519363" y="887417"/>
                  </a:cubicBezTo>
                  <a:cubicBezTo>
                    <a:pt x="2519363" y="461313"/>
                    <a:pt x="2173229" y="115888"/>
                    <a:pt x="1746250" y="115888"/>
                  </a:cubicBezTo>
                  <a:close/>
                  <a:moveTo>
                    <a:pt x="1747837" y="0"/>
                  </a:moveTo>
                  <a:cubicBezTo>
                    <a:pt x="2237942" y="0"/>
                    <a:pt x="2635250" y="397310"/>
                    <a:pt x="2635250" y="887417"/>
                  </a:cubicBezTo>
                  <a:cubicBezTo>
                    <a:pt x="2635250" y="1377524"/>
                    <a:pt x="2237942" y="1774834"/>
                    <a:pt x="1747837" y="1774834"/>
                  </a:cubicBezTo>
                  <a:cubicBezTo>
                    <a:pt x="1257732" y="1774834"/>
                    <a:pt x="860424" y="1377524"/>
                    <a:pt x="860424" y="887417"/>
                  </a:cubicBezTo>
                  <a:cubicBezTo>
                    <a:pt x="860424" y="397310"/>
                    <a:pt x="1257732" y="0"/>
                    <a:pt x="1747837"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8" name="Freeform 387"/>
            <p:cNvSpPr>
              <a:spLocks/>
            </p:cNvSpPr>
            <p:nvPr/>
          </p:nvSpPr>
          <p:spPr bwMode="auto">
            <a:xfrm>
              <a:off x="2924385" y="3942332"/>
              <a:ext cx="508114" cy="706631"/>
            </a:xfrm>
            <a:custGeom>
              <a:avLst/>
              <a:gdLst>
                <a:gd name="connsiteX0" fmla="*/ 838496 w 1114676"/>
                <a:gd name="connsiteY0" fmla="*/ 1272420 h 1550172"/>
                <a:gd name="connsiteX1" fmla="*/ 838496 w 1114676"/>
                <a:gd name="connsiteY1" fmla="*/ 1317489 h 1550172"/>
                <a:gd name="connsiteX2" fmla="*/ 957458 w 1114676"/>
                <a:gd name="connsiteY2" fmla="*/ 1317489 h 1550172"/>
                <a:gd name="connsiteX3" fmla="*/ 957458 w 1114676"/>
                <a:gd name="connsiteY3" fmla="*/ 1272420 h 1550172"/>
                <a:gd name="connsiteX4" fmla="*/ 823473 w 1114676"/>
                <a:gd name="connsiteY4" fmla="*/ 1216345 h 1550172"/>
                <a:gd name="connsiteX5" fmla="*/ 974403 w 1114676"/>
                <a:gd name="connsiteY5" fmla="*/ 1216345 h 1550172"/>
                <a:gd name="connsiteX6" fmla="*/ 1013532 w 1114676"/>
                <a:gd name="connsiteY6" fmla="*/ 1257054 h 1550172"/>
                <a:gd name="connsiteX7" fmla="*/ 1013532 w 1114676"/>
                <a:gd name="connsiteY7" fmla="*/ 1332856 h 1550172"/>
                <a:gd name="connsiteX8" fmla="*/ 974403 w 1114676"/>
                <a:gd name="connsiteY8" fmla="*/ 1373564 h 1550172"/>
                <a:gd name="connsiteX9" fmla="*/ 823473 w 1114676"/>
                <a:gd name="connsiteY9" fmla="*/ 1373564 h 1550172"/>
                <a:gd name="connsiteX10" fmla="*/ 782946 w 1114676"/>
                <a:gd name="connsiteY10" fmla="*/ 1332856 h 1550172"/>
                <a:gd name="connsiteX11" fmla="*/ 782946 w 1114676"/>
                <a:gd name="connsiteY11" fmla="*/ 1257054 h 1550172"/>
                <a:gd name="connsiteX12" fmla="*/ 823473 w 1114676"/>
                <a:gd name="connsiteY12" fmla="*/ 1216345 h 1550172"/>
                <a:gd name="connsiteX13" fmla="*/ 410339 w 1114676"/>
                <a:gd name="connsiteY13" fmla="*/ 1051266 h 1550172"/>
                <a:gd name="connsiteX14" fmla="*/ 410339 w 1114676"/>
                <a:gd name="connsiteY14" fmla="*/ 1220538 h 1550172"/>
                <a:gd name="connsiteX15" fmla="*/ 480039 w 1114676"/>
                <a:gd name="connsiteY15" fmla="*/ 1220538 h 1550172"/>
                <a:gd name="connsiteX16" fmla="*/ 480039 w 1114676"/>
                <a:gd name="connsiteY16" fmla="*/ 1051266 h 1550172"/>
                <a:gd name="connsiteX17" fmla="*/ 177656 w 1114676"/>
                <a:gd name="connsiteY17" fmla="*/ 1051266 h 1550172"/>
                <a:gd name="connsiteX18" fmla="*/ 177656 w 1114676"/>
                <a:gd name="connsiteY18" fmla="*/ 1220538 h 1550172"/>
                <a:gd name="connsiteX19" fmla="*/ 247881 w 1114676"/>
                <a:gd name="connsiteY19" fmla="*/ 1220538 h 1550172"/>
                <a:gd name="connsiteX20" fmla="*/ 247881 w 1114676"/>
                <a:gd name="connsiteY20" fmla="*/ 1051266 h 1550172"/>
                <a:gd name="connsiteX21" fmla="*/ 838496 w 1114676"/>
                <a:gd name="connsiteY21" fmla="*/ 1047074 h 1550172"/>
                <a:gd name="connsiteX22" fmla="*/ 838496 w 1114676"/>
                <a:gd name="connsiteY22" fmla="*/ 1091619 h 1550172"/>
                <a:gd name="connsiteX23" fmla="*/ 957458 w 1114676"/>
                <a:gd name="connsiteY23" fmla="*/ 1091619 h 1550172"/>
                <a:gd name="connsiteX24" fmla="*/ 957458 w 1114676"/>
                <a:gd name="connsiteY24" fmla="*/ 1047074 h 1550172"/>
                <a:gd name="connsiteX25" fmla="*/ 394831 w 1114676"/>
                <a:gd name="connsiteY25" fmla="*/ 995192 h 1550172"/>
                <a:gd name="connsiteX26" fmla="*/ 495547 w 1114676"/>
                <a:gd name="connsiteY26" fmla="*/ 995192 h 1550172"/>
                <a:gd name="connsiteX27" fmla="*/ 536114 w 1114676"/>
                <a:gd name="connsiteY27" fmla="*/ 1035795 h 1550172"/>
                <a:gd name="connsiteX28" fmla="*/ 536114 w 1114676"/>
                <a:gd name="connsiteY28" fmla="*/ 1236009 h 1550172"/>
                <a:gd name="connsiteX29" fmla="*/ 495547 w 1114676"/>
                <a:gd name="connsiteY29" fmla="*/ 1276612 h 1550172"/>
                <a:gd name="connsiteX30" fmla="*/ 394831 w 1114676"/>
                <a:gd name="connsiteY30" fmla="*/ 1276612 h 1550172"/>
                <a:gd name="connsiteX31" fmla="*/ 354265 w 1114676"/>
                <a:gd name="connsiteY31" fmla="*/ 1236009 h 1550172"/>
                <a:gd name="connsiteX32" fmla="*/ 354265 w 1114676"/>
                <a:gd name="connsiteY32" fmla="*/ 1035795 h 1550172"/>
                <a:gd name="connsiteX33" fmla="*/ 394831 w 1114676"/>
                <a:gd name="connsiteY33" fmla="*/ 995192 h 1550172"/>
                <a:gd name="connsiteX34" fmla="*/ 162672 w 1114676"/>
                <a:gd name="connsiteY34" fmla="*/ 995192 h 1550172"/>
                <a:gd name="connsiteX35" fmla="*/ 263389 w 1114676"/>
                <a:gd name="connsiteY35" fmla="*/ 995192 h 1550172"/>
                <a:gd name="connsiteX36" fmla="*/ 303955 w 1114676"/>
                <a:gd name="connsiteY36" fmla="*/ 1035795 h 1550172"/>
                <a:gd name="connsiteX37" fmla="*/ 303955 w 1114676"/>
                <a:gd name="connsiteY37" fmla="*/ 1236009 h 1550172"/>
                <a:gd name="connsiteX38" fmla="*/ 263389 w 1114676"/>
                <a:gd name="connsiteY38" fmla="*/ 1276612 h 1550172"/>
                <a:gd name="connsiteX39" fmla="*/ 162672 w 1114676"/>
                <a:gd name="connsiteY39" fmla="*/ 1276612 h 1550172"/>
                <a:gd name="connsiteX40" fmla="*/ 122106 w 1114676"/>
                <a:gd name="connsiteY40" fmla="*/ 1236009 h 1550172"/>
                <a:gd name="connsiteX41" fmla="*/ 122106 w 1114676"/>
                <a:gd name="connsiteY41" fmla="*/ 1035795 h 1550172"/>
                <a:gd name="connsiteX42" fmla="*/ 162672 w 1114676"/>
                <a:gd name="connsiteY42" fmla="*/ 995192 h 1550172"/>
                <a:gd name="connsiteX43" fmla="*/ 823473 w 1114676"/>
                <a:gd name="connsiteY43" fmla="*/ 990999 h 1550172"/>
                <a:gd name="connsiteX44" fmla="*/ 974403 w 1114676"/>
                <a:gd name="connsiteY44" fmla="*/ 990999 h 1550172"/>
                <a:gd name="connsiteX45" fmla="*/ 1013532 w 1114676"/>
                <a:gd name="connsiteY45" fmla="*/ 1031572 h 1550172"/>
                <a:gd name="connsiteX46" fmla="*/ 1013532 w 1114676"/>
                <a:gd name="connsiteY46" fmla="*/ 1107121 h 1550172"/>
                <a:gd name="connsiteX47" fmla="*/ 974403 w 1114676"/>
                <a:gd name="connsiteY47" fmla="*/ 1147694 h 1550172"/>
                <a:gd name="connsiteX48" fmla="*/ 823473 w 1114676"/>
                <a:gd name="connsiteY48" fmla="*/ 1147694 h 1550172"/>
                <a:gd name="connsiteX49" fmla="*/ 782946 w 1114676"/>
                <a:gd name="connsiteY49" fmla="*/ 1107121 h 1550172"/>
                <a:gd name="connsiteX50" fmla="*/ 782946 w 1114676"/>
                <a:gd name="connsiteY50" fmla="*/ 1031572 h 1550172"/>
                <a:gd name="connsiteX51" fmla="*/ 823473 w 1114676"/>
                <a:gd name="connsiteY51" fmla="*/ 990999 h 1550172"/>
                <a:gd name="connsiteX52" fmla="*/ 838496 w 1114676"/>
                <a:gd name="connsiteY52" fmla="*/ 820155 h 1550172"/>
                <a:gd name="connsiteX53" fmla="*/ 838496 w 1114676"/>
                <a:gd name="connsiteY53" fmla="*/ 864701 h 1550172"/>
                <a:gd name="connsiteX54" fmla="*/ 957458 w 1114676"/>
                <a:gd name="connsiteY54" fmla="*/ 864701 h 1550172"/>
                <a:gd name="connsiteX55" fmla="*/ 957458 w 1114676"/>
                <a:gd name="connsiteY55" fmla="*/ 820155 h 1550172"/>
                <a:gd name="connsiteX56" fmla="*/ 823473 w 1114676"/>
                <a:gd name="connsiteY56" fmla="*/ 764081 h 1550172"/>
                <a:gd name="connsiteX57" fmla="*/ 974403 w 1114676"/>
                <a:gd name="connsiteY57" fmla="*/ 764081 h 1550172"/>
                <a:gd name="connsiteX58" fmla="*/ 1013532 w 1114676"/>
                <a:gd name="connsiteY58" fmla="*/ 804653 h 1550172"/>
                <a:gd name="connsiteX59" fmla="*/ 1013532 w 1114676"/>
                <a:gd name="connsiteY59" fmla="*/ 880202 h 1550172"/>
                <a:gd name="connsiteX60" fmla="*/ 974403 w 1114676"/>
                <a:gd name="connsiteY60" fmla="*/ 920775 h 1550172"/>
                <a:gd name="connsiteX61" fmla="*/ 823473 w 1114676"/>
                <a:gd name="connsiteY61" fmla="*/ 920775 h 1550172"/>
                <a:gd name="connsiteX62" fmla="*/ 782946 w 1114676"/>
                <a:gd name="connsiteY62" fmla="*/ 880202 h 1550172"/>
                <a:gd name="connsiteX63" fmla="*/ 782946 w 1114676"/>
                <a:gd name="connsiteY63" fmla="*/ 804653 h 1550172"/>
                <a:gd name="connsiteX64" fmla="*/ 823473 w 1114676"/>
                <a:gd name="connsiteY64" fmla="*/ 764081 h 1550172"/>
                <a:gd name="connsiteX65" fmla="*/ 737877 w 1114676"/>
                <a:gd name="connsiteY65" fmla="*/ 670274 h 1550172"/>
                <a:gd name="connsiteX66" fmla="*/ 737877 w 1114676"/>
                <a:gd name="connsiteY66" fmla="*/ 1494098 h 1550172"/>
                <a:gd name="connsiteX67" fmla="*/ 1058602 w 1114676"/>
                <a:gd name="connsiteY67" fmla="*/ 1494098 h 1550172"/>
                <a:gd name="connsiteX68" fmla="*/ 1058602 w 1114676"/>
                <a:gd name="connsiteY68" fmla="*/ 670274 h 1550172"/>
                <a:gd name="connsiteX69" fmla="*/ 410339 w 1114676"/>
                <a:gd name="connsiteY69" fmla="*/ 619440 h 1550172"/>
                <a:gd name="connsiteX70" fmla="*/ 410339 w 1114676"/>
                <a:gd name="connsiteY70" fmla="*/ 789236 h 1550172"/>
                <a:gd name="connsiteX71" fmla="*/ 480039 w 1114676"/>
                <a:gd name="connsiteY71" fmla="*/ 789236 h 1550172"/>
                <a:gd name="connsiteX72" fmla="*/ 480039 w 1114676"/>
                <a:gd name="connsiteY72" fmla="*/ 619440 h 1550172"/>
                <a:gd name="connsiteX73" fmla="*/ 177656 w 1114676"/>
                <a:gd name="connsiteY73" fmla="*/ 619440 h 1550172"/>
                <a:gd name="connsiteX74" fmla="*/ 177656 w 1114676"/>
                <a:gd name="connsiteY74" fmla="*/ 789236 h 1550172"/>
                <a:gd name="connsiteX75" fmla="*/ 247881 w 1114676"/>
                <a:gd name="connsiteY75" fmla="*/ 789236 h 1550172"/>
                <a:gd name="connsiteX76" fmla="*/ 247881 w 1114676"/>
                <a:gd name="connsiteY76" fmla="*/ 619440 h 1550172"/>
                <a:gd name="connsiteX77" fmla="*/ 735036 w 1114676"/>
                <a:gd name="connsiteY77" fmla="*/ 614199 h 1550172"/>
                <a:gd name="connsiteX78" fmla="*/ 1061443 w 1114676"/>
                <a:gd name="connsiteY78" fmla="*/ 614199 h 1550172"/>
                <a:gd name="connsiteX79" fmla="*/ 1114676 w 1114676"/>
                <a:gd name="connsiteY79" fmla="*/ 667443 h 1550172"/>
                <a:gd name="connsiteX80" fmla="*/ 1114676 w 1114676"/>
                <a:gd name="connsiteY80" fmla="*/ 1496928 h 1550172"/>
                <a:gd name="connsiteX81" fmla="*/ 1061443 w 1114676"/>
                <a:gd name="connsiteY81" fmla="*/ 1550172 h 1550172"/>
                <a:gd name="connsiteX82" fmla="*/ 735036 w 1114676"/>
                <a:gd name="connsiteY82" fmla="*/ 1550172 h 1550172"/>
                <a:gd name="connsiteX83" fmla="*/ 681802 w 1114676"/>
                <a:gd name="connsiteY83" fmla="*/ 1496928 h 1550172"/>
                <a:gd name="connsiteX84" fmla="*/ 681802 w 1114676"/>
                <a:gd name="connsiteY84" fmla="*/ 667443 h 1550172"/>
                <a:gd name="connsiteX85" fmla="*/ 735036 w 1114676"/>
                <a:gd name="connsiteY85" fmla="*/ 614199 h 1550172"/>
                <a:gd name="connsiteX86" fmla="*/ 394831 w 1114676"/>
                <a:gd name="connsiteY86" fmla="*/ 563366 h 1550172"/>
                <a:gd name="connsiteX87" fmla="*/ 495547 w 1114676"/>
                <a:gd name="connsiteY87" fmla="*/ 563366 h 1550172"/>
                <a:gd name="connsiteX88" fmla="*/ 536114 w 1114676"/>
                <a:gd name="connsiteY88" fmla="*/ 604044 h 1550172"/>
                <a:gd name="connsiteX89" fmla="*/ 536114 w 1114676"/>
                <a:gd name="connsiteY89" fmla="*/ 804632 h 1550172"/>
                <a:gd name="connsiteX90" fmla="*/ 495547 w 1114676"/>
                <a:gd name="connsiteY90" fmla="*/ 845310 h 1550172"/>
                <a:gd name="connsiteX91" fmla="*/ 394831 w 1114676"/>
                <a:gd name="connsiteY91" fmla="*/ 845310 h 1550172"/>
                <a:gd name="connsiteX92" fmla="*/ 354265 w 1114676"/>
                <a:gd name="connsiteY92" fmla="*/ 804632 h 1550172"/>
                <a:gd name="connsiteX93" fmla="*/ 354265 w 1114676"/>
                <a:gd name="connsiteY93" fmla="*/ 604044 h 1550172"/>
                <a:gd name="connsiteX94" fmla="*/ 394831 w 1114676"/>
                <a:gd name="connsiteY94" fmla="*/ 563366 h 1550172"/>
                <a:gd name="connsiteX95" fmla="*/ 162672 w 1114676"/>
                <a:gd name="connsiteY95" fmla="*/ 563366 h 1550172"/>
                <a:gd name="connsiteX96" fmla="*/ 263389 w 1114676"/>
                <a:gd name="connsiteY96" fmla="*/ 563366 h 1550172"/>
                <a:gd name="connsiteX97" fmla="*/ 303955 w 1114676"/>
                <a:gd name="connsiteY97" fmla="*/ 604044 h 1550172"/>
                <a:gd name="connsiteX98" fmla="*/ 303955 w 1114676"/>
                <a:gd name="connsiteY98" fmla="*/ 804632 h 1550172"/>
                <a:gd name="connsiteX99" fmla="*/ 263389 w 1114676"/>
                <a:gd name="connsiteY99" fmla="*/ 845310 h 1550172"/>
                <a:gd name="connsiteX100" fmla="*/ 162672 w 1114676"/>
                <a:gd name="connsiteY100" fmla="*/ 845310 h 1550172"/>
                <a:gd name="connsiteX101" fmla="*/ 122106 w 1114676"/>
                <a:gd name="connsiteY101" fmla="*/ 804632 h 1550172"/>
                <a:gd name="connsiteX102" fmla="*/ 122106 w 1114676"/>
                <a:gd name="connsiteY102" fmla="*/ 604044 h 1550172"/>
                <a:gd name="connsiteX103" fmla="*/ 162672 w 1114676"/>
                <a:gd name="connsiteY103" fmla="*/ 563366 h 1550172"/>
                <a:gd name="connsiteX104" fmla="*/ 56074 w 1114676"/>
                <a:gd name="connsiteY104" fmla="*/ 468510 h 1550172"/>
                <a:gd name="connsiteX105" fmla="*/ 56074 w 1114676"/>
                <a:gd name="connsiteY105" fmla="*/ 1494098 h 1550172"/>
                <a:gd name="connsiteX106" fmla="*/ 602145 w 1114676"/>
                <a:gd name="connsiteY106" fmla="*/ 1494098 h 1550172"/>
                <a:gd name="connsiteX107" fmla="*/ 602145 w 1114676"/>
                <a:gd name="connsiteY107" fmla="*/ 468510 h 1550172"/>
                <a:gd name="connsiteX108" fmla="*/ 155556 w 1114676"/>
                <a:gd name="connsiteY108" fmla="*/ 316994 h 1550172"/>
                <a:gd name="connsiteX109" fmla="*/ 155556 w 1114676"/>
                <a:gd name="connsiteY109" fmla="*/ 406960 h 1550172"/>
                <a:gd name="connsiteX110" fmla="*/ 155556 w 1114676"/>
                <a:gd name="connsiteY110" fmla="*/ 412436 h 1550172"/>
                <a:gd name="connsiteX111" fmla="*/ 194671 w 1114676"/>
                <a:gd name="connsiteY111" fmla="*/ 412436 h 1550172"/>
                <a:gd name="connsiteX112" fmla="*/ 471348 w 1114676"/>
                <a:gd name="connsiteY112" fmla="*/ 412436 h 1550172"/>
                <a:gd name="connsiteX113" fmla="*/ 502663 w 1114676"/>
                <a:gd name="connsiteY113" fmla="*/ 412436 h 1550172"/>
                <a:gd name="connsiteX114" fmla="*/ 502663 w 1114676"/>
                <a:gd name="connsiteY114" fmla="*/ 396731 h 1550172"/>
                <a:gd name="connsiteX115" fmla="*/ 502663 w 1114676"/>
                <a:gd name="connsiteY115" fmla="*/ 316994 h 1550172"/>
                <a:gd name="connsiteX116" fmla="*/ 155556 w 1114676"/>
                <a:gd name="connsiteY116" fmla="*/ 316994 h 1550172"/>
                <a:gd name="connsiteX117" fmla="*/ 205890 w 1114676"/>
                <a:gd name="connsiteY117" fmla="*/ 167163 h 1550172"/>
                <a:gd name="connsiteX118" fmla="*/ 205890 w 1114676"/>
                <a:gd name="connsiteY118" fmla="*/ 239278 h 1550172"/>
                <a:gd name="connsiteX119" fmla="*/ 205890 w 1114676"/>
                <a:gd name="connsiteY119" fmla="*/ 260982 h 1550172"/>
                <a:gd name="connsiteX120" fmla="*/ 214842 w 1114676"/>
                <a:gd name="connsiteY120" fmla="*/ 260982 h 1550172"/>
                <a:gd name="connsiteX121" fmla="*/ 442688 w 1114676"/>
                <a:gd name="connsiteY121" fmla="*/ 260982 h 1550172"/>
                <a:gd name="connsiteX122" fmla="*/ 452329 w 1114676"/>
                <a:gd name="connsiteY122" fmla="*/ 260982 h 1550172"/>
                <a:gd name="connsiteX123" fmla="*/ 452329 w 1114676"/>
                <a:gd name="connsiteY123" fmla="*/ 250729 h 1550172"/>
                <a:gd name="connsiteX124" fmla="*/ 452329 w 1114676"/>
                <a:gd name="connsiteY124" fmla="*/ 167163 h 1550172"/>
                <a:gd name="connsiteX125" fmla="*/ 338074 w 1114676"/>
                <a:gd name="connsiteY125" fmla="*/ 167163 h 1550172"/>
                <a:gd name="connsiteX126" fmla="*/ 328909 w 1114676"/>
                <a:gd name="connsiteY126" fmla="*/ 167163 h 1550172"/>
                <a:gd name="connsiteX127" fmla="*/ 328848 w 1114676"/>
                <a:gd name="connsiteY127" fmla="*/ 167176 h 1550172"/>
                <a:gd name="connsiteX128" fmla="*/ 328787 w 1114676"/>
                <a:gd name="connsiteY128" fmla="*/ 167163 h 1550172"/>
                <a:gd name="connsiteX129" fmla="*/ 309857 w 1114676"/>
                <a:gd name="connsiteY129" fmla="*/ 167163 h 1550172"/>
                <a:gd name="connsiteX130" fmla="*/ 205890 w 1114676"/>
                <a:gd name="connsiteY130" fmla="*/ 167163 h 1550172"/>
                <a:gd name="connsiteX131" fmla="*/ 328848 w 1114676"/>
                <a:gd name="connsiteY131" fmla="*/ 0 h 1550172"/>
                <a:gd name="connsiteX132" fmla="*/ 356885 w 1114676"/>
                <a:gd name="connsiteY132" fmla="*/ 28097 h 1550172"/>
                <a:gd name="connsiteX133" fmla="*/ 356885 w 1114676"/>
                <a:gd name="connsiteY133" fmla="*/ 92259 h 1550172"/>
                <a:gd name="connsiteX134" fmla="*/ 356885 w 1114676"/>
                <a:gd name="connsiteY134" fmla="*/ 111101 h 1550172"/>
                <a:gd name="connsiteX135" fmla="*/ 373229 w 1114676"/>
                <a:gd name="connsiteY135" fmla="*/ 111101 h 1550172"/>
                <a:gd name="connsiteX136" fmla="*/ 455130 w 1114676"/>
                <a:gd name="connsiteY136" fmla="*/ 111101 h 1550172"/>
                <a:gd name="connsiteX137" fmla="*/ 508338 w 1114676"/>
                <a:gd name="connsiteY137" fmla="*/ 164360 h 1550172"/>
                <a:gd name="connsiteX138" fmla="*/ 508338 w 1114676"/>
                <a:gd name="connsiteY138" fmla="*/ 261563 h 1550172"/>
                <a:gd name="connsiteX139" fmla="*/ 526173 w 1114676"/>
                <a:gd name="connsiteY139" fmla="*/ 265161 h 1550172"/>
                <a:gd name="connsiteX140" fmla="*/ 558648 w 1114676"/>
                <a:gd name="connsiteY140" fmla="*/ 314194 h 1550172"/>
                <a:gd name="connsiteX141" fmla="*/ 558648 w 1114676"/>
                <a:gd name="connsiteY141" fmla="*/ 412436 h 1550172"/>
                <a:gd name="connsiteX142" fmla="*/ 560079 w 1114676"/>
                <a:gd name="connsiteY142" fmla="*/ 412436 h 1550172"/>
                <a:gd name="connsiteX143" fmla="*/ 606402 w 1114676"/>
                <a:gd name="connsiteY143" fmla="*/ 412436 h 1550172"/>
                <a:gd name="connsiteX144" fmla="*/ 658220 w 1114676"/>
                <a:gd name="connsiteY144" fmla="*/ 465680 h 1550172"/>
                <a:gd name="connsiteX145" fmla="*/ 658220 w 1114676"/>
                <a:gd name="connsiteY145" fmla="*/ 1496928 h 1550172"/>
                <a:gd name="connsiteX146" fmla="*/ 606402 w 1114676"/>
                <a:gd name="connsiteY146" fmla="*/ 1550172 h 1550172"/>
                <a:gd name="connsiteX147" fmla="*/ 53218 w 1114676"/>
                <a:gd name="connsiteY147" fmla="*/ 1550172 h 1550172"/>
                <a:gd name="connsiteX148" fmla="*/ 0 w 1114676"/>
                <a:gd name="connsiteY148" fmla="*/ 1496928 h 1550172"/>
                <a:gd name="connsiteX149" fmla="*/ 0 w 1114676"/>
                <a:gd name="connsiteY149" fmla="*/ 465680 h 1550172"/>
                <a:gd name="connsiteX150" fmla="*/ 53218 w 1114676"/>
                <a:gd name="connsiteY150" fmla="*/ 412436 h 1550172"/>
                <a:gd name="connsiteX151" fmla="*/ 99571 w 1114676"/>
                <a:gd name="connsiteY151" fmla="*/ 412436 h 1550172"/>
                <a:gd name="connsiteX152" fmla="*/ 99571 w 1114676"/>
                <a:gd name="connsiteY152" fmla="*/ 395807 h 1550172"/>
                <a:gd name="connsiteX153" fmla="*/ 99571 w 1114676"/>
                <a:gd name="connsiteY153" fmla="*/ 314194 h 1550172"/>
                <a:gd name="connsiteX154" fmla="*/ 132047 w 1114676"/>
                <a:gd name="connsiteY154" fmla="*/ 265161 h 1550172"/>
                <a:gd name="connsiteX155" fmla="*/ 149881 w 1114676"/>
                <a:gd name="connsiteY155" fmla="*/ 261563 h 1550172"/>
                <a:gd name="connsiteX156" fmla="*/ 149881 w 1114676"/>
                <a:gd name="connsiteY156" fmla="*/ 249804 h 1550172"/>
                <a:gd name="connsiteX157" fmla="*/ 149881 w 1114676"/>
                <a:gd name="connsiteY157" fmla="*/ 164360 h 1550172"/>
                <a:gd name="connsiteX158" fmla="*/ 203090 w 1114676"/>
                <a:gd name="connsiteY158" fmla="*/ 111101 h 1550172"/>
                <a:gd name="connsiteX159" fmla="*/ 286282 w 1114676"/>
                <a:gd name="connsiteY159" fmla="*/ 111101 h 1550172"/>
                <a:gd name="connsiteX160" fmla="*/ 300810 w 1114676"/>
                <a:gd name="connsiteY160" fmla="*/ 111101 h 1550172"/>
                <a:gd name="connsiteX161" fmla="*/ 300810 w 1114676"/>
                <a:gd name="connsiteY161" fmla="*/ 102446 h 1550172"/>
                <a:gd name="connsiteX162" fmla="*/ 300810 w 1114676"/>
                <a:gd name="connsiteY162" fmla="*/ 28097 h 1550172"/>
                <a:gd name="connsiteX163" fmla="*/ 328848 w 1114676"/>
                <a:gd name="connsiteY163" fmla="*/ 0 h 155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1114676" h="1550172">
                  <a:moveTo>
                    <a:pt x="838496" y="1272420"/>
                  </a:moveTo>
                  <a:lnTo>
                    <a:pt x="838496" y="1317489"/>
                  </a:lnTo>
                  <a:lnTo>
                    <a:pt x="957458" y="1317489"/>
                  </a:lnTo>
                  <a:lnTo>
                    <a:pt x="957458" y="1272420"/>
                  </a:lnTo>
                  <a:close/>
                  <a:moveTo>
                    <a:pt x="823473" y="1216345"/>
                  </a:moveTo>
                  <a:cubicBezTo>
                    <a:pt x="974403" y="1216345"/>
                    <a:pt x="974403" y="1216345"/>
                    <a:pt x="974403" y="1216345"/>
                  </a:cubicBezTo>
                  <a:cubicBezTo>
                    <a:pt x="995365" y="1216345"/>
                    <a:pt x="1013532" y="1234594"/>
                    <a:pt x="1013532" y="1257054"/>
                  </a:cubicBezTo>
                  <a:cubicBezTo>
                    <a:pt x="1013532" y="1332856"/>
                    <a:pt x="1013532" y="1332856"/>
                    <a:pt x="1013532" y="1332856"/>
                  </a:cubicBezTo>
                  <a:cubicBezTo>
                    <a:pt x="1013532" y="1355315"/>
                    <a:pt x="995365" y="1373564"/>
                    <a:pt x="974403" y="1373564"/>
                  </a:cubicBezTo>
                  <a:cubicBezTo>
                    <a:pt x="823473" y="1373564"/>
                    <a:pt x="823473" y="1373564"/>
                    <a:pt x="823473" y="1373564"/>
                  </a:cubicBezTo>
                  <a:cubicBezTo>
                    <a:pt x="801114" y="1373564"/>
                    <a:pt x="782946" y="1355315"/>
                    <a:pt x="782946" y="1332856"/>
                  </a:cubicBezTo>
                  <a:cubicBezTo>
                    <a:pt x="782946" y="1257054"/>
                    <a:pt x="782946" y="1257054"/>
                    <a:pt x="782946" y="1257054"/>
                  </a:cubicBezTo>
                  <a:cubicBezTo>
                    <a:pt x="782946" y="1234594"/>
                    <a:pt x="801114" y="1216345"/>
                    <a:pt x="823473" y="1216345"/>
                  </a:cubicBezTo>
                  <a:close/>
                  <a:moveTo>
                    <a:pt x="410339" y="1051266"/>
                  </a:moveTo>
                  <a:lnTo>
                    <a:pt x="410339" y="1220538"/>
                  </a:lnTo>
                  <a:lnTo>
                    <a:pt x="480039" y="1220538"/>
                  </a:lnTo>
                  <a:lnTo>
                    <a:pt x="480039" y="1051266"/>
                  </a:lnTo>
                  <a:close/>
                  <a:moveTo>
                    <a:pt x="177656" y="1051266"/>
                  </a:moveTo>
                  <a:lnTo>
                    <a:pt x="177656" y="1220538"/>
                  </a:lnTo>
                  <a:lnTo>
                    <a:pt x="247881" y="1220538"/>
                  </a:lnTo>
                  <a:lnTo>
                    <a:pt x="247881" y="1051266"/>
                  </a:lnTo>
                  <a:close/>
                  <a:moveTo>
                    <a:pt x="838496" y="1047074"/>
                  </a:moveTo>
                  <a:lnTo>
                    <a:pt x="838496" y="1091619"/>
                  </a:lnTo>
                  <a:lnTo>
                    <a:pt x="957458" y="1091619"/>
                  </a:lnTo>
                  <a:lnTo>
                    <a:pt x="957458" y="1047074"/>
                  </a:lnTo>
                  <a:close/>
                  <a:moveTo>
                    <a:pt x="394831" y="995192"/>
                  </a:moveTo>
                  <a:cubicBezTo>
                    <a:pt x="495547" y="995192"/>
                    <a:pt x="495547" y="995192"/>
                    <a:pt x="495547" y="995192"/>
                  </a:cubicBezTo>
                  <a:cubicBezTo>
                    <a:pt x="517929" y="995192"/>
                    <a:pt x="536114" y="1013393"/>
                    <a:pt x="536114" y="1035795"/>
                  </a:cubicBezTo>
                  <a:cubicBezTo>
                    <a:pt x="536114" y="1236009"/>
                    <a:pt x="536114" y="1236009"/>
                    <a:pt x="536114" y="1236009"/>
                  </a:cubicBezTo>
                  <a:cubicBezTo>
                    <a:pt x="536114" y="1258411"/>
                    <a:pt x="517929" y="1276612"/>
                    <a:pt x="495547" y="1276612"/>
                  </a:cubicBezTo>
                  <a:cubicBezTo>
                    <a:pt x="394831" y="1276612"/>
                    <a:pt x="394831" y="1276612"/>
                    <a:pt x="394831" y="1276612"/>
                  </a:cubicBezTo>
                  <a:cubicBezTo>
                    <a:pt x="372450" y="1276612"/>
                    <a:pt x="354265" y="1258411"/>
                    <a:pt x="354265" y="1236009"/>
                  </a:cubicBezTo>
                  <a:cubicBezTo>
                    <a:pt x="354265" y="1035795"/>
                    <a:pt x="354265" y="1035795"/>
                    <a:pt x="354265" y="1035795"/>
                  </a:cubicBezTo>
                  <a:cubicBezTo>
                    <a:pt x="354265" y="1013393"/>
                    <a:pt x="372450" y="995192"/>
                    <a:pt x="394831" y="995192"/>
                  </a:cubicBezTo>
                  <a:close/>
                  <a:moveTo>
                    <a:pt x="162672" y="995192"/>
                  </a:moveTo>
                  <a:cubicBezTo>
                    <a:pt x="263389" y="995192"/>
                    <a:pt x="263389" y="995192"/>
                    <a:pt x="263389" y="995192"/>
                  </a:cubicBezTo>
                  <a:cubicBezTo>
                    <a:pt x="285770" y="995192"/>
                    <a:pt x="303955" y="1013393"/>
                    <a:pt x="303955" y="1035795"/>
                  </a:cubicBezTo>
                  <a:cubicBezTo>
                    <a:pt x="303955" y="1236009"/>
                    <a:pt x="303955" y="1236009"/>
                    <a:pt x="303955" y="1236009"/>
                  </a:cubicBezTo>
                  <a:cubicBezTo>
                    <a:pt x="303955" y="1258411"/>
                    <a:pt x="285770" y="1276612"/>
                    <a:pt x="263389" y="1276612"/>
                  </a:cubicBezTo>
                  <a:cubicBezTo>
                    <a:pt x="162672" y="1276612"/>
                    <a:pt x="162672" y="1276612"/>
                    <a:pt x="162672" y="1276612"/>
                  </a:cubicBezTo>
                  <a:cubicBezTo>
                    <a:pt x="140291" y="1276612"/>
                    <a:pt x="122106" y="1258411"/>
                    <a:pt x="122106" y="1236009"/>
                  </a:cubicBezTo>
                  <a:cubicBezTo>
                    <a:pt x="122106" y="1035795"/>
                    <a:pt x="122106" y="1035795"/>
                    <a:pt x="122106" y="1035795"/>
                  </a:cubicBezTo>
                  <a:cubicBezTo>
                    <a:pt x="122106" y="1013393"/>
                    <a:pt x="140291" y="995192"/>
                    <a:pt x="162672" y="995192"/>
                  </a:cubicBezTo>
                  <a:close/>
                  <a:moveTo>
                    <a:pt x="823473" y="990999"/>
                  </a:moveTo>
                  <a:cubicBezTo>
                    <a:pt x="974403" y="990999"/>
                    <a:pt x="974403" y="990999"/>
                    <a:pt x="974403" y="990999"/>
                  </a:cubicBezTo>
                  <a:cubicBezTo>
                    <a:pt x="995365" y="990999"/>
                    <a:pt x="1013532" y="1009187"/>
                    <a:pt x="1013532" y="1031572"/>
                  </a:cubicBezTo>
                  <a:cubicBezTo>
                    <a:pt x="1013532" y="1107121"/>
                    <a:pt x="1013532" y="1107121"/>
                    <a:pt x="1013532" y="1107121"/>
                  </a:cubicBezTo>
                  <a:cubicBezTo>
                    <a:pt x="1013532" y="1129506"/>
                    <a:pt x="995365" y="1147694"/>
                    <a:pt x="974403" y="1147694"/>
                  </a:cubicBezTo>
                  <a:cubicBezTo>
                    <a:pt x="823473" y="1147694"/>
                    <a:pt x="823473" y="1147694"/>
                    <a:pt x="823473" y="1147694"/>
                  </a:cubicBezTo>
                  <a:cubicBezTo>
                    <a:pt x="801114" y="1147694"/>
                    <a:pt x="782946" y="1129506"/>
                    <a:pt x="782946" y="1107121"/>
                  </a:cubicBezTo>
                  <a:cubicBezTo>
                    <a:pt x="782946" y="1031572"/>
                    <a:pt x="782946" y="1031572"/>
                    <a:pt x="782946" y="1031572"/>
                  </a:cubicBezTo>
                  <a:cubicBezTo>
                    <a:pt x="782946" y="1009187"/>
                    <a:pt x="801114" y="990999"/>
                    <a:pt x="823473" y="990999"/>
                  </a:cubicBezTo>
                  <a:close/>
                  <a:moveTo>
                    <a:pt x="838496" y="820155"/>
                  </a:moveTo>
                  <a:lnTo>
                    <a:pt x="838496" y="864701"/>
                  </a:lnTo>
                  <a:lnTo>
                    <a:pt x="957458" y="864701"/>
                  </a:lnTo>
                  <a:lnTo>
                    <a:pt x="957458" y="820155"/>
                  </a:lnTo>
                  <a:close/>
                  <a:moveTo>
                    <a:pt x="823473" y="764081"/>
                  </a:moveTo>
                  <a:cubicBezTo>
                    <a:pt x="974403" y="764081"/>
                    <a:pt x="974403" y="764081"/>
                    <a:pt x="974403" y="764081"/>
                  </a:cubicBezTo>
                  <a:cubicBezTo>
                    <a:pt x="995365" y="764081"/>
                    <a:pt x="1013532" y="782269"/>
                    <a:pt x="1013532" y="804653"/>
                  </a:cubicBezTo>
                  <a:cubicBezTo>
                    <a:pt x="1013532" y="880202"/>
                    <a:pt x="1013532" y="880202"/>
                    <a:pt x="1013532" y="880202"/>
                  </a:cubicBezTo>
                  <a:cubicBezTo>
                    <a:pt x="1013532" y="902587"/>
                    <a:pt x="995365" y="920775"/>
                    <a:pt x="974403" y="920775"/>
                  </a:cubicBezTo>
                  <a:cubicBezTo>
                    <a:pt x="823473" y="920775"/>
                    <a:pt x="823473" y="920775"/>
                    <a:pt x="823473" y="920775"/>
                  </a:cubicBezTo>
                  <a:cubicBezTo>
                    <a:pt x="801114" y="920775"/>
                    <a:pt x="782946" y="902587"/>
                    <a:pt x="782946" y="880202"/>
                  </a:cubicBezTo>
                  <a:cubicBezTo>
                    <a:pt x="782946" y="804653"/>
                    <a:pt x="782946" y="804653"/>
                    <a:pt x="782946" y="804653"/>
                  </a:cubicBezTo>
                  <a:cubicBezTo>
                    <a:pt x="782946" y="782269"/>
                    <a:pt x="801114" y="764081"/>
                    <a:pt x="823473" y="764081"/>
                  </a:cubicBezTo>
                  <a:close/>
                  <a:moveTo>
                    <a:pt x="737877" y="670274"/>
                  </a:moveTo>
                  <a:lnTo>
                    <a:pt x="737877" y="1494098"/>
                  </a:lnTo>
                  <a:lnTo>
                    <a:pt x="1058602" y="1494098"/>
                  </a:lnTo>
                  <a:lnTo>
                    <a:pt x="1058602" y="670274"/>
                  </a:lnTo>
                  <a:close/>
                  <a:moveTo>
                    <a:pt x="410339" y="619440"/>
                  </a:moveTo>
                  <a:lnTo>
                    <a:pt x="410339" y="789236"/>
                  </a:lnTo>
                  <a:lnTo>
                    <a:pt x="480039" y="789236"/>
                  </a:lnTo>
                  <a:lnTo>
                    <a:pt x="480039" y="619440"/>
                  </a:lnTo>
                  <a:close/>
                  <a:moveTo>
                    <a:pt x="177656" y="619440"/>
                  </a:moveTo>
                  <a:lnTo>
                    <a:pt x="177656" y="789236"/>
                  </a:lnTo>
                  <a:lnTo>
                    <a:pt x="247881" y="789236"/>
                  </a:lnTo>
                  <a:lnTo>
                    <a:pt x="247881" y="619440"/>
                  </a:lnTo>
                  <a:close/>
                  <a:moveTo>
                    <a:pt x="735036" y="614199"/>
                  </a:moveTo>
                  <a:cubicBezTo>
                    <a:pt x="1061443" y="614199"/>
                    <a:pt x="1061443" y="614199"/>
                    <a:pt x="1061443" y="614199"/>
                  </a:cubicBezTo>
                  <a:cubicBezTo>
                    <a:pt x="1090861" y="614199"/>
                    <a:pt x="1114676" y="638019"/>
                    <a:pt x="1114676" y="667443"/>
                  </a:cubicBezTo>
                  <a:cubicBezTo>
                    <a:pt x="1114676" y="1496928"/>
                    <a:pt x="1114676" y="1496928"/>
                    <a:pt x="1114676" y="1496928"/>
                  </a:cubicBezTo>
                  <a:cubicBezTo>
                    <a:pt x="1114676" y="1526352"/>
                    <a:pt x="1090861" y="1550172"/>
                    <a:pt x="1061443" y="1550172"/>
                  </a:cubicBezTo>
                  <a:cubicBezTo>
                    <a:pt x="735036" y="1550172"/>
                    <a:pt x="735036" y="1550172"/>
                    <a:pt x="735036" y="1550172"/>
                  </a:cubicBezTo>
                  <a:cubicBezTo>
                    <a:pt x="705618" y="1550172"/>
                    <a:pt x="681802" y="1526352"/>
                    <a:pt x="681802" y="1496928"/>
                  </a:cubicBezTo>
                  <a:cubicBezTo>
                    <a:pt x="681802" y="667443"/>
                    <a:pt x="681802" y="667443"/>
                    <a:pt x="681802" y="667443"/>
                  </a:cubicBezTo>
                  <a:cubicBezTo>
                    <a:pt x="681802" y="638019"/>
                    <a:pt x="705618" y="614199"/>
                    <a:pt x="735036" y="614199"/>
                  </a:cubicBezTo>
                  <a:close/>
                  <a:moveTo>
                    <a:pt x="394831" y="563366"/>
                  </a:moveTo>
                  <a:cubicBezTo>
                    <a:pt x="495547" y="563366"/>
                    <a:pt x="495547" y="563366"/>
                    <a:pt x="495547" y="563366"/>
                  </a:cubicBezTo>
                  <a:cubicBezTo>
                    <a:pt x="517929" y="563366"/>
                    <a:pt x="536114" y="581601"/>
                    <a:pt x="536114" y="604044"/>
                  </a:cubicBezTo>
                  <a:cubicBezTo>
                    <a:pt x="536114" y="804632"/>
                    <a:pt x="536114" y="804632"/>
                    <a:pt x="536114" y="804632"/>
                  </a:cubicBezTo>
                  <a:cubicBezTo>
                    <a:pt x="536114" y="827075"/>
                    <a:pt x="517929" y="845310"/>
                    <a:pt x="495547" y="845310"/>
                  </a:cubicBezTo>
                  <a:cubicBezTo>
                    <a:pt x="394831" y="845310"/>
                    <a:pt x="394831" y="845310"/>
                    <a:pt x="394831" y="845310"/>
                  </a:cubicBezTo>
                  <a:cubicBezTo>
                    <a:pt x="372450" y="845310"/>
                    <a:pt x="354265" y="827075"/>
                    <a:pt x="354265" y="804632"/>
                  </a:cubicBezTo>
                  <a:cubicBezTo>
                    <a:pt x="354265" y="604044"/>
                    <a:pt x="354265" y="604044"/>
                    <a:pt x="354265" y="604044"/>
                  </a:cubicBezTo>
                  <a:cubicBezTo>
                    <a:pt x="354265" y="581601"/>
                    <a:pt x="372450" y="563366"/>
                    <a:pt x="394831" y="563366"/>
                  </a:cubicBezTo>
                  <a:close/>
                  <a:moveTo>
                    <a:pt x="162672" y="563366"/>
                  </a:moveTo>
                  <a:cubicBezTo>
                    <a:pt x="263389" y="563366"/>
                    <a:pt x="263389" y="563366"/>
                    <a:pt x="263389" y="563366"/>
                  </a:cubicBezTo>
                  <a:cubicBezTo>
                    <a:pt x="285770" y="563366"/>
                    <a:pt x="303955" y="581601"/>
                    <a:pt x="303955" y="604044"/>
                  </a:cubicBezTo>
                  <a:cubicBezTo>
                    <a:pt x="303955" y="804632"/>
                    <a:pt x="303955" y="804632"/>
                    <a:pt x="303955" y="804632"/>
                  </a:cubicBezTo>
                  <a:cubicBezTo>
                    <a:pt x="303955" y="827075"/>
                    <a:pt x="285770" y="845310"/>
                    <a:pt x="263389" y="845310"/>
                  </a:cubicBezTo>
                  <a:cubicBezTo>
                    <a:pt x="162672" y="845310"/>
                    <a:pt x="162672" y="845310"/>
                    <a:pt x="162672" y="845310"/>
                  </a:cubicBezTo>
                  <a:cubicBezTo>
                    <a:pt x="140291" y="845310"/>
                    <a:pt x="122106" y="827075"/>
                    <a:pt x="122106" y="804632"/>
                  </a:cubicBezTo>
                  <a:cubicBezTo>
                    <a:pt x="122106" y="604044"/>
                    <a:pt x="122106" y="604044"/>
                    <a:pt x="122106" y="604044"/>
                  </a:cubicBezTo>
                  <a:cubicBezTo>
                    <a:pt x="122106" y="581601"/>
                    <a:pt x="140291" y="563366"/>
                    <a:pt x="162672" y="563366"/>
                  </a:cubicBezTo>
                  <a:close/>
                  <a:moveTo>
                    <a:pt x="56074" y="468510"/>
                  </a:moveTo>
                  <a:lnTo>
                    <a:pt x="56074" y="1494098"/>
                  </a:lnTo>
                  <a:lnTo>
                    <a:pt x="602145" y="1494098"/>
                  </a:lnTo>
                  <a:lnTo>
                    <a:pt x="602145" y="468510"/>
                  </a:lnTo>
                  <a:close/>
                  <a:moveTo>
                    <a:pt x="155556" y="316994"/>
                  </a:moveTo>
                  <a:cubicBezTo>
                    <a:pt x="155556" y="361628"/>
                    <a:pt x="155556" y="389525"/>
                    <a:pt x="155556" y="406960"/>
                  </a:cubicBezTo>
                  <a:lnTo>
                    <a:pt x="155556" y="412436"/>
                  </a:lnTo>
                  <a:lnTo>
                    <a:pt x="194671" y="412436"/>
                  </a:lnTo>
                  <a:cubicBezTo>
                    <a:pt x="322450" y="412436"/>
                    <a:pt x="410573" y="412436"/>
                    <a:pt x="471348" y="412436"/>
                  </a:cubicBezTo>
                  <a:lnTo>
                    <a:pt x="502663" y="412436"/>
                  </a:lnTo>
                  <a:lnTo>
                    <a:pt x="502663" y="396731"/>
                  </a:lnTo>
                  <a:cubicBezTo>
                    <a:pt x="502663" y="316994"/>
                    <a:pt x="502663" y="316994"/>
                    <a:pt x="502663" y="316994"/>
                  </a:cubicBezTo>
                  <a:cubicBezTo>
                    <a:pt x="155556" y="316994"/>
                    <a:pt x="155556" y="316994"/>
                    <a:pt x="155556" y="316994"/>
                  </a:cubicBezTo>
                  <a:close/>
                  <a:moveTo>
                    <a:pt x="205890" y="167163"/>
                  </a:moveTo>
                  <a:cubicBezTo>
                    <a:pt x="205890" y="198348"/>
                    <a:pt x="205890" y="221737"/>
                    <a:pt x="205890" y="239278"/>
                  </a:cubicBezTo>
                  <a:lnTo>
                    <a:pt x="205890" y="260982"/>
                  </a:lnTo>
                  <a:lnTo>
                    <a:pt x="214842" y="260982"/>
                  </a:lnTo>
                  <a:cubicBezTo>
                    <a:pt x="331090" y="260982"/>
                    <a:pt x="400839" y="260982"/>
                    <a:pt x="442688" y="260982"/>
                  </a:cubicBezTo>
                  <a:lnTo>
                    <a:pt x="452329" y="260982"/>
                  </a:lnTo>
                  <a:lnTo>
                    <a:pt x="452329" y="250729"/>
                  </a:lnTo>
                  <a:cubicBezTo>
                    <a:pt x="452329" y="167163"/>
                    <a:pt x="452329" y="167163"/>
                    <a:pt x="452329" y="167163"/>
                  </a:cubicBezTo>
                  <a:cubicBezTo>
                    <a:pt x="406122" y="167163"/>
                    <a:pt x="368578" y="167163"/>
                    <a:pt x="338074" y="167163"/>
                  </a:cubicBezTo>
                  <a:lnTo>
                    <a:pt x="328909" y="167163"/>
                  </a:lnTo>
                  <a:lnTo>
                    <a:pt x="328848" y="167176"/>
                  </a:lnTo>
                  <a:lnTo>
                    <a:pt x="328787" y="167163"/>
                  </a:lnTo>
                  <a:lnTo>
                    <a:pt x="309857" y="167163"/>
                  </a:lnTo>
                  <a:cubicBezTo>
                    <a:pt x="205890" y="167163"/>
                    <a:pt x="205890" y="167163"/>
                    <a:pt x="205890" y="167163"/>
                  </a:cubicBezTo>
                  <a:close/>
                  <a:moveTo>
                    <a:pt x="328848" y="0"/>
                  </a:moveTo>
                  <a:cubicBezTo>
                    <a:pt x="344268" y="0"/>
                    <a:pt x="356885" y="12644"/>
                    <a:pt x="356885" y="28097"/>
                  </a:cubicBezTo>
                  <a:cubicBezTo>
                    <a:pt x="356885" y="55842"/>
                    <a:pt x="356885" y="76652"/>
                    <a:pt x="356885" y="92259"/>
                  </a:cubicBezTo>
                  <a:lnTo>
                    <a:pt x="356885" y="111101"/>
                  </a:lnTo>
                  <a:lnTo>
                    <a:pt x="373229" y="111101"/>
                  </a:lnTo>
                  <a:cubicBezTo>
                    <a:pt x="455130" y="111101"/>
                    <a:pt x="455130" y="111101"/>
                    <a:pt x="455130" y="111101"/>
                  </a:cubicBezTo>
                  <a:cubicBezTo>
                    <a:pt x="484535" y="111101"/>
                    <a:pt x="508338" y="134927"/>
                    <a:pt x="508338" y="164360"/>
                  </a:cubicBezTo>
                  <a:lnTo>
                    <a:pt x="508338" y="261563"/>
                  </a:lnTo>
                  <a:lnTo>
                    <a:pt x="526173" y="265161"/>
                  </a:lnTo>
                  <a:cubicBezTo>
                    <a:pt x="545264" y="273235"/>
                    <a:pt x="558648" y="292139"/>
                    <a:pt x="558648" y="314194"/>
                  </a:cubicBezTo>
                  <a:lnTo>
                    <a:pt x="558648" y="412436"/>
                  </a:lnTo>
                  <a:lnTo>
                    <a:pt x="560079" y="412436"/>
                  </a:lnTo>
                  <a:cubicBezTo>
                    <a:pt x="606402" y="412436"/>
                    <a:pt x="606402" y="412436"/>
                    <a:pt x="606402" y="412436"/>
                  </a:cubicBezTo>
                  <a:cubicBezTo>
                    <a:pt x="634412" y="412436"/>
                    <a:pt x="658220" y="436256"/>
                    <a:pt x="658220" y="465680"/>
                  </a:cubicBezTo>
                  <a:cubicBezTo>
                    <a:pt x="658220" y="1496928"/>
                    <a:pt x="658220" y="1496928"/>
                    <a:pt x="658220" y="1496928"/>
                  </a:cubicBezTo>
                  <a:cubicBezTo>
                    <a:pt x="658220" y="1526353"/>
                    <a:pt x="634412" y="1550172"/>
                    <a:pt x="606402" y="1550172"/>
                  </a:cubicBezTo>
                  <a:cubicBezTo>
                    <a:pt x="53218" y="1550172"/>
                    <a:pt x="53218" y="1550172"/>
                    <a:pt x="53218" y="1550172"/>
                  </a:cubicBezTo>
                  <a:cubicBezTo>
                    <a:pt x="23808" y="1550172"/>
                    <a:pt x="0" y="1526353"/>
                    <a:pt x="0" y="1496928"/>
                  </a:cubicBezTo>
                  <a:cubicBezTo>
                    <a:pt x="0" y="465680"/>
                    <a:pt x="0" y="465680"/>
                    <a:pt x="0" y="465680"/>
                  </a:cubicBezTo>
                  <a:cubicBezTo>
                    <a:pt x="0" y="436256"/>
                    <a:pt x="23808" y="412436"/>
                    <a:pt x="53218" y="412436"/>
                  </a:cubicBezTo>
                  <a:lnTo>
                    <a:pt x="99571" y="412436"/>
                  </a:lnTo>
                  <a:lnTo>
                    <a:pt x="99571" y="395807"/>
                  </a:lnTo>
                  <a:cubicBezTo>
                    <a:pt x="99571" y="314194"/>
                    <a:pt x="99571" y="314194"/>
                    <a:pt x="99571" y="314194"/>
                  </a:cubicBezTo>
                  <a:cubicBezTo>
                    <a:pt x="99571" y="292139"/>
                    <a:pt x="112955" y="273235"/>
                    <a:pt x="132047" y="265161"/>
                  </a:cubicBezTo>
                  <a:lnTo>
                    <a:pt x="149881" y="261563"/>
                  </a:lnTo>
                  <a:lnTo>
                    <a:pt x="149881" y="249804"/>
                  </a:lnTo>
                  <a:cubicBezTo>
                    <a:pt x="149881" y="164360"/>
                    <a:pt x="149881" y="164360"/>
                    <a:pt x="149881" y="164360"/>
                  </a:cubicBezTo>
                  <a:cubicBezTo>
                    <a:pt x="149881" y="134927"/>
                    <a:pt x="173685" y="111101"/>
                    <a:pt x="203090" y="111101"/>
                  </a:cubicBezTo>
                  <a:cubicBezTo>
                    <a:pt x="234595" y="111101"/>
                    <a:pt x="262161" y="111101"/>
                    <a:pt x="286282" y="111101"/>
                  </a:cubicBezTo>
                  <a:lnTo>
                    <a:pt x="300810" y="111101"/>
                  </a:lnTo>
                  <a:lnTo>
                    <a:pt x="300810" y="102446"/>
                  </a:lnTo>
                  <a:cubicBezTo>
                    <a:pt x="300810" y="28097"/>
                    <a:pt x="300810" y="28097"/>
                    <a:pt x="300810" y="28097"/>
                  </a:cubicBezTo>
                  <a:cubicBezTo>
                    <a:pt x="300810" y="12644"/>
                    <a:pt x="313427" y="0"/>
                    <a:pt x="328848"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9" name="Freeform 388"/>
            <p:cNvSpPr>
              <a:spLocks/>
            </p:cNvSpPr>
            <p:nvPr/>
          </p:nvSpPr>
          <p:spPr bwMode="auto">
            <a:xfrm>
              <a:off x="4942943" y="4685823"/>
              <a:ext cx="323850" cy="417957"/>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solidFill>
              <a:schemeClr val="accent1"/>
            </a:solidFill>
            <a:ln>
              <a:noFill/>
            </a:ln>
          </p:spPr>
          <p:txBody>
            <a:bodyPr vert="horz" wrap="square" lIns="0" tIns="182880" rIns="0" bIns="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078D7"/>
                  </a:solidFill>
                  <a:effectLst/>
                  <a:uLnTx/>
                  <a:uFillTx/>
                </a:rPr>
                <a:t>SQL</a:t>
              </a:r>
            </a:p>
          </p:txBody>
        </p:sp>
        <p:sp>
          <p:nvSpPr>
            <p:cNvPr id="390" name="Freeform 389"/>
            <p:cNvSpPr>
              <a:spLocks noChangeArrowheads="1"/>
            </p:cNvSpPr>
            <p:nvPr/>
          </p:nvSpPr>
          <p:spPr bwMode="auto">
            <a:xfrm flipH="1">
              <a:off x="3122248" y="1778034"/>
              <a:ext cx="318613" cy="268059"/>
            </a:xfrm>
            <a:custGeom>
              <a:avLst/>
              <a:gdLst>
                <a:gd name="connsiteX0" fmla="*/ 1925912 w 3848648"/>
                <a:gd name="connsiteY0" fmla="*/ 2280727 h 3237989"/>
                <a:gd name="connsiteX1" fmla="*/ 1506812 w 3848648"/>
                <a:gd name="connsiteY1" fmla="*/ 2698240 h 3237989"/>
                <a:gd name="connsiteX2" fmla="*/ 1925912 w 3848648"/>
                <a:gd name="connsiteY2" fmla="*/ 3115753 h 3237989"/>
                <a:gd name="connsiteX3" fmla="*/ 2345012 w 3848648"/>
                <a:gd name="connsiteY3" fmla="*/ 2698240 h 3237989"/>
                <a:gd name="connsiteX4" fmla="*/ 1925912 w 3848648"/>
                <a:gd name="connsiteY4" fmla="*/ 2280727 h 3237989"/>
                <a:gd name="connsiteX5" fmla="*/ 1925118 w 3848648"/>
                <a:gd name="connsiteY5" fmla="*/ 2158489 h 3237989"/>
                <a:gd name="connsiteX6" fmla="*/ 2465662 w 3848648"/>
                <a:gd name="connsiteY6" fmla="*/ 2698239 h 3237989"/>
                <a:gd name="connsiteX7" fmla="*/ 1925118 w 3848648"/>
                <a:gd name="connsiteY7" fmla="*/ 3237989 h 3237989"/>
                <a:gd name="connsiteX8" fmla="*/ 1384574 w 3848648"/>
                <a:gd name="connsiteY8" fmla="*/ 2698239 h 3237989"/>
                <a:gd name="connsiteX9" fmla="*/ 1925118 w 3848648"/>
                <a:gd name="connsiteY9" fmla="*/ 2158489 h 3237989"/>
                <a:gd name="connsiteX10" fmla="*/ 1924773 w 3848648"/>
                <a:gd name="connsiteY10" fmla="*/ 1438131 h 3237989"/>
                <a:gd name="connsiteX11" fmla="*/ 2816009 w 3848648"/>
                <a:gd name="connsiteY11" fmla="*/ 1805943 h 3237989"/>
                <a:gd name="connsiteX12" fmla="*/ 2816009 w 3848648"/>
                <a:gd name="connsiteY12" fmla="*/ 1894279 h 3237989"/>
                <a:gd name="connsiteX13" fmla="*/ 2727911 w 3848648"/>
                <a:gd name="connsiteY13" fmla="*/ 1894279 h 3237989"/>
                <a:gd name="connsiteX14" fmla="*/ 1120875 w 3848648"/>
                <a:gd name="connsiteY14" fmla="*/ 1894279 h 3237989"/>
                <a:gd name="connsiteX15" fmla="*/ 1078345 w 3848648"/>
                <a:gd name="connsiteY15" fmla="*/ 1909510 h 3237989"/>
                <a:gd name="connsiteX16" fmla="*/ 1035815 w 3848648"/>
                <a:gd name="connsiteY16" fmla="*/ 1894279 h 3237989"/>
                <a:gd name="connsiteX17" fmla="*/ 1035815 w 3848648"/>
                <a:gd name="connsiteY17" fmla="*/ 1805943 h 3237989"/>
                <a:gd name="connsiteX18" fmla="*/ 1924773 w 3848648"/>
                <a:gd name="connsiteY18" fmla="*/ 1438131 h 3237989"/>
                <a:gd name="connsiteX19" fmla="*/ 1925119 w 3848648"/>
                <a:gd name="connsiteY19" fmla="*/ 717039 h 3237989"/>
                <a:gd name="connsiteX20" fmla="*/ 3322424 w 3848648"/>
                <a:gd name="connsiteY20" fmla="*/ 1298085 h 3237989"/>
                <a:gd name="connsiteX21" fmla="*/ 3322424 w 3848648"/>
                <a:gd name="connsiteY21" fmla="*/ 1383265 h 3237989"/>
                <a:gd name="connsiteX22" fmla="*/ 3237371 w 3848648"/>
                <a:gd name="connsiteY22" fmla="*/ 1383265 h 3237989"/>
                <a:gd name="connsiteX23" fmla="*/ 1925119 w 3848648"/>
                <a:gd name="connsiteY23" fmla="*/ 838724 h 3237989"/>
                <a:gd name="connsiteX24" fmla="*/ 612866 w 3848648"/>
                <a:gd name="connsiteY24" fmla="*/ 1383265 h 3237989"/>
                <a:gd name="connsiteX25" fmla="*/ 570339 w 3848648"/>
                <a:gd name="connsiteY25" fmla="*/ 1401518 h 3237989"/>
                <a:gd name="connsiteX26" fmla="*/ 527813 w 3848648"/>
                <a:gd name="connsiteY26" fmla="*/ 1383265 h 3237989"/>
                <a:gd name="connsiteX27" fmla="*/ 527813 w 3848648"/>
                <a:gd name="connsiteY27" fmla="*/ 1298085 h 3237989"/>
                <a:gd name="connsiteX28" fmla="*/ 1925119 w 3848648"/>
                <a:gd name="connsiteY28" fmla="*/ 717039 h 3237989"/>
                <a:gd name="connsiteX29" fmla="*/ 1925843 w 3848648"/>
                <a:gd name="connsiteY29" fmla="*/ 0 h 3237989"/>
                <a:gd name="connsiteX30" fmla="*/ 3830423 w 3848648"/>
                <a:gd name="connsiteY30" fmla="*/ 790191 h 3237989"/>
                <a:gd name="connsiteX31" fmla="*/ 3830423 w 3848648"/>
                <a:gd name="connsiteY31" fmla="*/ 875288 h 3237989"/>
                <a:gd name="connsiteX32" fmla="*/ 3787897 w 3848648"/>
                <a:gd name="connsiteY32" fmla="*/ 893523 h 3237989"/>
                <a:gd name="connsiteX33" fmla="*/ 3745370 w 3848648"/>
                <a:gd name="connsiteY33" fmla="*/ 875288 h 3237989"/>
                <a:gd name="connsiteX34" fmla="*/ 103278 w 3848648"/>
                <a:gd name="connsiteY34" fmla="*/ 875288 h 3237989"/>
                <a:gd name="connsiteX35" fmla="*/ 18225 w 3848648"/>
                <a:gd name="connsiteY35" fmla="*/ 875288 h 3237989"/>
                <a:gd name="connsiteX36" fmla="*/ 18225 w 3848648"/>
                <a:gd name="connsiteY36" fmla="*/ 790191 h 3237989"/>
                <a:gd name="connsiteX37" fmla="*/ 1925843 w 3848648"/>
                <a:gd name="connsiteY37" fmla="*/ 0 h 323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48648" h="3237989">
                  <a:moveTo>
                    <a:pt x="1925912" y="2280727"/>
                  </a:moveTo>
                  <a:cubicBezTo>
                    <a:pt x="1694449" y="2280727"/>
                    <a:pt x="1506812" y="2467654"/>
                    <a:pt x="1506812" y="2698240"/>
                  </a:cubicBezTo>
                  <a:cubicBezTo>
                    <a:pt x="1506812" y="2928826"/>
                    <a:pt x="1694449" y="3115753"/>
                    <a:pt x="1925912" y="3115753"/>
                  </a:cubicBezTo>
                  <a:cubicBezTo>
                    <a:pt x="2157375" y="3115753"/>
                    <a:pt x="2345012" y="2928826"/>
                    <a:pt x="2345012" y="2698240"/>
                  </a:cubicBezTo>
                  <a:cubicBezTo>
                    <a:pt x="2345012" y="2467654"/>
                    <a:pt x="2157375" y="2280727"/>
                    <a:pt x="1925912" y="2280727"/>
                  </a:cubicBezTo>
                  <a:close/>
                  <a:moveTo>
                    <a:pt x="1925118" y="2158489"/>
                  </a:moveTo>
                  <a:cubicBezTo>
                    <a:pt x="2223652" y="2158489"/>
                    <a:pt x="2465662" y="2400143"/>
                    <a:pt x="2465662" y="2698239"/>
                  </a:cubicBezTo>
                  <a:cubicBezTo>
                    <a:pt x="2465662" y="2996335"/>
                    <a:pt x="2223652" y="3237989"/>
                    <a:pt x="1925118" y="3237989"/>
                  </a:cubicBezTo>
                  <a:cubicBezTo>
                    <a:pt x="1626584" y="3237989"/>
                    <a:pt x="1384574" y="2996335"/>
                    <a:pt x="1384574" y="2698239"/>
                  </a:cubicBezTo>
                  <a:cubicBezTo>
                    <a:pt x="1384574" y="2400143"/>
                    <a:pt x="1626584" y="2158489"/>
                    <a:pt x="1925118" y="2158489"/>
                  </a:cubicBezTo>
                  <a:close/>
                  <a:moveTo>
                    <a:pt x="1924773" y="1438131"/>
                  </a:moveTo>
                  <a:cubicBezTo>
                    <a:pt x="2247167" y="1438131"/>
                    <a:pt x="2569942" y="1560735"/>
                    <a:pt x="2816009" y="1805943"/>
                  </a:cubicBezTo>
                  <a:cubicBezTo>
                    <a:pt x="2840312" y="1830312"/>
                    <a:pt x="2840312" y="1869911"/>
                    <a:pt x="2816009" y="1894279"/>
                  </a:cubicBezTo>
                  <a:cubicBezTo>
                    <a:pt x="2791706" y="1915602"/>
                    <a:pt x="2752214" y="1915602"/>
                    <a:pt x="2727911" y="1894279"/>
                  </a:cubicBezTo>
                  <a:cubicBezTo>
                    <a:pt x="2287419" y="1449554"/>
                    <a:pt x="1564405" y="1449554"/>
                    <a:pt x="1120875" y="1894279"/>
                  </a:cubicBezTo>
                  <a:cubicBezTo>
                    <a:pt x="1108724" y="1903418"/>
                    <a:pt x="1093534" y="1909510"/>
                    <a:pt x="1078345" y="1909510"/>
                  </a:cubicBezTo>
                  <a:cubicBezTo>
                    <a:pt x="1063156" y="1909510"/>
                    <a:pt x="1047966" y="1903418"/>
                    <a:pt x="1035815" y="1894279"/>
                  </a:cubicBezTo>
                  <a:cubicBezTo>
                    <a:pt x="1011512" y="1869911"/>
                    <a:pt x="1011512" y="1830312"/>
                    <a:pt x="1035815" y="1805943"/>
                  </a:cubicBezTo>
                  <a:cubicBezTo>
                    <a:pt x="1280364" y="1560735"/>
                    <a:pt x="1602379" y="1438131"/>
                    <a:pt x="1924773" y="1438131"/>
                  </a:cubicBezTo>
                  <a:close/>
                  <a:moveTo>
                    <a:pt x="1925119" y="717039"/>
                  </a:moveTo>
                  <a:cubicBezTo>
                    <a:pt x="2453665" y="717039"/>
                    <a:pt x="2948797" y="923904"/>
                    <a:pt x="3322424" y="1298085"/>
                  </a:cubicBezTo>
                  <a:cubicBezTo>
                    <a:pt x="3346725" y="1322422"/>
                    <a:pt x="3346725" y="1358928"/>
                    <a:pt x="3322424" y="1383265"/>
                  </a:cubicBezTo>
                  <a:cubicBezTo>
                    <a:pt x="3298123" y="1407602"/>
                    <a:pt x="3261672" y="1407602"/>
                    <a:pt x="3237371" y="1383265"/>
                  </a:cubicBezTo>
                  <a:cubicBezTo>
                    <a:pt x="2885007" y="1033420"/>
                    <a:pt x="2420251" y="838724"/>
                    <a:pt x="1925119" y="838724"/>
                  </a:cubicBezTo>
                  <a:cubicBezTo>
                    <a:pt x="1429987" y="838724"/>
                    <a:pt x="962192" y="1033420"/>
                    <a:pt x="612866" y="1383265"/>
                  </a:cubicBezTo>
                  <a:cubicBezTo>
                    <a:pt x="600716" y="1395433"/>
                    <a:pt x="585528" y="1401518"/>
                    <a:pt x="570339" y="1401518"/>
                  </a:cubicBezTo>
                  <a:cubicBezTo>
                    <a:pt x="555151" y="1401518"/>
                    <a:pt x="536926" y="1395433"/>
                    <a:pt x="527813" y="1383265"/>
                  </a:cubicBezTo>
                  <a:cubicBezTo>
                    <a:pt x="503512" y="1358928"/>
                    <a:pt x="503512" y="1322422"/>
                    <a:pt x="527813" y="1298085"/>
                  </a:cubicBezTo>
                  <a:cubicBezTo>
                    <a:pt x="898402" y="923904"/>
                    <a:pt x="1396573" y="717039"/>
                    <a:pt x="1925119" y="717039"/>
                  </a:cubicBezTo>
                  <a:close/>
                  <a:moveTo>
                    <a:pt x="1925843" y="0"/>
                  </a:moveTo>
                  <a:cubicBezTo>
                    <a:pt x="2645756" y="0"/>
                    <a:pt x="3323143" y="279606"/>
                    <a:pt x="3830423" y="790191"/>
                  </a:cubicBezTo>
                  <a:cubicBezTo>
                    <a:pt x="3854724" y="814504"/>
                    <a:pt x="3854724" y="850975"/>
                    <a:pt x="3830423" y="875288"/>
                  </a:cubicBezTo>
                  <a:cubicBezTo>
                    <a:pt x="3818273" y="887445"/>
                    <a:pt x="3803085" y="893523"/>
                    <a:pt x="3787897" y="893523"/>
                  </a:cubicBezTo>
                  <a:cubicBezTo>
                    <a:pt x="3772709" y="893523"/>
                    <a:pt x="3757521" y="887445"/>
                    <a:pt x="3745370" y="875288"/>
                  </a:cubicBezTo>
                  <a:cubicBezTo>
                    <a:pt x="2742960" y="-127647"/>
                    <a:pt x="1108726" y="-130686"/>
                    <a:pt x="103278" y="875288"/>
                  </a:cubicBezTo>
                  <a:cubicBezTo>
                    <a:pt x="82014" y="899602"/>
                    <a:pt x="42525" y="899602"/>
                    <a:pt x="18225" y="875288"/>
                  </a:cubicBezTo>
                  <a:cubicBezTo>
                    <a:pt x="-6076" y="850975"/>
                    <a:pt x="-6076" y="811465"/>
                    <a:pt x="18225" y="790191"/>
                  </a:cubicBezTo>
                  <a:cubicBezTo>
                    <a:pt x="528543" y="279606"/>
                    <a:pt x="1205929" y="0"/>
                    <a:pt x="1925843" y="0"/>
                  </a:cubicBezTo>
                  <a:close/>
                </a:path>
              </a:pathLst>
            </a:custGeom>
            <a:grpFill/>
            <a:ln>
              <a:solidFill>
                <a:schemeClr val="accent1"/>
              </a:solid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391" name="Group 390"/>
            <p:cNvGrpSpPr/>
            <p:nvPr/>
          </p:nvGrpSpPr>
          <p:grpSpPr>
            <a:xfrm>
              <a:off x="3043964" y="4724257"/>
              <a:ext cx="357685" cy="357344"/>
              <a:chOff x="4432300" y="1766888"/>
              <a:chExt cx="3324225" cy="3321050"/>
            </a:xfrm>
            <a:grpFill/>
          </p:grpSpPr>
          <p:sp>
            <p:nvSpPr>
              <p:cNvPr id="392" name="Freeform 391"/>
              <p:cNvSpPr>
                <a:spLocks/>
              </p:cNvSpPr>
              <p:nvPr/>
            </p:nvSpPr>
            <p:spPr bwMode="auto">
              <a:xfrm>
                <a:off x="4432300" y="2167270"/>
                <a:ext cx="2257425" cy="2920668"/>
              </a:xfrm>
              <a:custGeom>
                <a:avLst/>
                <a:gdLst>
                  <a:gd name="connsiteX0" fmla="*/ 194437 w 2257425"/>
                  <a:gd name="connsiteY0" fmla="*/ 122771 h 2920668"/>
                  <a:gd name="connsiteX1" fmla="*/ 121523 w 2257425"/>
                  <a:gd name="connsiteY1" fmla="*/ 195680 h 2920668"/>
                  <a:gd name="connsiteX2" fmla="*/ 121523 w 2257425"/>
                  <a:gd name="connsiteY2" fmla="*/ 2726243 h 2920668"/>
                  <a:gd name="connsiteX3" fmla="*/ 194437 w 2257425"/>
                  <a:gd name="connsiteY3" fmla="*/ 2799152 h 2920668"/>
                  <a:gd name="connsiteX4" fmla="*/ 2059814 w 2257425"/>
                  <a:gd name="connsiteY4" fmla="*/ 2799152 h 2920668"/>
                  <a:gd name="connsiteX5" fmla="*/ 2132727 w 2257425"/>
                  <a:gd name="connsiteY5" fmla="*/ 2726243 h 2920668"/>
                  <a:gd name="connsiteX6" fmla="*/ 2132727 w 2257425"/>
                  <a:gd name="connsiteY6" fmla="*/ 1078413 h 2920668"/>
                  <a:gd name="connsiteX7" fmla="*/ 2132727 w 2257425"/>
                  <a:gd name="connsiteY7" fmla="*/ 1054761 h 2920668"/>
                  <a:gd name="connsiteX8" fmla="*/ 2129823 w 2257425"/>
                  <a:gd name="connsiteY8" fmla="*/ 1055355 h 2920668"/>
                  <a:gd name="connsiteX9" fmla="*/ 2126785 w 2257425"/>
                  <a:gd name="connsiteY9" fmla="*/ 1055355 h 2920668"/>
                  <a:gd name="connsiteX10" fmla="*/ 2123747 w 2257425"/>
                  <a:gd name="connsiteY10" fmla="*/ 1055355 h 2920668"/>
                  <a:gd name="connsiteX11" fmla="*/ 1327752 w 2257425"/>
                  <a:gd name="connsiteY11" fmla="*/ 1055355 h 2920668"/>
                  <a:gd name="connsiteX12" fmla="*/ 1200150 w 2257425"/>
                  <a:gd name="connsiteY12" fmla="*/ 927704 h 2920668"/>
                  <a:gd name="connsiteX13" fmla="*/ 1200150 w 2257425"/>
                  <a:gd name="connsiteY13" fmla="*/ 128364 h 2920668"/>
                  <a:gd name="connsiteX14" fmla="*/ 1200966 w 2257425"/>
                  <a:gd name="connsiteY14" fmla="*/ 122771 h 2920668"/>
                  <a:gd name="connsiteX15" fmla="*/ 1128166 w 2257425"/>
                  <a:gd name="connsiteY15" fmla="*/ 122771 h 2920668"/>
                  <a:gd name="connsiteX16" fmla="*/ 194437 w 2257425"/>
                  <a:gd name="connsiteY16" fmla="*/ 122771 h 2920668"/>
                  <a:gd name="connsiteX17" fmla="*/ 1331572 w 2257425"/>
                  <a:gd name="connsiteY17" fmla="*/ 121972 h 2920668"/>
                  <a:gd name="connsiteX18" fmla="*/ 1327638 w 2257425"/>
                  <a:gd name="connsiteY18" fmla="*/ 122771 h 2920668"/>
                  <a:gd name="connsiteX19" fmla="*/ 1324994 w 2257425"/>
                  <a:gd name="connsiteY19" fmla="*/ 122771 h 2920668"/>
                  <a:gd name="connsiteX20" fmla="*/ 1322388 w 2257425"/>
                  <a:gd name="connsiteY20" fmla="*/ 127982 h 2920668"/>
                  <a:gd name="connsiteX21" fmla="*/ 1322388 w 2257425"/>
                  <a:gd name="connsiteY21" fmla="*/ 927042 h 2920668"/>
                  <a:gd name="connsiteX22" fmla="*/ 1328466 w 2257425"/>
                  <a:gd name="connsiteY22" fmla="*/ 933118 h 2920668"/>
                  <a:gd name="connsiteX23" fmla="*/ 2130699 w 2257425"/>
                  <a:gd name="connsiteY23" fmla="*/ 933118 h 2920668"/>
                  <a:gd name="connsiteX24" fmla="*/ 2132727 w 2257425"/>
                  <a:gd name="connsiteY24" fmla="*/ 931091 h 2920668"/>
                  <a:gd name="connsiteX25" fmla="*/ 2132727 w 2257425"/>
                  <a:gd name="connsiteY25" fmla="*/ 927812 h 2920668"/>
                  <a:gd name="connsiteX26" fmla="*/ 2134009 w 2257425"/>
                  <a:gd name="connsiteY26" fmla="*/ 921508 h 2920668"/>
                  <a:gd name="connsiteX27" fmla="*/ 2133737 w 2257425"/>
                  <a:gd name="connsiteY27" fmla="*/ 920965 h 2920668"/>
                  <a:gd name="connsiteX28" fmla="*/ 2127660 w 2257425"/>
                  <a:gd name="connsiteY28" fmla="*/ 917927 h 2920668"/>
                  <a:gd name="connsiteX29" fmla="*/ 1333060 w 2257425"/>
                  <a:gd name="connsiteY29" fmla="*/ 123460 h 2920668"/>
                  <a:gd name="connsiteX30" fmla="*/ 1315932 w 2257425"/>
                  <a:gd name="connsiteY30" fmla="*/ 0 h 2920668"/>
                  <a:gd name="connsiteX31" fmla="*/ 1325803 w 2257425"/>
                  <a:gd name="connsiteY31" fmla="*/ 1255 h 2920668"/>
                  <a:gd name="connsiteX32" fmla="*/ 1327638 w 2257425"/>
                  <a:gd name="connsiteY32" fmla="*/ 1255 h 2920668"/>
                  <a:gd name="connsiteX33" fmla="*/ 1330705 w 2257425"/>
                  <a:gd name="connsiteY33" fmla="*/ 1878 h 2920668"/>
                  <a:gd name="connsiteX34" fmla="*/ 1370138 w 2257425"/>
                  <a:gd name="connsiteY34" fmla="*/ 6892 h 2920668"/>
                  <a:gd name="connsiteX35" fmla="*/ 1418897 w 2257425"/>
                  <a:gd name="connsiteY35" fmla="*/ 37184 h 2920668"/>
                  <a:gd name="connsiteX36" fmla="*/ 2205777 w 2257425"/>
                  <a:gd name="connsiteY36" fmla="*/ 827406 h 2920668"/>
                  <a:gd name="connsiteX37" fmla="*/ 2257425 w 2257425"/>
                  <a:gd name="connsiteY37" fmla="*/ 927704 h 2920668"/>
                  <a:gd name="connsiteX38" fmla="*/ 2254250 w 2257425"/>
                  <a:gd name="connsiteY38" fmla="*/ 943227 h 2920668"/>
                  <a:gd name="connsiteX39" fmla="*/ 2254250 w 2257425"/>
                  <a:gd name="connsiteY39" fmla="*/ 1091201 h 2920668"/>
                  <a:gd name="connsiteX40" fmla="*/ 2254250 w 2257425"/>
                  <a:gd name="connsiteY40" fmla="*/ 2726243 h 2920668"/>
                  <a:gd name="connsiteX41" fmla="*/ 2059814 w 2257425"/>
                  <a:gd name="connsiteY41" fmla="*/ 2920668 h 2920668"/>
                  <a:gd name="connsiteX42" fmla="*/ 194437 w 2257425"/>
                  <a:gd name="connsiteY42" fmla="*/ 2920668 h 2920668"/>
                  <a:gd name="connsiteX43" fmla="*/ 0 w 2257425"/>
                  <a:gd name="connsiteY43" fmla="*/ 2726243 h 2920668"/>
                  <a:gd name="connsiteX44" fmla="*/ 0 w 2257425"/>
                  <a:gd name="connsiteY44" fmla="*/ 195680 h 2920668"/>
                  <a:gd name="connsiteX45" fmla="*/ 194437 w 2257425"/>
                  <a:gd name="connsiteY45" fmla="*/ 1255 h 2920668"/>
                  <a:gd name="connsiteX46" fmla="*/ 1309932 w 2257425"/>
                  <a:gd name="connsiteY46" fmla="*/ 1255 h 2920668"/>
                  <a:gd name="connsiteX47" fmla="*/ 1311235 w 2257425"/>
                  <a:gd name="connsiteY47" fmla="*/ 1255 h 29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57425" h="2920668">
                    <a:moveTo>
                      <a:pt x="194437" y="122771"/>
                    </a:moveTo>
                    <a:cubicBezTo>
                      <a:pt x="154942" y="122771"/>
                      <a:pt x="121523" y="153150"/>
                      <a:pt x="121523" y="195680"/>
                    </a:cubicBezTo>
                    <a:cubicBezTo>
                      <a:pt x="121523" y="2726243"/>
                      <a:pt x="121523" y="2726243"/>
                      <a:pt x="121523" y="2726243"/>
                    </a:cubicBezTo>
                    <a:cubicBezTo>
                      <a:pt x="121523" y="2768774"/>
                      <a:pt x="154942" y="2799152"/>
                      <a:pt x="194437" y="2799152"/>
                    </a:cubicBezTo>
                    <a:cubicBezTo>
                      <a:pt x="2059814" y="2799152"/>
                      <a:pt x="2059814" y="2799152"/>
                      <a:pt x="2059814" y="2799152"/>
                    </a:cubicBezTo>
                    <a:cubicBezTo>
                      <a:pt x="2099308" y="2799152"/>
                      <a:pt x="2132727" y="2768774"/>
                      <a:pt x="2132727" y="2726243"/>
                    </a:cubicBezTo>
                    <a:cubicBezTo>
                      <a:pt x="2132727" y="1714626"/>
                      <a:pt x="2132727" y="1272043"/>
                      <a:pt x="2132727" y="1078413"/>
                    </a:cubicBezTo>
                    <a:lnTo>
                      <a:pt x="2132727" y="1054761"/>
                    </a:lnTo>
                    <a:lnTo>
                      <a:pt x="2129823" y="1055355"/>
                    </a:lnTo>
                    <a:lnTo>
                      <a:pt x="2126785" y="1055355"/>
                    </a:lnTo>
                    <a:cubicBezTo>
                      <a:pt x="2123747" y="1055355"/>
                      <a:pt x="2123747" y="1055355"/>
                      <a:pt x="2123747" y="1055355"/>
                    </a:cubicBezTo>
                    <a:cubicBezTo>
                      <a:pt x="1327752" y="1055355"/>
                      <a:pt x="1327752" y="1055355"/>
                      <a:pt x="1327752" y="1055355"/>
                    </a:cubicBezTo>
                    <a:cubicBezTo>
                      <a:pt x="1257875" y="1055355"/>
                      <a:pt x="1200150" y="997608"/>
                      <a:pt x="1200150" y="927704"/>
                    </a:cubicBezTo>
                    <a:cubicBezTo>
                      <a:pt x="1200150" y="128364"/>
                      <a:pt x="1200150" y="128364"/>
                      <a:pt x="1200150" y="128364"/>
                    </a:cubicBezTo>
                    <a:lnTo>
                      <a:pt x="1200966" y="122771"/>
                    </a:lnTo>
                    <a:lnTo>
                      <a:pt x="1128166" y="122771"/>
                    </a:lnTo>
                    <a:cubicBezTo>
                      <a:pt x="194437" y="122771"/>
                      <a:pt x="194437" y="122771"/>
                      <a:pt x="194437" y="122771"/>
                    </a:cubicBezTo>
                    <a:close/>
                    <a:moveTo>
                      <a:pt x="1331572" y="121972"/>
                    </a:moveTo>
                    <a:lnTo>
                      <a:pt x="1327638" y="122771"/>
                    </a:lnTo>
                    <a:lnTo>
                      <a:pt x="1324994" y="122771"/>
                    </a:lnTo>
                    <a:lnTo>
                      <a:pt x="1322388" y="127982"/>
                    </a:lnTo>
                    <a:cubicBezTo>
                      <a:pt x="1322388" y="927042"/>
                      <a:pt x="1322388" y="927042"/>
                      <a:pt x="1322388" y="927042"/>
                    </a:cubicBezTo>
                    <a:cubicBezTo>
                      <a:pt x="1322388" y="930080"/>
                      <a:pt x="1325427" y="933118"/>
                      <a:pt x="1328466" y="933118"/>
                    </a:cubicBezTo>
                    <a:cubicBezTo>
                      <a:pt x="2130699" y="933118"/>
                      <a:pt x="2130699" y="933118"/>
                      <a:pt x="2130699" y="933118"/>
                    </a:cubicBezTo>
                    <a:lnTo>
                      <a:pt x="2132727" y="931091"/>
                    </a:lnTo>
                    <a:lnTo>
                      <a:pt x="2132727" y="927812"/>
                    </a:lnTo>
                    <a:lnTo>
                      <a:pt x="2134009" y="921508"/>
                    </a:lnTo>
                    <a:lnTo>
                      <a:pt x="2133737" y="920965"/>
                    </a:lnTo>
                    <a:cubicBezTo>
                      <a:pt x="2127660" y="917927"/>
                      <a:pt x="2127660" y="917927"/>
                      <a:pt x="2127660" y="917927"/>
                    </a:cubicBezTo>
                    <a:cubicBezTo>
                      <a:pt x="1431025" y="221408"/>
                      <a:pt x="1343945" y="134343"/>
                      <a:pt x="1333060" y="123460"/>
                    </a:cubicBezTo>
                    <a:close/>
                    <a:moveTo>
                      <a:pt x="1315932" y="0"/>
                    </a:moveTo>
                    <a:lnTo>
                      <a:pt x="1325803" y="1255"/>
                    </a:lnTo>
                    <a:lnTo>
                      <a:pt x="1327638" y="1255"/>
                    </a:lnTo>
                    <a:lnTo>
                      <a:pt x="1330705" y="1878"/>
                    </a:lnTo>
                    <a:lnTo>
                      <a:pt x="1370138" y="6892"/>
                    </a:lnTo>
                    <a:cubicBezTo>
                      <a:pt x="1387566" y="13249"/>
                      <a:pt x="1404086" y="23507"/>
                      <a:pt x="1418897" y="37184"/>
                    </a:cubicBezTo>
                    <a:cubicBezTo>
                      <a:pt x="2205777" y="827406"/>
                      <a:pt x="2205777" y="827406"/>
                      <a:pt x="2205777" y="827406"/>
                    </a:cubicBezTo>
                    <a:cubicBezTo>
                      <a:pt x="2239196" y="851721"/>
                      <a:pt x="2257425" y="888193"/>
                      <a:pt x="2257425" y="927704"/>
                    </a:cubicBezTo>
                    <a:lnTo>
                      <a:pt x="2254250" y="943227"/>
                    </a:lnTo>
                    <a:lnTo>
                      <a:pt x="2254250" y="1091201"/>
                    </a:lnTo>
                    <a:cubicBezTo>
                      <a:pt x="2254250" y="2726243"/>
                      <a:pt x="2254250" y="2726243"/>
                      <a:pt x="2254250" y="2726243"/>
                    </a:cubicBezTo>
                    <a:cubicBezTo>
                      <a:pt x="2254250" y="2835607"/>
                      <a:pt x="2166146" y="2920668"/>
                      <a:pt x="2059814" y="2920668"/>
                    </a:cubicBezTo>
                    <a:cubicBezTo>
                      <a:pt x="194437" y="2920668"/>
                      <a:pt x="194437" y="2920668"/>
                      <a:pt x="194437" y="2920668"/>
                    </a:cubicBezTo>
                    <a:cubicBezTo>
                      <a:pt x="88104" y="2920668"/>
                      <a:pt x="0" y="2835607"/>
                      <a:pt x="0" y="2726243"/>
                    </a:cubicBezTo>
                    <a:cubicBezTo>
                      <a:pt x="0" y="195680"/>
                      <a:pt x="0" y="195680"/>
                      <a:pt x="0" y="195680"/>
                    </a:cubicBezTo>
                    <a:cubicBezTo>
                      <a:pt x="0" y="86316"/>
                      <a:pt x="88104" y="1255"/>
                      <a:pt x="194437" y="1255"/>
                    </a:cubicBezTo>
                    <a:cubicBezTo>
                      <a:pt x="1044338" y="1255"/>
                      <a:pt x="1256813" y="1255"/>
                      <a:pt x="1309932" y="1255"/>
                    </a:cubicBezTo>
                    <a:lnTo>
                      <a:pt x="1311235" y="125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3" name="Freeform 392"/>
              <p:cNvSpPr>
                <a:spLocks/>
              </p:cNvSpPr>
              <p:nvPr/>
            </p:nvSpPr>
            <p:spPr bwMode="auto">
              <a:xfrm>
                <a:off x="5499100" y="1766888"/>
                <a:ext cx="2257425" cy="2922588"/>
              </a:xfrm>
              <a:custGeom>
                <a:avLst/>
                <a:gdLst>
                  <a:gd name="connsiteX0" fmla="*/ 1323839 w 2257425"/>
                  <a:gd name="connsiteY0" fmla="*/ 122238 h 2922588"/>
                  <a:gd name="connsiteX1" fmla="*/ 1320800 w 2257425"/>
                  <a:gd name="connsiteY1" fmla="*/ 128315 h 2922588"/>
                  <a:gd name="connsiteX2" fmla="*/ 1320800 w 2257425"/>
                  <a:gd name="connsiteY2" fmla="*/ 927375 h 2922588"/>
                  <a:gd name="connsiteX3" fmla="*/ 1326878 w 2257425"/>
                  <a:gd name="connsiteY3" fmla="*/ 933451 h 2922588"/>
                  <a:gd name="connsiteX4" fmla="*/ 2129111 w 2257425"/>
                  <a:gd name="connsiteY4" fmla="*/ 933451 h 2922588"/>
                  <a:gd name="connsiteX5" fmla="*/ 2132699 w 2257425"/>
                  <a:gd name="connsiteY5" fmla="*/ 929864 h 2922588"/>
                  <a:gd name="connsiteX6" fmla="*/ 2132699 w 2257425"/>
                  <a:gd name="connsiteY6" fmla="*/ 927508 h 2922588"/>
                  <a:gd name="connsiteX7" fmla="*/ 2133142 w 2257425"/>
                  <a:gd name="connsiteY7" fmla="*/ 925329 h 2922588"/>
                  <a:gd name="connsiteX8" fmla="*/ 2132149 w 2257425"/>
                  <a:gd name="connsiteY8" fmla="*/ 924336 h 2922588"/>
                  <a:gd name="connsiteX9" fmla="*/ 2126072 w 2257425"/>
                  <a:gd name="connsiteY9" fmla="*/ 921298 h 2922588"/>
                  <a:gd name="connsiteX10" fmla="*/ 1329917 w 2257425"/>
                  <a:gd name="connsiteY10" fmla="*/ 125276 h 2922588"/>
                  <a:gd name="connsiteX11" fmla="*/ 1326878 w 2257425"/>
                  <a:gd name="connsiteY11" fmla="*/ 122238 h 2922588"/>
                  <a:gd name="connsiteX12" fmla="*/ 1323839 w 2257425"/>
                  <a:gd name="connsiteY12" fmla="*/ 122238 h 2922588"/>
                  <a:gd name="connsiteX13" fmla="*/ 194307 w 2257425"/>
                  <a:gd name="connsiteY13" fmla="*/ 0 h 2922588"/>
                  <a:gd name="connsiteX14" fmla="*/ 1326754 w 2257425"/>
                  <a:gd name="connsiteY14" fmla="*/ 0 h 2922588"/>
                  <a:gd name="connsiteX15" fmla="*/ 1342448 w 2257425"/>
                  <a:gd name="connsiteY15" fmla="*/ 3196 h 2922588"/>
                  <a:gd name="connsiteX16" fmla="*/ 1371473 w 2257425"/>
                  <a:gd name="connsiteY16" fmla="*/ 6572 h 2922588"/>
                  <a:gd name="connsiteX17" fmla="*/ 1418897 w 2257425"/>
                  <a:gd name="connsiteY17" fmla="*/ 36059 h 2922588"/>
                  <a:gd name="connsiteX18" fmla="*/ 2208815 w 2257425"/>
                  <a:gd name="connsiteY18" fmla="*/ 826181 h 2922588"/>
                  <a:gd name="connsiteX19" fmla="*/ 2257425 w 2257425"/>
                  <a:gd name="connsiteY19" fmla="*/ 926465 h 2922588"/>
                  <a:gd name="connsiteX20" fmla="*/ 2254250 w 2257425"/>
                  <a:gd name="connsiteY20" fmla="*/ 942060 h 2922588"/>
                  <a:gd name="connsiteX21" fmla="*/ 2254250 w 2257425"/>
                  <a:gd name="connsiteY21" fmla="*/ 1091106 h 2922588"/>
                  <a:gd name="connsiteX22" fmla="*/ 2254250 w 2257425"/>
                  <a:gd name="connsiteY22" fmla="*/ 2728242 h 2922588"/>
                  <a:gd name="connsiteX23" fmla="*/ 2059768 w 2257425"/>
                  <a:gd name="connsiteY23" fmla="*/ 2922588 h 2922588"/>
                  <a:gd name="connsiteX24" fmla="*/ 1394276 w 2257425"/>
                  <a:gd name="connsiteY24" fmla="*/ 2922588 h 2922588"/>
                  <a:gd name="connsiteX25" fmla="*/ 1333500 w 2257425"/>
                  <a:gd name="connsiteY25" fmla="*/ 2861855 h 2922588"/>
                  <a:gd name="connsiteX26" fmla="*/ 1394276 w 2257425"/>
                  <a:gd name="connsiteY26" fmla="*/ 2801122 h 2922588"/>
                  <a:gd name="connsiteX27" fmla="*/ 2059768 w 2257425"/>
                  <a:gd name="connsiteY27" fmla="*/ 2801122 h 2922588"/>
                  <a:gd name="connsiteX28" fmla="*/ 2132699 w 2257425"/>
                  <a:gd name="connsiteY28" fmla="*/ 2728242 h 2922588"/>
                  <a:gd name="connsiteX29" fmla="*/ 2132699 w 2257425"/>
                  <a:gd name="connsiteY29" fmla="*/ 1078302 h 2922588"/>
                  <a:gd name="connsiteX30" fmla="*/ 2132699 w 2257425"/>
                  <a:gd name="connsiteY30" fmla="*/ 1054100 h 2922588"/>
                  <a:gd name="connsiteX31" fmla="*/ 2129823 w 2257425"/>
                  <a:gd name="connsiteY31" fmla="*/ 1054100 h 2922588"/>
                  <a:gd name="connsiteX32" fmla="*/ 2126785 w 2257425"/>
                  <a:gd name="connsiteY32" fmla="*/ 1054100 h 2922588"/>
                  <a:gd name="connsiteX33" fmla="*/ 1327752 w 2257425"/>
                  <a:gd name="connsiteY33" fmla="*/ 1054100 h 2922588"/>
                  <a:gd name="connsiteX34" fmla="*/ 1200150 w 2257425"/>
                  <a:gd name="connsiteY34" fmla="*/ 926465 h 2922588"/>
                  <a:gd name="connsiteX35" fmla="*/ 1200150 w 2257425"/>
                  <a:gd name="connsiteY35" fmla="*/ 127227 h 2922588"/>
                  <a:gd name="connsiteX36" fmla="*/ 1201811 w 2257425"/>
                  <a:gd name="connsiteY36" fmla="*/ 121709 h 2922588"/>
                  <a:gd name="connsiteX37" fmla="*/ 1127415 w 2257425"/>
                  <a:gd name="connsiteY37" fmla="*/ 121709 h 2922588"/>
                  <a:gd name="connsiteX38" fmla="*/ 194307 w 2257425"/>
                  <a:gd name="connsiteY38" fmla="*/ 121709 h 2922588"/>
                  <a:gd name="connsiteX39" fmla="*/ 121442 w 2257425"/>
                  <a:gd name="connsiteY39" fmla="*/ 161264 h 2922588"/>
                  <a:gd name="connsiteX40" fmla="*/ 121442 w 2257425"/>
                  <a:gd name="connsiteY40" fmla="*/ 194734 h 2922588"/>
                  <a:gd name="connsiteX41" fmla="*/ 60721 w 2257425"/>
                  <a:gd name="connsiteY41" fmla="*/ 255588 h 2922588"/>
                  <a:gd name="connsiteX42" fmla="*/ 0 w 2257425"/>
                  <a:gd name="connsiteY42" fmla="*/ 194734 h 2922588"/>
                  <a:gd name="connsiteX43" fmla="*/ 0 w 2257425"/>
                  <a:gd name="connsiteY43" fmla="*/ 161264 h 2922588"/>
                  <a:gd name="connsiteX44" fmla="*/ 194307 w 2257425"/>
                  <a:gd name="connsiteY44" fmla="*/ 0 h 2922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257425" h="2922588">
                    <a:moveTo>
                      <a:pt x="1323839" y="122238"/>
                    </a:moveTo>
                    <a:cubicBezTo>
                      <a:pt x="1320800" y="122238"/>
                      <a:pt x="1320800" y="125276"/>
                      <a:pt x="1320800" y="128315"/>
                    </a:cubicBezTo>
                    <a:cubicBezTo>
                      <a:pt x="1320800" y="927375"/>
                      <a:pt x="1320800" y="927375"/>
                      <a:pt x="1320800" y="927375"/>
                    </a:cubicBezTo>
                    <a:cubicBezTo>
                      <a:pt x="1320800" y="930413"/>
                      <a:pt x="1323839" y="933451"/>
                      <a:pt x="1326878" y="933451"/>
                    </a:cubicBezTo>
                    <a:cubicBezTo>
                      <a:pt x="2129111" y="933451"/>
                      <a:pt x="2129111" y="933451"/>
                      <a:pt x="2129111" y="933451"/>
                    </a:cubicBezTo>
                    <a:lnTo>
                      <a:pt x="2132699" y="929864"/>
                    </a:lnTo>
                    <a:lnTo>
                      <a:pt x="2132699" y="927508"/>
                    </a:lnTo>
                    <a:lnTo>
                      <a:pt x="2133142" y="925329"/>
                    </a:lnTo>
                    <a:lnTo>
                      <a:pt x="2132149" y="924336"/>
                    </a:lnTo>
                    <a:cubicBezTo>
                      <a:pt x="2126072" y="921298"/>
                      <a:pt x="2126072" y="921298"/>
                      <a:pt x="2126072" y="921298"/>
                    </a:cubicBezTo>
                    <a:cubicBezTo>
                      <a:pt x="1329917" y="125276"/>
                      <a:pt x="1329917" y="125276"/>
                      <a:pt x="1329917" y="125276"/>
                    </a:cubicBezTo>
                    <a:cubicBezTo>
                      <a:pt x="1329917" y="122238"/>
                      <a:pt x="1326878" y="122238"/>
                      <a:pt x="1326878" y="122238"/>
                    </a:cubicBezTo>
                    <a:cubicBezTo>
                      <a:pt x="1326878" y="122238"/>
                      <a:pt x="1323839" y="122238"/>
                      <a:pt x="1323839" y="122238"/>
                    </a:cubicBezTo>
                    <a:close/>
                    <a:moveTo>
                      <a:pt x="194307" y="0"/>
                    </a:moveTo>
                    <a:cubicBezTo>
                      <a:pt x="1326754" y="0"/>
                      <a:pt x="1326754" y="0"/>
                      <a:pt x="1326754" y="0"/>
                    </a:cubicBezTo>
                    <a:lnTo>
                      <a:pt x="1342448" y="3196"/>
                    </a:lnTo>
                    <a:lnTo>
                      <a:pt x="1371473" y="6572"/>
                    </a:lnTo>
                    <a:cubicBezTo>
                      <a:pt x="1388990" y="12555"/>
                      <a:pt x="1405226" y="22384"/>
                      <a:pt x="1418897" y="36059"/>
                    </a:cubicBezTo>
                    <a:cubicBezTo>
                      <a:pt x="2208815" y="826181"/>
                      <a:pt x="2208815" y="826181"/>
                      <a:pt x="2208815" y="826181"/>
                    </a:cubicBezTo>
                    <a:cubicBezTo>
                      <a:pt x="2239196" y="850492"/>
                      <a:pt x="2257425" y="886959"/>
                      <a:pt x="2257425" y="926465"/>
                    </a:cubicBezTo>
                    <a:lnTo>
                      <a:pt x="2254250" y="942060"/>
                    </a:lnTo>
                    <a:lnTo>
                      <a:pt x="2254250" y="1091106"/>
                    </a:lnTo>
                    <a:cubicBezTo>
                      <a:pt x="2254250" y="2728242"/>
                      <a:pt x="2254250" y="2728242"/>
                      <a:pt x="2254250" y="2728242"/>
                    </a:cubicBezTo>
                    <a:cubicBezTo>
                      <a:pt x="2254250" y="2834525"/>
                      <a:pt x="2169164" y="2922588"/>
                      <a:pt x="2059768" y="2922588"/>
                    </a:cubicBezTo>
                    <a:cubicBezTo>
                      <a:pt x="1394276" y="2922588"/>
                      <a:pt x="1394276" y="2922588"/>
                      <a:pt x="1394276" y="2922588"/>
                    </a:cubicBezTo>
                    <a:cubicBezTo>
                      <a:pt x="1360849" y="2922588"/>
                      <a:pt x="1333500" y="2895258"/>
                      <a:pt x="1333500" y="2861855"/>
                    </a:cubicBezTo>
                    <a:cubicBezTo>
                      <a:pt x="1333500" y="2828452"/>
                      <a:pt x="1360849" y="2801122"/>
                      <a:pt x="1394276" y="2801122"/>
                    </a:cubicBezTo>
                    <a:cubicBezTo>
                      <a:pt x="2059768" y="2801122"/>
                      <a:pt x="2059768" y="2801122"/>
                      <a:pt x="2059768" y="2801122"/>
                    </a:cubicBezTo>
                    <a:cubicBezTo>
                      <a:pt x="2102311" y="2801122"/>
                      <a:pt x="2132699" y="2767719"/>
                      <a:pt x="2132699" y="2728242"/>
                    </a:cubicBezTo>
                    <a:cubicBezTo>
                      <a:pt x="2132699" y="1715329"/>
                      <a:pt x="2132699" y="1272180"/>
                      <a:pt x="2132699" y="1078302"/>
                    </a:cubicBezTo>
                    <a:lnTo>
                      <a:pt x="2132699" y="1054100"/>
                    </a:lnTo>
                    <a:lnTo>
                      <a:pt x="2129823" y="1054100"/>
                    </a:lnTo>
                    <a:cubicBezTo>
                      <a:pt x="2126785" y="1054100"/>
                      <a:pt x="2126785" y="1054100"/>
                      <a:pt x="2126785" y="1054100"/>
                    </a:cubicBezTo>
                    <a:cubicBezTo>
                      <a:pt x="1327752" y="1054100"/>
                      <a:pt x="1327752" y="1054100"/>
                      <a:pt x="1327752" y="1054100"/>
                    </a:cubicBezTo>
                    <a:cubicBezTo>
                      <a:pt x="1257875" y="1054100"/>
                      <a:pt x="1200150" y="996361"/>
                      <a:pt x="1200150" y="926465"/>
                    </a:cubicBezTo>
                    <a:cubicBezTo>
                      <a:pt x="1200150" y="127227"/>
                      <a:pt x="1200150" y="127227"/>
                      <a:pt x="1200150" y="127227"/>
                    </a:cubicBezTo>
                    <a:lnTo>
                      <a:pt x="1201811" y="121709"/>
                    </a:lnTo>
                    <a:lnTo>
                      <a:pt x="1127415" y="121709"/>
                    </a:lnTo>
                    <a:cubicBezTo>
                      <a:pt x="194307" y="121709"/>
                      <a:pt x="194307" y="121709"/>
                      <a:pt x="194307" y="121709"/>
                    </a:cubicBezTo>
                    <a:cubicBezTo>
                      <a:pt x="154839" y="121709"/>
                      <a:pt x="121442" y="139965"/>
                      <a:pt x="121442" y="161264"/>
                    </a:cubicBezTo>
                    <a:cubicBezTo>
                      <a:pt x="121442" y="194734"/>
                      <a:pt x="121442" y="194734"/>
                      <a:pt x="121442" y="194734"/>
                    </a:cubicBezTo>
                    <a:cubicBezTo>
                      <a:pt x="121442" y="228204"/>
                      <a:pt x="94118" y="255588"/>
                      <a:pt x="60721" y="255588"/>
                    </a:cubicBezTo>
                    <a:cubicBezTo>
                      <a:pt x="27325" y="255588"/>
                      <a:pt x="0" y="228204"/>
                      <a:pt x="0" y="194734"/>
                    </a:cubicBezTo>
                    <a:cubicBezTo>
                      <a:pt x="0" y="161264"/>
                      <a:pt x="0" y="161264"/>
                      <a:pt x="0" y="161264"/>
                    </a:cubicBezTo>
                    <a:cubicBezTo>
                      <a:pt x="0" y="69982"/>
                      <a:pt x="81974" y="0"/>
                      <a:pt x="19430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394" name="Group 393"/>
            <p:cNvGrpSpPr/>
            <p:nvPr/>
          </p:nvGrpSpPr>
          <p:grpSpPr>
            <a:xfrm>
              <a:off x="7075105" y="4038206"/>
              <a:ext cx="606426" cy="569913"/>
              <a:chOff x="7116768" y="3441704"/>
              <a:chExt cx="606426" cy="569913"/>
            </a:xfrm>
            <a:grpFill/>
          </p:grpSpPr>
          <p:sp>
            <p:nvSpPr>
              <p:cNvPr id="395" name="Freeform 394"/>
              <p:cNvSpPr>
                <a:spLocks/>
              </p:cNvSpPr>
              <p:nvPr/>
            </p:nvSpPr>
            <p:spPr bwMode="auto">
              <a:xfrm>
                <a:off x="7335843" y="3906842"/>
                <a:ext cx="169863" cy="63500"/>
              </a:xfrm>
              <a:custGeom>
                <a:avLst/>
                <a:gdLst>
                  <a:gd name="connsiteX0" fmla="*/ 23813 w 169863"/>
                  <a:gd name="connsiteY0" fmla="*/ 25400 h 63500"/>
                  <a:gd name="connsiteX1" fmla="*/ 23813 w 169863"/>
                  <a:gd name="connsiteY1" fmla="*/ 27922 h 63500"/>
                  <a:gd name="connsiteX2" fmla="*/ 25535 w 169863"/>
                  <a:gd name="connsiteY2" fmla="*/ 39688 h 63500"/>
                  <a:gd name="connsiteX3" fmla="*/ 144330 w 169863"/>
                  <a:gd name="connsiteY3" fmla="*/ 39688 h 63500"/>
                  <a:gd name="connsiteX4" fmla="*/ 146051 w 169863"/>
                  <a:gd name="connsiteY4" fmla="*/ 27922 h 63500"/>
                  <a:gd name="connsiteX5" fmla="*/ 146051 w 169863"/>
                  <a:gd name="connsiteY5" fmla="*/ 25400 h 63500"/>
                  <a:gd name="connsiteX6" fmla="*/ 23813 w 169863"/>
                  <a:gd name="connsiteY6" fmla="*/ 25400 h 63500"/>
                  <a:gd name="connsiteX7" fmla="*/ 12011 w 169863"/>
                  <a:gd name="connsiteY7" fmla="*/ 0 h 63500"/>
                  <a:gd name="connsiteX8" fmla="*/ 157853 w 169863"/>
                  <a:gd name="connsiteY8" fmla="*/ 0 h 63500"/>
                  <a:gd name="connsiteX9" fmla="*/ 169863 w 169863"/>
                  <a:gd name="connsiteY9" fmla="*/ 12178 h 63500"/>
                  <a:gd name="connsiteX10" fmla="*/ 169863 w 169863"/>
                  <a:gd name="connsiteY10" fmla="*/ 26966 h 63500"/>
                  <a:gd name="connsiteX11" fmla="*/ 150990 w 169863"/>
                  <a:gd name="connsiteY11" fmla="*/ 63500 h 63500"/>
                  <a:gd name="connsiteX12" fmla="*/ 18874 w 169863"/>
                  <a:gd name="connsiteY12" fmla="*/ 63500 h 63500"/>
                  <a:gd name="connsiteX13" fmla="*/ 0 w 169863"/>
                  <a:gd name="connsiteY13" fmla="*/ 26966 h 63500"/>
                  <a:gd name="connsiteX14" fmla="*/ 0 w 169863"/>
                  <a:gd name="connsiteY14" fmla="*/ 12178 h 63500"/>
                  <a:gd name="connsiteX15" fmla="*/ 12011 w 169863"/>
                  <a:gd name="connsiteY15"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9863" h="63500">
                    <a:moveTo>
                      <a:pt x="23813" y="25400"/>
                    </a:moveTo>
                    <a:cubicBezTo>
                      <a:pt x="23813" y="27922"/>
                      <a:pt x="23813" y="27922"/>
                      <a:pt x="23813" y="27922"/>
                    </a:cubicBezTo>
                    <a:cubicBezTo>
                      <a:pt x="23813" y="32964"/>
                      <a:pt x="24674" y="37167"/>
                      <a:pt x="25535" y="39688"/>
                    </a:cubicBezTo>
                    <a:cubicBezTo>
                      <a:pt x="144330" y="39688"/>
                      <a:pt x="144330" y="39688"/>
                      <a:pt x="144330" y="39688"/>
                    </a:cubicBezTo>
                    <a:cubicBezTo>
                      <a:pt x="145190" y="37167"/>
                      <a:pt x="146051" y="32964"/>
                      <a:pt x="146051" y="27922"/>
                    </a:cubicBezTo>
                    <a:cubicBezTo>
                      <a:pt x="146051" y="25400"/>
                      <a:pt x="146051" y="25400"/>
                      <a:pt x="146051" y="25400"/>
                    </a:cubicBezTo>
                    <a:cubicBezTo>
                      <a:pt x="23813" y="25400"/>
                      <a:pt x="23813" y="25400"/>
                      <a:pt x="23813" y="25400"/>
                    </a:cubicBezTo>
                    <a:close/>
                    <a:moveTo>
                      <a:pt x="12011" y="0"/>
                    </a:moveTo>
                    <a:cubicBezTo>
                      <a:pt x="157853" y="0"/>
                      <a:pt x="157853" y="0"/>
                      <a:pt x="157853" y="0"/>
                    </a:cubicBezTo>
                    <a:cubicBezTo>
                      <a:pt x="163858" y="0"/>
                      <a:pt x="169863" y="5219"/>
                      <a:pt x="169863" y="12178"/>
                    </a:cubicBezTo>
                    <a:cubicBezTo>
                      <a:pt x="169863" y="26966"/>
                      <a:pt x="169863" y="26966"/>
                      <a:pt x="169863" y="26966"/>
                    </a:cubicBezTo>
                    <a:cubicBezTo>
                      <a:pt x="169863" y="40884"/>
                      <a:pt x="167290" y="63500"/>
                      <a:pt x="150990" y="63500"/>
                    </a:cubicBezTo>
                    <a:cubicBezTo>
                      <a:pt x="18874" y="63500"/>
                      <a:pt x="18874" y="63500"/>
                      <a:pt x="18874" y="63500"/>
                    </a:cubicBezTo>
                    <a:cubicBezTo>
                      <a:pt x="2574" y="63500"/>
                      <a:pt x="0" y="40884"/>
                      <a:pt x="0" y="26966"/>
                    </a:cubicBezTo>
                    <a:cubicBezTo>
                      <a:pt x="0" y="12178"/>
                      <a:pt x="0" y="12178"/>
                      <a:pt x="0" y="12178"/>
                    </a:cubicBezTo>
                    <a:cubicBezTo>
                      <a:pt x="0" y="5219"/>
                      <a:pt x="6006" y="0"/>
                      <a:pt x="12011"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6" name="Freeform 395"/>
              <p:cNvSpPr>
                <a:spLocks/>
              </p:cNvSpPr>
              <p:nvPr/>
            </p:nvSpPr>
            <p:spPr bwMode="auto">
              <a:xfrm>
                <a:off x="7116768" y="3441704"/>
                <a:ext cx="606426" cy="569913"/>
              </a:xfrm>
              <a:custGeom>
                <a:avLst/>
                <a:gdLst>
                  <a:gd name="connsiteX0" fmla="*/ 65358 w 606426"/>
                  <a:gd name="connsiteY0" fmla="*/ 371618 h 569913"/>
                  <a:gd name="connsiteX1" fmla="*/ 52475 w 606426"/>
                  <a:gd name="connsiteY1" fmla="*/ 409255 h 569913"/>
                  <a:gd name="connsiteX2" fmla="*/ 25400 w 606426"/>
                  <a:gd name="connsiteY2" fmla="*/ 488356 h 569913"/>
                  <a:gd name="connsiteX3" fmla="*/ 25400 w 606426"/>
                  <a:gd name="connsiteY3" fmla="*/ 489218 h 569913"/>
                  <a:gd name="connsiteX4" fmla="*/ 26260 w 606426"/>
                  <a:gd name="connsiteY4" fmla="*/ 490080 h 569913"/>
                  <a:gd name="connsiteX5" fmla="*/ 26260 w 606426"/>
                  <a:gd name="connsiteY5" fmla="*/ 491804 h 569913"/>
                  <a:gd name="connsiteX6" fmla="*/ 25400 w 606426"/>
                  <a:gd name="connsiteY6" fmla="*/ 496113 h 569913"/>
                  <a:gd name="connsiteX7" fmla="*/ 25400 w 606426"/>
                  <a:gd name="connsiteY7" fmla="*/ 512489 h 569913"/>
                  <a:gd name="connsiteX8" fmla="*/ 58936 w 606426"/>
                  <a:gd name="connsiteY8" fmla="*/ 546101 h 569913"/>
                  <a:gd name="connsiteX9" fmla="*/ 549077 w 606426"/>
                  <a:gd name="connsiteY9" fmla="*/ 546101 h 569913"/>
                  <a:gd name="connsiteX10" fmla="*/ 582613 w 606426"/>
                  <a:gd name="connsiteY10" fmla="*/ 512489 h 569913"/>
                  <a:gd name="connsiteX11" fmla="*/ 582613 w 606426"/>
                  <a:gd name="connsiteY11" fmla="*/ 496113 h 569913"/>
                  <a:gd name="connsiteX12" fmla="*/ 580034 w 606426"/>
                  <a:gd name="connsiteY12" fmla="*/ 494389 h 569913"/>
                  <a:gd name="connsiteX13" fmla="*/ 580034 w 606426"/>
                  <a:gd name="connsiteY13" fmla="*/ 489218 h 569913"/>
                  <a:gd name="connsiteX14" fmla="*/ 580034 w 606426"/>
                  <a:gd name="connsiteY14" fmla="*/ 488356 h 569913"/>
                  <a:gd name="connsiteX15" fmla="*/ 541661 w 606426"/>
                  <a:gd name="connsiteY15" fmla="*/ 379762 h 569913"/>
                  <a:gd name="connsiteX16" fmla="*/ 539187 w 606426"/>
                  <a:gd name="connsiteY16" fmla="*/ 372761 h 569913"/>
                  <a:gd name="connsiteX17" fmla="*/ 534517 w 606426"/>
                  <a:gd name="connsiteY17" fmla="*/ 374651 h 569913"/>
                  <a:gd name="connsiteX18" fmla="*/ 72638 w 606426"/>
                  <a:gd name="connsiteY18" fmla="*/ 374651 h 569913"/>
                  <a:gd name="connsiteX19" fmla="*/ 94192 w 606426"/>
                  <a:gd name="connsiteY19" fmla="*/ 23813 h 569913"/>
                  <a:gd name="connsiteX20" fmla="*/ 60656 w 606426"/>
                  <a:gd name="connsiteY20" fmla="*/ 57426 h 569913"/>
                  <a:gd name="connsiteX21" fmla="*/ 60656 w 606426"/>
                  <a:gd name="connsiteY21" fmla="*/ 334850 h 569913"/>
                  <a:gd name="connsiteX22" fmla="*/ 60656 w 606426"/>
                  <a:gd name="connsiteY22" fmla="*/ 338299 h 569913"/>
                  <a:gd name="connsiteX23" fmla="*/ 64037 w 606426"/>
                  <a:gd name="connsiteY23" fmla="*/ 347372 h 569913"/>
                  <a:gd name="connsiteX24" fmla="*/ 72638 w 606426"/>
                  <a:gd name="connsiteY24" fmla="*/ 350875 h 569913"/>
                  <a:gd name="connsiteX25" fmla="*/ 534517 w 606426"/>
                  <a:gd name="connsiteY25" fmla="*/ 350875 h 569913"/>
                  <a:gd name="connsiteX26" fmla="*/ 543870 w 606426"/>
                  <a:gd name="connsiteY26" fmla="*/ 347372 h 569913"/>
                  <a:gd name="connsiteX27" fmla="*/ 547357 w 606426"/>
                  <a:gd name="connsiteY27" fmla="*/ 338297 h 569913"/>
                  <a:gd name="connsiteX28" fmla="*/ 547357 w 606426"/>
                  <a:gd name="connsiteY28" fmla="*/ 246229 h 569913"/>
                  <a:gd name="connsiteX29" fmla="*/ 547357 w 606426"/>
                  <a:gd name="connsiteY29" fmla="*/ 57426 h 569913"/>
                  <a:gd name="connsiteX30" fmla="*/ 513822 w 606426"/>
                  <a:gd name="connsiteY30" fmla="*/ 23813 h 569913"/>
                  <a:gd name="connsiteX31" fmla="*/ 94192 w 606426"/>
                  <a:gd name="connsiteY31" fmla="*/ 23813 h 569913"/>
                  <a:gd name="connsiteX32" fmla="*/ 93032 w 606426"/>
                  <a:gd name="connsiteY32" fmla="*/ 0 h 569913"/>
                  <a:gd name="connsiteX33" fmla="*/ 513395 w 606426"/>
                  <a:gd name="connsiteY33" fmla="*/ 0 h 569913"/>
                  <a:gd name="connsiteX34" fmla="*/ 571109 w 606426"/>
                  <a:gd name="connsiteY34" fmla="*/ 57680 h 569913"/>
                  <a:gd name="connsiteX35" fmla="*/ 571109 w 606426"/>
                  <a:gd name="connsiteY35" fmla="*/ 334794 h 569913"/>
                  <a:gd name="connsiteX36" fmla="*/ 571109 w 606426"/>
                  <a:gd name="connsiteY36" fmla="*/ 338138 h 569913"/>
                  <a:gd name="connsiteX37" fmla="*/ 571501 w 606426"/>
                  <a:gd name="connsiteY37" fmla="*/ 338138 h 569913"/>
                  <a:gd name="connsiteX38" fmla="*/ 571109 w 606426"/>
                  <a:gd name="connsiteY38" fmla="*/ 339082 h 569913"/>
                  <a:gd name="connsiteX39" fmla="*/ 571109 w 606426"/>
                  <a:gd name="connsiteY39" fmla="*/ 339193 h 569913"/>
                  <a:gd name="connsiteX40" fmla="*/ 562495 w 606426"/>
                  <a:gd name="connsiteY40" fmla="*/ 368464 h 569913"/>
                  <a:gd name="connsiteX41" fmla="*/ 602981 w 606426"/>
                  <a:gd name="connsiteY41" fmla="*/ 480380 h 569913"/>
                  <a:gd name="connsiteX42" fmla="*/ 603842 w 606426"/>
                  <a:gd name="connsiteY42" fmla="*/ 484684 h 569913"/>
                  <a:gd name="connsiteX43" fmla="*/ 606426 w 606426"/>
                  <a:gd name="connsiteY43" fmla="*/ 495015 h 569913"/>
                  <a:gd name="connsiteX44" fmla="*/ 606426 w 606426"/>
                  <a:gd name="connsiteY44" fmla="*/ 512233 h 569913"/>
                  <a:gd name="connsiteX45" fmla="*/ 548712 w 606426"/>
                  <a:gd name="connsiteY45" fmla="*/ 569913 h 569913"/>
                  <a:gd name="connsiteX46" fmla="*/ 57714 w 606426"/>
                  <a:gd name="connsiteY46" fmla="*/ 569913 h 569913"/>
                  <a:gd name="connsiteX47" fmla="*/ 0 w 606426"/>
                  <a:gd name="connsiteY47" fmla="*/ 512233 h 569913"/>
                  <a:gd name="connsiteX48" fmla="*/ 0 w 606426"/>
                  <a:gd name="connsiteY48" fmla="*/ 495015 h 569913"/>
                  <a:gd name="connsiteX49" fmla="*/ 0 w 606426"/>
                  <a:gd name="connsiteY49" fmla="*/ 491572 h 569913"/>
                  <a:gd name="connsiteX50" fmla="*/ 862 w 606426"/>
                  <a:gd name="connsiteY50" fmla="*/ 482102 h 569913"/>
                  <a:gd name="connsiteX51" fmla="*/ 862 w 606426"/>
                  <a:gd name="connsiteY51" fmla="*/ 481241 h 569913"/>
                  <a:gd name="connsiteX52" fmla="*/ 41347 w 606426"/>
                  <a:gd name="connsiteY52" fmla="*/ 364159 h 569913"/>
                  <a:gd name="connsiteX53" fmla="*/ 35318 w 606426"/>
                  <a:gd name="connsiteY53" fmla="*/ 339193 h 569913"/>
                  <a:gd name="connsiteX54" fmla="*/ 35318 w 606426"/>
                  <a:gd name="connsiteY54" fmla="*/ 57680 h 569913"/>
                  <a:gd name="connsiteX55" fmla="*/ 93032 w 606426"/>
                  <a:gd name="connsiteY55" fmla="*/ 0 h 569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606426" h="569913">
                    <a:moveTo>
                      <a:pt x="65358" y="371618"/>
                    </a:moveTo>
                    <a:lnTo>
                      <a:pt x="52475" y="409255"/>
                    </a:lnTo>
                    <a:cubicBezTo>
                      <a:pt x="25400" y="488356"/>
                      <a:pt x="25400" y="488356"/>
                      <a:pt x="25400" y="488356"/>
                    </a:cubicBezTo>
                    <a:cubicBezTo>
                      <a:pt x="25400" y="488356"/>
                      <a:pt x="25400" y="488356"/>
                      <a:pt x="25400" y="489218"/>
                    </a:cubicBezTo>
                    <a:cubicBezTo>
                      <a:pt x="26260" y="490080"/>
                      <a:pt x="26260" y="490080"/>
                      <a:pt x="26260" y="490080"/>
                    </a:cubicBezTo>
                    <a:cubicBezTo>
                      <a:pt x="26260" y="491804"/>
                      <a:pt x="26260" y="491804"/>
                      <a:pt x="26260" y="491804"/>
                    </a:cubicBezTo>
                    <a:cubicBezTo>
                      <a:pt x="26260" y="493528"/>
                      <a:pt x="25400" y="495251"/>
                      <a:pt x="25400" y="496113"/>
                    </a:cubicBezTo>
                    <a:cubicBezTo>
                      <a:pt x="25400" y="512489"/>
                      <a:pt x="25400" y="512489"/>
                      <a:pt x="25400" y="512489"/>
                    </a:cubicBezTo>
                    <a:cubicBezTo>
                      <a:pt x="25400" y="530588"/>
                      <a:pt x="40878" y="546101"/>
                      <a:pt x="58936" y="546101"/>
                    </a:cubicBezTo>
                    <a:cubicBezTo>
                      <a:pt x="549077" y="546101"/>
                      <a:pt x="549077" y="546101"/>
                      <a:pt x="549077" y="546101"/>
                    </a:cubicBezTo>
                    <a:cubicBezTo>
                      <a:pt x="567135" y="546101"/>
                      <a:pt x="582613" y="530588"/>
                      <a:pt x="582613" y="512489"/>
                    </a:cubicBezTo>
                    <a:cubicBezTo>
                      <a:pt x="582613" y="496113"/>
                      <a:pt x="582613" y="496113"/>
                      <a:pt x="582613" y="496113"/>
                    </a:cubicBezTo>
                    <a:cubicBezTo>
                      <a:pt x="580034" y="494389"/>
                      <a:pt x="580034" y="494389"/>
                      <a:pt x="580034" y="494389"/>
                    </a:cubicBezTo>
                    <a:cubicBezTo>
                      <a:pt x="580034" y="489218"/>
                      <a:pt x="580034" y="489218"/>
                      <a:pt x="580034" y="489218"/>
                    </a:cubicBezTo>
                    <a:cubicBezTo>
                      <a:pt x="580034" y="489218"/>
                      <a:pt x="580034" y="488356"/>
                      <a:pt x="580034" y="488356"/>
                    </a:cubicBezTo>
                    <a:cubicBezTo>
                      <a:pt x="558107" y="426302"/>
                      <a:pt x="547143" y="395275"/>
                      <a:pt x="541661" y="379762"/>
                    </a:cubicBezTo>
                    <a:lnTo>
                      <a:pt x="539187" y="372761"/>
                    </a:lnTo>
                    <a:lnTo>
                      <a:pt x="534517" y="374651"/>
                    </a:lnTo>
                    <a:cubicBezTo>
                      <a:pt x="72638" y="374651"/>
                      <a:pt x="72638" y="374651"/>
                      <a:pt x="72638" y="374651"/>
                    </a:cubicBezTo>
                    <a:close/>
                    <a:moveTo>
                      <a:pt x="94192" y="23813"/>
                    </a:moveTo>
                    <a:cubicBezTo>
                      <a:pt x="75274" y="23813"/>
                      <a:pt x="60656" y="39327"/>
                      <a:pt x="60656" y="57426"/>
                    </a:cubicBezTo>
                    <a:cubicBezTo>
                      <a:pt x="60656" y="268797"/>
                      <a:pt x="60656" y="321640"/>
                      <a:pt x="60656" y="334850"/>
                    </a:cubicBezTo>
                    <a:lnTo>
                      <a:pt x="60656" y="338299"/>
                    </a:lnTo>
                    <a:lnTo>
                      <a:pt x="64037" y="347372"/>
                    </a:lnTo>
                    <a:cubicBezTo>
                      <a:pt x="66187" y="349601"/>
                      <a:pt x="69197" y="350875"/>
                      <a:pt x="72638" y="350875"/>
                    </a:cubicBezTo>
                    <a:cubicBezTo>
                      <a:pt x="534517" y="350875"/>
                      <a:pt x="534517" y="350875"/>
                      <a:pt x="534517" y="350875"/>
                    </a:cubicBezTo>
                    <a:cubicBezTo>
                      <a:pt x="538387" y="350875"/>
                      <a:pt x="541613" y="349601"/>
                      <a:pt x="543870" y="347372"/>
                    </a:cubicBezTo>
                    <a:lnTo>
                      <a:pt x="547357" y="338297"/>
                    </a:lnTo>
                    <a:lnTo>
                      <a:pt x="547357" y="246229"/>
                    </a:lnTo>
                    <a:cubicBezTo>
                      <a:pt x="547357" y="57426"/>
                      <a:pt x="547357" y="57426"/>
                      <a:pt x="547357" y="57426"/>
                    </a:cubicBezTo>
                    <a:cubicBezTo>
                      <a:pt x="547357" y="39327"/>
                      <a:pt x="532739" y="23813"/>
                      <a:pt x="513822" y="23813"/>
                    </a:cubicBezTo>
                    <a:cubicBezTo>
                      <a:pt x="94192" y="23813"/>
                      <a:pt x="94192" y="23813"/>
                      <a:pt x="94192" y="23813"/>
                    </a:cubicBezTo>
                    <a:close/>
                    <a:moveTo>
                      <a:pt x="93032" y="0"/>
                    </a:moveTo>
                    <a:cubicBezTo>
                      <a:pt x="513395" y="0"/>
                      <a:pt x="513395" y="0"/>
                      <a:pt x="513395" y="0"/>
                    </a:cubicBezTo>
                    <a:cubicBezTo>
                      <a:pt x="545267" y="0"/>
                      <a:pt x="571109" y="25827"/>
                      <a:pt x="571109" y="57680"/>
                    </a:cubicBezTo>
                    <a:cubicBezTo>
                      <a:pt x="571109" y="268815"/>
                      <a:pt x="571109" y="321598"/>
                      <a:pt x="571109" y="334794"/>
                    </a:cubicBezTo>
                    <a:lnTo>
                      <a:pt x="571109" y="338138"/>
                    </a:lnTo>
                    <a:lnTo>
                      <a:pt x="571501" y="338138"/>
                    </a:lnTo>
                    <a:lnTo>
                      <a:pt x="571109" y="339082"/>
                    </a:lnTo>
                    <a:lnTo>
                      <a:pt x="571109" y="339193"/>
                    </a:lnTo>
                    <a:cubicBezTo>
                      <a:pt x="571109" y="349524"/>
                      <a:pt x="568525" y="359855"/>
                      <a:pt x="562495" y="368464"/>
                    </a:cubicBezTo>
                    <a:cubicBezTo>
                      <a:pt x="602981" y="480380"/>
                      <a:pt x="602981" y="480380"/>
                      <a:pt x="602981" y="480380"/>
                    </a:cubicBezTo>
                    <a:cubicBezTo>
                      <a:pt x="603842" y="482102"/>
                      <a:pt x="603842" y="483824"/>
                      <a:pt x="603842" y="484684"/>
                    </a:cubicBezTo>
                    <a:cubicBezTo>
                      <a:pt x="605565" y="488128"/>
                      <a:pt x="606426" y="491572"/>
                      <a:pt x="606426" y="495015"/>
                    </a:cubicBezTo>
                    <a:cubicBezTo>
                      <a:pt x="606426" y="512233"/>
                      <a:pt x="606426" y="512233"/>
                      <a:pt x="606426" y="512233"/>
                    </a:cubicBezTo>
                    <a:cubicBezTo>
                      <a:pt x="606426" y="544086"/>
                      <a:pt x="580584" y="569913"/>
                      <a:pt x="548712" y="569913"/>
                    </a:cubicBezTo>
                    <a:cubicBezTo>
                      <a:pt x="57714" y="569913"/>
                      <a:pt x="57714" y="569913"/>
                      <a:pt x="57714" y="569913"/>
                    </a:cubicBezTo>
                    <a:cubicBezTo>
                      <a:pt x="25842" y="569913"/>
                      <a:pt x="0" y="544086"/>
                      <a:pt x="0" y="512233"/>
                    </a:cubicBezTo>
                    <a:cubicBezTo>
                      <a:pt x="0" y="495015"/>
                      <a:pt x="0" y="495015"/>
                      <a:pt x="0" y="495015"/>
                    </a:cubicBezTo>
                    <a:cubicBezTo>
                      <a:pt x="0" y="493293"/>
                      <a:pt x="0" y="492433"/>
                      <a:pt x="0" y="491572"/>
                    </a:cubicBezTo>
                    <a:cubicBezTo>
                      <a:pt x="0" y="488128"/>
                      <a:pt x="0" y="484684"/>
                      <a:pt x="862" y="482102"/>
                    </a:cubicBezTo>
                    <a:cubicBezTo>
                      <a:pt x="862" y="481241"/>
                      <a:pt x="862" y="481241"/>
                      <a:pt x="862" y="481241"/>
                    </a:cubicBezTo>
                    <a:cubicBezTo>
                      <a:pt x="41347" y="364159"/>
                      <a:pt x="41347" y="364159"/>
                      <a:pt x="41347" y="364159"/>
                    </a:cubicBezTo>
                    <a:cubicBezTo>
                      <a:pt x="37040" y="356411"/>
                      <a:pt x="35318" y="346941"/>
                      <a:pt x="35318" y="339193"/>
                    </a:cubicBezTo>
                    <a:cubicBezTo>
                      <a:pt x="35318" y="57680"/>
                      <a:pt x="35318" y="57680"/>
                      <a:pt x="35318" y="57680"/>
                    </a:cubicBezTo>
                    <a:cubicBezTo>
                      <a:pt x="35318" y="25827"/>
                      <a:pt x="61160" y="0"/>
                      <a:pt x="9303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397" name="TextBox 396"/>
            <p:cNvSpPr txBox="1"/>
            <p:nvPr/>
          </p:nvSpPr>
          <p:spPr>
            <a:xfrm>
              <a:off x="2402371" y="3237774"/>
              <a:ext cx="5760720" cy="440118"/>
            </a:xfrm>
            <a:prstGeom prst="rect">
              <a:avLst/>
            </a:prstGeom>
            <a:noFill/>
            <a:ln w="19050">
              <a:solidFill>
                <a:schemeClr val="accent1"/>
              </a:solidFill>
            </a:ln>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78D7"/>
                  </a:solidFill>
                  <a:effectLst/>
                  <a:uLnTx/>
                  <a:uFillTx/>
                </a:rPr>
                <a:t>DATA SOURCES</a:t>
              </a:r>
            </a:p>
          </p:txBody>
        </p:sp>
        <p:sp>
          <p:nvSpPr>
            <p:cNvPr id="398" name="Freeform 397"/>
            <p:cNvSpPr>
              <a:spLocks/>
            </p:cNvSpPr>
            <p:nvPr/>
          </p:nvSpPr>
          <p:spPr bwMode="auto">
            <a:xfrm>
              <a:off x="4912167" y="4187429"/>
              <a:ext cx="382073" cy="342630"/>
            </a:xfrm>
            <a:custGeom>
              <a:avLst/>
              <a:gdLst>
                <a:gd name="connsiteX0" fmla="*/ 3516568 w 3629025"/>
                <a:gd name="connsiteY0" fmla="*/ 3138886 h 3254390"/>
                <a:gd name="connsiteX1" fmla="*/ 3513902 w 3629025"/>
                <a:gd name="connsiteY1" fmla="*/ 3141552 h 3254390"/>
                <a:gd name="connsiteX2" fmla="*/ 3516568 w 3629025"/>
                <a:gd name="connsiteY2" fmla="*/ 3141552 h 3254390"/>
                <a:gd name="connsiteX3" fmla="*/ 3516568 w 3629025"/>
                <a:gd name="connsiteY3" fmla="*/ 3140691 h 3254390"/>
                <a:gd name="connsiteX4" fmla="*/ 3516568 w 3629025"/>
                <a:gd name="connsiteY4" fmla="*/ 3138886 h 3254390"/>
                <a:gd name="connsiteX5" fmla="*/ 1814513 w 3629025"/>
                <a:gd name="connsiteY5" fmla="*/ 2087188 h 3254390"/>
                <a:gd name="connsiteX6" fmla="*/ 610916 w 3629025"/>
                <a:gd name="connsiteY6" fmla="*/ 2397227 h 3254390"/>
                <a:gd name="connsiteX7" fmla="*/ 145036 w 3629025"/>
                <a:gd name="connsiteY7" fmla="*/ 2934094 h 3254390"/>
                <a:gd name="connsiteX8" fmla="*/ 112994 w 3629025"/>
                <a:gd name="connsiteY8" fmla="*/ 3138502 h 3254390"/>
                <a:gd name="connsiteX9" fmla="*/ 711667 w 3629025"/>
                <a:gd name="connsiteY9" fmla="*/ 3138502 h 3254390"/>
                <a:gd name="connsiteX10" fmla="*/ 3509920 w 3629025"/>
                <a:gd name="connsiteY10" fmla="*/ 3138502 h 3254390"/>
                <a:gd name="connsiteX11" fmla="*/ 3512992 w 3629025"/>
                <a:gd name="connsiteY11" fmla="*/ 3138502 h 3254390"/>
                <a:gd name="connsiteX12" fmla="*/ 3480950 w 3629025"/>
                <a:gd name="connsiteY12" fmla="*/ 2934094 h 3254390"/>
                <a:gd name="connsiteX13" fmla="*/ 3015069 w 3629025"/>
                <a:gd name="connsiteY13" fmla="*/ 2397227 h 3254390"/>
                <a:gd name="connsiteX14" fmla="*/ 1814513 w 3629025"/>
                <a:gd name="connsiteY14" fmla="*/ 2087188 h 3254390"/>
                <a:gd name="connsiteX15" fmla="*/ 1814513 w 3629025"/>
                <a:gd name="connsiteY15" fmla="*/ 1971684 h 3254390"/>
                <a:gd name="connsiteX16" fmla="*/ 3075857 w 3629025"/>
                <a:gd name="connsiteY16" fmla="*/ 2296920 h 3254390"/>
                <a:gd name="connsiteX17" fmla="*/ 3592600 w 3629025"/>
                <a:gd name="connsiteY17" fmla="*/ 2905170 h 3254390"/>
                <a:gd name="connsiteX18" fmla="*/ 3628968 w 3629025"/>
                <a:gd name="connsiteY18" fmla="*/ 3141552 h 3254390"/>
                <a:gd name="connsiteX19" fmla="*/ 3629025 w 3629025"/>
                <a:gd name="connsiteY19" fmla="*/ 3141552 h 3254390"/>
                <a:gd name="connsiteX20" fmla="*/ 3628992 w 3629025"/>
                <a:gd name="connsiteY20" fmla="*/ 3141711 h 3254390"/>
                <a:gd name="connsiteX21" fmla="*/ 3629025 w 3629025"/>
                <a:gd name="connsiteY21" fmla="*/ 3141925 h 3254390"/>
                <a:gd name="connsiteX22" fmla="*/ 3516568 w 3629025"/>
                <a:gd name="connsiteY22" fmla="*/ 3254390 h 3254390"/>
                <a:gd name="connsiteX23" fmla="*/ 112457 w 3629025"/>
                <a:gd name="connsiteY23" fmla="*/ 3254390 h 3254390"/>
                <a:gd name="connsiteX24" fmla="*/ 8596 w 3629025"/>
                <a:gd name="connsiteY24" fmla="*/ 3184915 h 3254390"/>
                <a:gd name="connsiteX25" fmla="*/ 74 w 3629025"/>
                <a:gd name="connsiteY25" fmla="*/ 3141925 h 3254390"/>
                <a:gd name="connsiteX26" fmla="*/ 0 w 3629025"/>
                <a:gd name="connsiteY26" fmla="*/ 3141925 h 3254390"/>
                <a:gd name="connsiteX27" fmla="*/ 32 w 3629025"/>
                <a:gd name="connsiteY27" fmla="*/ 3141714 h 3254390"/>
                <a:gd name="connsiteX28" fmla="*/ 0 w 3629025"/>
                <a:gd name="connsiteY28" fmla="*/ 3141552 h 3254390"/>
                <a:gd name="connsiteX29" fmla="*/ 57 w 3629025"/>
                <a:gd name="connsiteY29" fmla="*/ 3141552 h 3254390"/>
                <a:gd name="connsiteX30" fmla="*/ 35950 w 3629025"/>
                <a:gd name="connsiteY30" fmla="*/ 2905170 h 3254390"/>
                <a:gd name="connsiteX31" fmla="*/ 550129 w 3629025"/>
                <a:gd name="connsiteY31" fmla="*/ 2296920 h 3254390"/>
                <a:gd name="connsiteX32" fmla="*/ 1814513 w 3629025"/>
                <a:gd name="connsiteY32" fmla="*/ 1971684 h 3254390"/>
                <a:gd name="connsiteX33" fmla="*/ 1746250 w 3629025"/>
                <a:gd name="connsiteY33" fmla="*/ 115888 h 3254390"/>
                <a:gd name="connsiteX34" fmla="*/ 973137 w 3629025"/>
                <a:gd name="connsiteY34" fmla="*/ 887417 h 3254390"/>
                <a:gd name="connsiteX35" fmla="*/ 1746250 w 3629025"/>
                <a:gd name="connsiteY35" fmla="*/ 1658946 h 3254390"/>
                <a:gd name="connsiteX36" fmla="*/ 2519363 w 3629025"/>
                <a:gd name="connsiteY36" fmla="*/ 887417 h 3254390"/>
                <a:gd name="connsiteX37" fmla="*/ 1746250 w 3629025"/>
                <a:gd name="connsiteY37" fmla="*/ 115888 h 3254390"/>
                <a:gd name="connsiteX38" fmla="*/ 1747837 w 3629025"/>
                <a:gd name="connsiteY38" fmla="*/ 0 h 3254390"/>
                <a:gd name="connsiteX39" fmla="*/ 2635250 w 3629025"/>
                <a:gd name="connsiteY39" fmla="*/ 887417 h 3254390"/>
                <a:gd name="connsiteX40" fmla="*/ 1747837 w 3629025"/>
                <a:gd name="connsiteY40" fmla="*/ 1774834 h 3254390"/>
                <a:gd name="connsiteX41" fmla="*/ 860424 w 3629025"/>
                <a:gd name="connsiteY41" fmla="*/ 887417 h 3254390"/>
                <a:gd name="connsiteX42" fmla="*/ 1747837 w 3629025"/>
                <a:gd name="connsiteY42" fmla="*/ 0 h 325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629025" h="3254390">
                  <a:moveTo>
                    <a:pt x="3516568" y="3138886"/>
                  </a:moveTo>
                  <a:lnTo>
                    <a:pt x="3513902" y="3141552"/>
                  </a:lnTo>
                  <a:lnTo>
                    <a:pt x="3516568" y="3141552"/>
                  </a:lnTo>
                  <a:lnTo>
                    <a:pt x="3516568" y="3140691"/>
                  </a:lnTo>
                  <a:cubicBezTo>
                    <a:pt x="3516568" y="3138886"/>
                    <a:pt x="3516568" y="3138886"/>
                    <a:pt x="3516568" y="3138886"/>
                  </a:cubicBezTo>
                  <a:close/>
                  <a:moveTo>
                    <a:pt x="1814513" y="2087188"/>
                  </a:moveTo>
                  <a:cubicBezTo>
                    <a:pt x="1358605" y="2087188"/>
                    <a:pt x="933091" y="2196614"/>
                    <a:pt x="610916" y="2397227"/>
                  </a:cubicBezTo>
                  <a:cubicBezTo>
                    <a:pt x="369285" y="2545407"/>
                    <a:pt x="209718" y="2731201"/>
                    <a:pt x="145036" y="2934094"/>
                  </a:cubicBezTo>
                  <a:lnTo>
                    <a:pt x="112994" y="3138502"/>
                  </a:lnTo>
                  <a:lnTo>
                    <a:pt x="711667" y="3138502"/>
                  </a:lnTo>
                  <a:cubicBezTo>
                    <a:pt x="3142581" y="3138502"/>
                    <a:pt x="3466703" y="3138502"/>
                    <a:pt x="3509920" y="3138502"/>
                  </a:cubicBezTo>
                  <a:lnTo>
                    <a:pt x="3512992" y="3138502"/>
                  </a:lnTo>
                  <a:lnTo>
                    <a:pt x="3480950" y="2934094"/>
                  </a:lnTo>
                  <a:cubicBezTo>
                    <a:pt x="3416268" y="2731201"/>
                    <a:pt x="3256701" y="2545407"/>
                    <a:pt x="3015069" y="2397227"/>
                  </a:cubicBezTo>
                  <a:cubicBezTo>
                    <a:pt x="2695934" y="2196614"/>
                    <a:pt x="2267381" y="2087188"/>
                    <a:pt x="1814513" y="2087188"/>
                  </a:cubicBezTo>
                  <a:close/>
                  <a:moveTo>
                    <a:pt x="1814513" y="1971684"/>
                  </a:moveTo>
                  <a:cubicBezTo>
                    <a:pt x="2288657" y="1971684"/>
                    <a:pt x="2738485" y="2087188"/>
                    <a:pt x="3075857" y="2296920"/>
                  </a:cubicBezTo>
                  <a:cubicBezTo>
                    <a:pt x="3342563" y="2463338"/>
                    <a:pt x="3520367" y="2674209"/>
                    <a:pt x="3592600" y="2905170"/>
                  </a:cubicBezTo>
                  <a:lnTo>
                    <a:pt x="3628968" y="3141552"/>
                  </a:lnTo>
                  <a:lnTo>
                    <a:pt x="3629025" y="3141552"/>
                  </a:lnTo>
                  <a:lnTo>
                    <a:pt x="3628992" y="3141711"/>
                  </a:lnTo>
                  <a:lnTo>
                    <a:pt x="3629025" y="3141925"/>
                  </a:lnTo>
                  <a:cubicBezTo>
                    <a:pt x="3629025" y="3202717"/>
                    <a:pt x="3577356" y="3254390"/>
                    <a:pt x="3516568" y="3254390"/>
                  </a:cubicBezTo>
                  <a:cubicBezTo>
                    <a:pt x="112457" y="3254390"/>
                    <a:pt x="112457" y="3254390"/>
                    <a:pt x="112457" y="3254390"/>
                  </a:cubicBezTo>
                  <a:cubicBezTo>
                    <a:pt x="64587" y="3254390"/>
                    <a:pt x="25265" y="3225228"/>
                    <a:pt x="8596" y="3184915"/>
                  </a:cubicBezTo>
                  <a:lnTo>
                    <a:pt x="74" y="3141925"/>
                  </a:lnTo>
                  <a:lnTo>
                    <a:pt x="0" y="3141925"/>
                  </a:lnTo>
                  <a:lnTo>
                    <a:pt x="32" y="3141714"/>
                  </a:lnTo>
                  <a:lnTo>
                    <a:pt x="0" y="3141552"/>
                  </a:lnTo>
                  <a:lnTo>
                    <a:pt x="57" y="3141552"/>
                  </a:lnTo>
                  <a:lnTo>
                    <a:pt x="35950" y="2905170"/>
                  </a:lnTo>
                  <a:cubicBezTo>
                    <a:pt x="107329" y="2674209"/>
                    <a:pt x="283423" y="2463338"/>
                    <a:pt x="550129" y="2296920"/>
                  </a:cubicBezTo>
                  <a:cubicBezTo>
                    <a:pt x="890540" y="2087188"/>
                    <a:pt x="1337329" y="1971684"/>
                    <a:pt x="1814513" y="1971684"/>
                  </a:cubicBezTo>
                  <a:close/>
                  <a:moveTo>
                    <a:pt x="1746250" y="115888"/>
                  </a:moveTo>
                  <a:cubicBezTo>
                    <a:pt x="1319271" y="115888"/>
                    <a:pt x="973137" y="461313"/>
                    <a:pt x="973137" y="887417"/>
                  </a:cubicBezTo>
                  <a:cubicBezTo>
                    <a:pt x="973137" y="1313521"/>
                    <a:pt x="1319271" y="1658946"/>
                    <a:pt x="1746250" y="1658946"/>
                  </a:cubicBezTo>
                  <a:cubicBezTo>
                    <a:pt x="2173229" y="1658946"/>
                    <a:pt x="2519363" y="1313521"/>
                    <a:pt x="2519363" y="887417"/>
                  </a:cubicBezTo>
                  <a:cubicBezTo>
                    <a:pt x="2519363" y="461313"/>
                    <a:pt x="2173229" y="115888"/>
                    <a:pt x="1746250" y="115888"/>
                  </a:cubicBezTo>
                  <a:close/>
                  <a:moveTo>
                    <a:pt x="1747837" y="0"/>
                  </a:moveTo>
                  <a:cubicBezTo>
                    <a:pt x="2237942" y="0"/>
                    <a:pt x="2635250" y="397310"/>
                    <a:pt x="2635250" y="887417"/>
                  </a:cubicBezTo>
                  <a:cubicBezTo>
                    <a:pt x="2635250" y="1377524"/>
                    <a:pt x="2237942" y="1774834"/>
                    <a:pt x="1747837" y="1774834"/>
                  </a:cubicBezTo>
                  <a:cubicBezTo>
                    <a:pt x="1257732" y="1774834"/>
                    <a:pt x="860424" y="1377524"/>
                    <a:pt x="860424" y="887417"/>
                  </a:cubicBezTo>
                  <a:cubicBezTo>
                    <a:pt x="860424" y="397310"/>
                    <a:pt x="1257732" y="0"/>
                    <a:pt x="1747837"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9" name="Freeform 398"/>
            <p:cNvSpPr>
              <a:spLocks/>
            </p:cNvSpPr>
            <p:nvPr/>
          </p:nvSpPr>
          <p:spPr bwMode="auto">
            <a:xfrm>
              <a:off x="7224021" y="4685823"/>
              <a:ext cx="323850" cy="417957"/>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solidFill>
              <a:schemeClr val="accent1"/>
            </a:solidFill>
            <a:ln>
              <a:noFill/>
            </a:ln>
          </p:spPr>
          <p:txBody>
            <a:bodyPr vert="horz" wrap="square" lIns="91440" tIns="164592"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rPr>
                <a:t>{ }</a:t>
              </a:r>
            </a:p>
          </p:txBody>
        </p:sp>
        <p:grpSp>
          <p:nvGrpSpPr>
            <p:cNvPr id="400" name="Group 399"/>
            <p:cNvGrpSpPr/>
            <p:nvPr/>
          </p:nvGrpSpPr>
          <p:grpSpPr>
            <a:xfrm>
              <a:off x="6969691" y="2490605"/>
              <a:ext cx="336047" cy="448062"/>
              <a:chOff x="6972300" y="1333337"/>
              <a:chExt cx="2946149" cy="3928201"/>
            </a:xfrm>
            <a:grpFill/>
          </p:grpSpPr>
          <p:sp>
            <p:nvSpPr>
              <p:cNvPr id="401" name="Freeform 400"/>
              <p:cNvSpPr>
                <a:spLocks/>
              </p:cNvSpPr>
              <p:nvPr/>
            </p:nvSpPr>
            <p:spPr bwMode="auto">
              <a:xfrm>
                <a:off x="6972300" y="1333337"/>
                <a:ext cx="2946149" cy="3928201"/>
              </a:xfrm>
              <a:custGeom>
                <a:avLst/>
                <a:gdLst>
                  <a:gd name="connsiteX0" fmla="*/ 1293813 w 2524125"/>
                  <a:gd name="connsiteY0" fmla="*/ 2986088 h 3365500"/>
                  <a:gd name="connsiteX1" fmla="*/ 1404938 w 2524125"/>
                  <a:gd name="connsiteY1" fmla="*/ 3095626 h 3365500"/>
                  <a:gd name="connsiteX2" fmla="*/ 1293813 w 2524125"/>
                  <a:gd name="connsiteY2" fmla="*/ 3205164 h 3365500"/>
                  <a:gd name="connsiteX3" fmla="*/ 1182688 w 2524125"/>
                  <a:gd name="connsiteY3" fmla="*/ 3095626 h 3365500"/>
                  <a:gd name="connsiteX4" fmla="*/ 1293813 w 2524125"/>
                  <a:gd name="connsiteY4" fmla="*/ 2986088 h 3365500"/>
                  <a:gd name="connsiteX5" fmla="*/ 368300 w 2524125"/>
                  <a:gd name="connsiteY5" fmla="*/ 368300 h 3365500"/>
                  <a:gd name="connsiteX6" fmla="*/ 368300 w 2524125"/>
                  <a:gd name="connsiteY6" fmla="*/ 2833688 h 3365500"/>
                  <a:gd name="connsiteX7" fmla="*/ 2155825 w 2524125"/>
                  <a:gd name="connsiteY7" fmla="*/ 2833688 h 3365500"/>
                  <a:gd name="connsiteX8" fmla="*/ 2155825 w 2524125"/>
                  <a:gd name="connsiteY8" fmla="*/ 368300 h 3365500"/>
                  <a:gd name="connsiteX9" fmla="*/ 306902 w 2524125"/>
                  <a:gd name="connsiteY9" fmla="*/ 246063 h 3365500"/>
                  <a:gd name="connsiteX10" fmla="*/ 2217225 w 2524125"/>
                  <a:gd name="connsiteY10" fmla="*/ 246063 h 3365500"/>
                  <a:gd name="connsiteX11" fmla="*/ 2278063 w 2524125"/>
                  <a:gd name="connsiteY11" fmla="*/ 306855 h 3365500"/>
                  <a:gd name="connsiteX12" fmla="*/ 2278063 w 2524125"/>
                  <a:gd name="connsiteY12" fmla="*/ 2893546 h 3365500"/>
                  <a:gd name="connsiteX13" fmla="*/ 2217225 w 2524125"/>
                  <a:gd name="connsiteY13" fmla="*/ 2954338 h 3365500"/>
                  <a:gd name="connsiteX14" fmla="*/ 306902 w 2524125"/>
                  <a:gd name="connsiteY14" fmla="*/ 2954338 h 3365500"/>
                  <a:gd name="connsiteX15" fmla="*/ 246063 w 2524125"/>
                  <a:gd name="connsiteY15" fmla="*/ 2893546 h 3365500"/>
                  <a:gd name="connsiteX16" fmla="*/ 246063 w 2524125"/>
                  <a:gd name="connsiteY16" fmla="*/ 306855 h 3365500"/>
                  <a:gd name="connsiteX17" fmla="*/ 306902 w 2524125"/>
                  <a:gd name="connsiteY17" fmla="*/ 246063 h 3365500"/>
                  <a:gd name="connsiteX18" fmla="*/ 195187 w 2524125"/>
                  <a:gd name="connsiteY18" fmla="*/ 122238 h 3365500"/>
                  <a:gd name="connsiteX19" fmla="*/ 122238 w 2524125"/>
                  <a:gd name="connsiteY19" fmla="*/ 195173 h 3365500"/>
                  <a:gd name="connsiteX20" fmla="*/ 122238 w 2524125"/>
                  <a:gd name="connsiteY20" fmla="*/ 3170328 h 3365500"/>
                  <a:gd name="connsiteX21" fmla="*/ 195187 w 2524125"/>
                  <a:gd name="connsiteY21" fmla="*/ 3243263 h 3365500"/>
                  <a:gd name="connsiteX22" fmla="*/ 2328939 w 2524125"/>
                  <a:gd name="connsiteY22" fmla="*/ 3243263 h 3365500"/>
                  <a:gd name="connsiteX23" fmla="*/ 2401888 w 2524125"/>
                  <a:gd name="connsiteY23" fmla="*/ 3170328 h 3365500"/>
                  <a:gd name="connsiteX24" fmla="*/ 2401888 w 2524125"/>
                  <a:gd name="connsiteY24" fmla="*/ 195173 h 3365500"/>
                  <a:gd name="connsiteX25" fmla="*/ 2328939 w 2524125"/>
                  <a:gd name="connsiteY25" fmla="*/ 122238 h 3365500"/>
                  <a:gd name="connsiteX26" fmla="*/ 194632 w 2524125"/>
                  <a:gd name="connsiteY26" fmla="*/ 0 h 3365500"/>
                  <a:gd name="connsiteX27" fmla="*/ 2329494 w 2524125"/>
                  <a:gd name="connsiteY27" fmla="*/ 0 h 3365500"/>
                  <a:gd name="connsiteX28" fmla="*/ 2524125 w 2524125"/>
                  <a:gd name="connsiteY28" fmla="*/ 194573 h 3365500"/>
                  <a:gd name="connsiteX29" fmla="*/ 2524125 w 2524125"/>
                  <a:gd name="connsiteY29" fmla="*/ 3170927 h 3365500"/>
                  <a:gd name="connsiteX30" fmla="*/ 2329494 w 2524125"/>
                  <a:gd name="connsiteY30" fmla="*/ 3365500 h 3365500"/>
                  <a:gd name="connsiteX31" fmla="*/ 194632 w 2524125"/>
                  <a:gd name="connsiteY31" fmla="*/ 3365500 h 3365500"/>
                  <a:gd name="connsiteX32" fmla="*/ 0 w 2524125"/>
                  <a:gd name="connsiteY32" fmla="*/ 3170927 h 3365500"/>
                  <a:gd name="connsiteX33" fmla="*/ 0 w 2524125"/>
                  <a:gd name="connsiteY33" fmla="*/ 194573 h 3365500"/>
                  <a:gd name="connsiteX34" fmla="*/ 194632 w 2524125"/>
                  <a:gd name="connsiteY34" fmla="*/ 0 h 336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524125" h="3365500">
                    <a:moveTo>
                      <a:pt x="1293813" y="2986088"/>
                    </a:moveTo>
                    <a:cubicBezTo>
                      <a:pt x="1355186" y="2986088"/>
                      <a:pt x="1404938" y="3035130"/>
                      <a:pt x="1404938" y="3095626"/>
                    </a:cubicBezTo>
                    <a:cubicBezTo>
                      <a:pt x="1404938" y="3156122"/>
                      <a:pt x="1355186" y="3205164"/>
                      <a:pt x="1293813" y="3205164"/>
                    </a:cubicBezTo>
                    <a:cubicBezTo>
                      <a:pt x="1232440" y="3205164"/>
                      <a:pt x="1182688" y="3156122"/>
                      <a:pt x="1182688" y="3095626"/>
                    </a:cubicBezTo>
                    <a:cubicBezTo>
                      <a:pt x="1182688" y="3035130"/>
                      <a:pt x="1232440" y="2986088"/>
                      <a:pt x="1293813" y="2986088"/>
                    </a:cubicBezTo>
                    <a:close/>
                    <a:moveTo>
                      <a:pt x="368300" y="368300"/>
                    </a:moveTo>
                    <a:lnTo>
                      <a:pt x="368300" y="2833688"/>
                    </a:lnTo>
                    <a:lnTo>
                      <a:pt x="2155825" y="2833688"/>
                    </a:lnTo>
                    <a:lnTo>
                      <a:pt x="2155825" y="368300"/>
                    </a:lnTo>
                    <a:close/>
                    <a:moveTo>
                      <a:pt x="306902" y="246063"/>
                    </a:moveTo>
                    <a:cubicBezTo>
                      <a:pt x="2217225" y="246063"/>
                      <a:pt x="2217225" y="246063"/>
                      <a:pt x="2217225" y="246063"/>
                    </a:cubicBezTo>
                    <a:cubicBezTo>
                      <a:pt x="2250686" y="246063"/>
                      <a:pt x="2278063" y="273419"/>
                      <a:pt x="2278063" y="306855"/>
                    </a:cubicBezTo>
                    <a:cubicBezTo>
                      <a:pt x="2278063" y="2893546"/>
                      <a:pt x="2278063" y="2893546"/>
                      <a:pt x="2278063" y="2893546"/>
                    </a:cubicBezTo>
                    <a:cubicBezTo>
                      <a:pt x="2278063" y="2926982"/>
                      <a:pt x="2250686" y="2954338"/>
                      <a:pt x="2217225" y="2954338"/>
                    </a:cubicBezTo>
                    <a:cubicBezTo>
                      <a:pt x="306902" y="2954338"/>
                      <a:pt x="306902" y="2954338"/>
                      <a:pt x="306902" y="2954338"/>
                    </a:cubicBezTo>
                    <a:cubicBezTo>
                      <a:pt x="273440" y="2954338"/>
                      <a:pt x="246063" y="2926982"/>
                      <a:pt x="246063" y="2893546"/>
                    </a:cubicBezTo>
                    <a:cubicBezTo>
                      <a:pt x="246063" y="306855"/>
                      <a:pt x="246063" y="306855"/>
                      <a:pt x="246063" y="306855"/>
                    </a:cubicBezTo>
                    <a:cubicBezTo>
                      <a:pt x="246063" y="273419"/>
                      <a:pt x="273440" y="246063"/>
                      <a:pt x="306902" y="246063"/>
                    </a:cubicBezTo>
                    <a:close/>
                    <a:moveTo>
                      <a:pt x="195187" y="122238"/>
                    </a:moveTo>
                    <a:cubicBezTo>
                      <a:pt x="155673" y="122238"/>
                      <a:pt x="122238" y="155667"/>
                      <a:pt x="122238" y="195173"/>
                    </a:cubicBezTo>
                    <a:cubicBezTo>
                      <a:pt x="122238" y="3170328"/>
                      <a:pt x="122238" y="3170328"/>
                      <a:pt x="122238" y="3170328"/>
                    </a:cubicBezTo>
                    <a:cubicBezTo>
                      <a:pt x="122238" y="3209834"/>
                      <a:pt x="155673" y="3243263"/>
                      <a:pt x="195187" y="3243263"/>
                    </a:cubicBezTo>
                    <a:cubicBezTo>
                      <a:pt x="2328939" y="3243263"/>
                      <a:pt x="2328939" y="3243263"/>
                      <a:pt x="2328939" y="3243263"/>
                    </a:cubicBezTo>
                    <a:cubicBezTo>
                      <a:pt x="2371493" y="3243263"/>
                      <a:pt x="2401888" y="3209834"/>
                      <a:pt x="2401888" y="3170328"/>
                    </a:cubicBezTo>
                    <a:cubicBezTo>
                      <a:pt x="2401888" y="195173"/>
                      <a:pt x="2401888" y="195173"/>
                      <a:pt x="2401888" y="195173"/>
                    </a:cubicBezTo>
                    <a:cubicBezTo>
                      <a:pt x="2401888" y="155667"/>
                      <a:pt x="2371493" y="122238"/>
                      <a:pt x="2328939" y="122238"/>
                    </a:cubicBezTo>
                    <a:close/>
                    <a:moveTo>
                      <a:pt x="194632" y="0"/>
                    </a:moveTo>
                    <a:cubicBezTo>
                      <a:pt x="2329494" y="0"/>
                      <a:pt x="2329494" y="0"/>
                      <a:pt x="2329494" y="0"/>
                    </a:cubicBezTo>
                    <a:cubicBezTo>
                      <a:pt x="2438974" y="0"/>
                      <a:pt x="2524125" y="88166"/>
                      <a:pt x="2524125" y="194573"/>
                    </a:cubicBezTo>
                    <a:cubicBezTo>
                      <a:pt x="2524125" y="3170927"/>
                      <a:pt x="2524125" y="3170927"/>
                      <a:pt x="2524125" y="3170927"/>
                    </a:cubicBezTo>
                    <a:cubicBezTo>
                      <a:pt x="2524125" y="3277334"/>
                      <a:pt x="2438974" y="3365500"/>
                      <a:pt x="2329494" y="3365500"/>
                    </a:cubicBezTo>
                    <a:cubicBezTo>
                      <a:pt x="194632" y="3365500"/>
                      <a:pt x="194632" y="3365500"/>
                      <a:pt x="194632" y="3365500"/>
                    </a:cubicBezTo>
                    <a:cubicBezTo>
                      <a:pt x="88193" y="3365500"/>
                      <a:pt x="0" y="3277334"/>
                      <a:pt x="0" y="3170927"/>
                    </a:cubicBezTo>
                    <a:cubicBezTo>
                      <a:pt x="0" y="194573"/>
                      <a:pt x="0" y="194573"/>
                      <a:pt x="0" y="194573"/>
                    </a:cubicBezTo>
                    <a:cubicBezTo>
                      <a:pt x="0" y="88166"/>
                      <a:pt x="88193" y="0"/>
                      <a:pt x="194632"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2" name="Flowchart: Decision 183"/>
              <p:cNvSpPr/>
              <p:nvPr/>
            </p:nvSpPr>
            <p:spPr bwMode="auto">
              <a:xfrm>
                <a:off x="7862612" y="2650736"/>
                <a:ext cx="1165523" cy="1112815"/>
              </a:xfrm>
              <a:custGeom>
                <a:avLst/>
                <a:gdLst/>
                <a:ahLst/>
                <a:cxnLst/>
                <a:rect l="l" t="t" r="r" b="b"/>
                <a:pathLst>
                  <a:path w="665897" h="635783">
                    <a:moveTo>
                      <a:pt x="0" y="287388"/>
                    </a:moveTo>
                    <a:lnTo>
                      <a:pt x="6431" y="291748"/>
                    </a:lnTo>
                    <a:lnTo>
                      <a:pt x="212" y="295965"/>
                    </a:lnTo>
                    <a:close/>
                    <a:moveTo>
                      <a:pt x="665897" y="137457"/>
                    </a:moveTo>
                    <a:lnTo>
                      <a:pt x="665897" y="515370"/>
                    </a:lnTo>
                    <a:lnTo>
                      <a:pt x="350969" y="635783"/>
                    </a:lnTo>
                    <a:lnTo>
                      <a:pt x="349117" y="254165"/>
                    </a:lnTo>
                    <a:close/>
                    <a:moveTo>
                      <a:pt x="19370" y="137457"/>
                    </a:moveTo>
                    <a:lnTo>
                      <a:pt x="330592" y="252313"/>
                    </a:lnTo>
                    <a:lnTo>
                      <a:pt x="330592" y="630225"/>
                    </a:lnTo>
                    <a:lnTo>
                      <a:pt x="19370" y="515370"/>
                    </a:lnTo>
                    <a:close/>
                    <a:moveTo>
                      <a:pt x="343560" y="0"/>
                    </a:moveTo>
                    <a:lnTo>
                      <a:pt x="665897" y="116894"/>
                    </a:lnTo>
                    <a:lnTo>
                      <a:pt x="343560" y="233788"/>
                    </a:lnTo>
                    <a:lnTo>
                      <a:pt x="21222" y="116894"/>
                    </a:lnTo>
                    <a:close/>
                  </a:path>
                </a:pathLst>
              </a:custGeom>
              <a:solidFill>
                <a:schemeClr val="accent1"/>
              </a:solidFill>
              <a:ln>
                <a:solidFill>
                  <a:schemeClr val="accent1"/>
                </a:solidFill>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403" name="Group 402"/>
            <p:cNvGrpSpPr/>
            <p:nvPr/>
          </p:nvGrpSpPr>
          <p:grpSpPr>
            <a:xfrm flipH="1">
              <a:off x="7039461" y="1664005"/>
              <a:ext cx="208668" cy="390479"/>
              <a:chOff x="4428034" y="2663776"/>
              <a:chExt cx="1294586" cy="2422549"/>
            </a:xfrm>
            <a:grpFill/>
          </p:grpSpPr>
          <p:sp>
            <p:nvSpPr>
              <p:cNvPr id="404" name="Rounded Rectangle 16"/>
              <p:cNvSpPr/>
              <p:nvPr/>
            </p:nvSpPr>
            <p:spPr>
              <a:xfrm>
                <a:off x="4428034" y="2971800"/>
                <a:ext cx="1294586" cy="2114525"/>
              </a:xfrm>
              <a:custGeom>
                <a:avLst/>
                <a:gdLst/>
                <a:ahLst/>
                <a:cxnLst/>
                <a:rect l="l" t="t" r="r" b="b"/>
                <a:pathLst>
                  <a:path w="943814" h="1541591">
                    <a:moveTo>
                      <a:pt x="736899" y="969127"/>
                    </a:moveTo>
                    <a:lnTo>
                      <a:pt x="679817" y="1021413"/>
                    </a:lnTo>
                    <a:lnTo>
                      <a:pt x="792148" y="1132781"/>
                    </a:lnTo>
                    <a:close/>
                    <a:moveTo>
                      <a:pt x="207265" y="968092"/>
                    </a:moveTo>
                    <a:lnTo>
                      <a:pt x="153857" y="1126290"/>
                    </a:lnTo>
                    <a:lnTo>
                      <a:pt x="262444" y="1018635"/>
                    </a:lnTo>
                    <a:close/>
                    <a:moveTo>
                      <a:pt x="503411" y="910899"/>
                    </a:moveTo>
                    <a:lnTo>
                      <a:pt x="503411" y="1120999"/>
                    </a:lnTo>
                    <a:lnTo>
                      <a:pt x="613560" y="1020104"/>
                    </a:lnTo>
                    <a:close/>
                    <a:moveTo>
                      <a:pt x="441498" y="905495"/>
                    </a:moveTo>
                    <a:lnTo>
                      <a:pt x="328701" y="1017325"/>
                    </a:lnTo>
                    <a:lnTo>
                      <a:pt x="441499" y="1120647"/>
                    </a:lnTo>
                    <a:close/>
                    <a:moveTo>
                      <a:pt x="635043" y="713610"/>
                    </a:moveTo>
                    <a:lnTo>
                      <a:pt x="503410" y="844114"/>
                    </a:lnTo>
                    <a:lnTo>
                      <a:pt x="503411" y="846520"/>
                    </a:lnTo>
                    <a:lnTo>
                      <a:pt x="647312" y="989187"/>
                    </a:lnTo>
                    <a:lnTo>
                      <a:pt x="720911" y="921771"/>
                    </a:lnTo>
                    <a:lnTo>
                      <a:pt x="658481" y="736848"/>
                    </a:lnTo>
                    <a:close/>
                    <a:moveTo>
                      <a:pt x="304414" y="713610"/>
                    </a:moveTo>
                    <a:lnTo>
                      <a:pt x="287524" y="730357"/>
                    </a:lnTo>
                    <a:lnTo>
                      <a:pt x="223252" y="920736"/>
                    </a:lnTo>
                    <a:lnTo>
                      <a:pt x="294949" y="986409"/>
                    </a:lnTo>
                    <a:lnTo>
                      <a:pt x="437261" y="845317"/>
                    </a:lnTo>
                    <a:close/>
                    <a:moveTo>
                      <a:pt x="503411" y="583107"/>
                    </a:moveTo>
                    <a:lnTo>
                      <a:pt x="503410" y="779733"/>
                    </a:lnTo>
                    <a:lnTo>
                      <a:pt x="602574" y="681421"/>
                    </a:lnTo>
                    <a:close/>
                    <a:moveTo>
                      <a:pt x="441499" y="577703"/>
                    </a:moveTo>
                    <a:lnTo>
                      <a:pt x="336883" y="681420"/>
                    </a:lnTo>
                    <a:lnTo>
                      <a:pt x="441499" y="785139"/>
                    </a:lnTo>
                    <a:close/>
                    <a:moveTo>
                      <a:pt x="378907" y="459672"/>
                    </a:moveTo>
                    <a:lnTo>
                      <a:pt x="320193" y="633588"/>
                    </a:lnTo>
                    <a:lnTo>
                      <a:pt x="437260" y="517525"/>
                    </a:lnTo>
                    <a:close/>
                    <a:moveTo>
                      <a:pt x="563814" y="456436"/>
                    </a:moveTo>
                    <a:lnTo>
                      <a:pt x="503411" y="516322"/>
                    </a:lnTo>
                    <a:lnTo>
                      <a:pt x="503410" y="518728"/>
                    </a:lnTo>
                    <a:lnTo>
                      <a:pt x="625812" y="640079"/>
                    </a:lnTo>
                    <a:close/>
                    <a:moveTo>
                      <a:pt x="503411" y="277517"/>
                    </a:moveTo>
                    <a:lnTo>
                      <a:pt x="503411" y="451941"/>
                    </a:lnTo>
                    <a:lnTo>
                      <a:pt x="547530" y="408201"/>
                    </a:lnTo>
                    <a:close/>
                    <a:moveTo>
                      <a:pt x="441498" y="274270"/>
                    </a:moveTo>
                    <a:lnTo>
                      <a:pt x="395191" y="411437"/>
                    </a:lnTo>
                    <a:lnTo>
                      <a:pt x="441499" y="457347"/>
                    </a:lnTo>
                    <a:close/>
                    <a:moveTo>
                      <a:pt x="471906" y="0"/>
                    </a:moveTo>
                    <a:cubicBezTo>
                      <a:pt x="491186" y="0"/>
                      <a:pt x="506817" y="15630"/>
                      <a:pt x="506817" y="34910"/>
                    </a:cubicBezTo>
                    <a:cubicBezTo>
                      <a:pt x="506816" y="49090"/>
                      <a:pt x="498363" y="61295"/>
                      <a:pt x="485132" y="64342"/>
                    </a:cubicBezTo>
                    <a:cubicBezTo>
                      <a:pt x="491821" y="64772"/>
                      <a:pt x="496693" y="69512"/>
                      <a:pt x="498695" y="76196"/>
                    </a:cubicBezTo>
                    <a:cubicBezTo>
                      <a:pt x="498749" y="76214"/>
                      <a:pt x="498767" y="76250"/>
                      <a:pt x="498776" y="76290"/>
                    </a:cubicBezTo>
                    <a:cubicBezTo>
                      <a:pt x="500921" y="76999"/>
                      <a:pt x="501573" y="78515"/>
                      <a:pt x="502109" y="80103"/>
                    </a:cubicBezTo>
                    <a:lnTo>
                      <a:pt x="942180" y="1383632"/>
                    </a:lnTo>
                    <a:cubicBezTo>
                      <a:pt x="947649" y="1399831"/>
                      <a:pt x="938951" y="1417395"/>
                      <a:pt x="922752" y="1422863"/>
                    </a:cubicBezTo>
                    <a:cubicBezTo>
                      <a:pt x="906553" y="1428332"/>
                      <a:pt x="888989" y="1419634"/>
                      <a:pt x="883520" y="1403435"/>
                    </a:cubicBezTo>
                    <a:lnTo>
                      <a:pt x="824817" y="1229549"/>
                    </a:lnTo>
                    <a:lnTo>
                      <a:pt x="646065" y="1052330"/>
                    </a:lnTo>
                    <a:lnTo>
                      <a:pt x="503411" y="1183000"/>
                    </a:lnTo>
                    <a:lnTo>
                      <a:pt x="503410" y="1510636"/>
                    </a:lnTo>
                    <a:cubicBezTo>
                      <a:pt x="503411" y="1527733"/>
                      <a:pt x="489552" y="1541592"/>
                      <a:pt x="472455" y="1541591"/>
                    </a:cubicBezTo>
                    <a:cubicBezTo>
                      <a:pt x="455357" y="1541591"/>
                      <a:pt x="441498" y="1527733"/>
                      <a:pt x="441499" y="1510636"/>
                    </a:cubicBezTo>
                    <a:lnTo>
                      <a:pt x="441499" y="1182647"/>
                    </a:lnTo>
                    <a:lnTo>
                      <a:pt x="296196" y="1049552"/>
                    </a:lnTo>
                    <a:lnTo>
                      <a:pt x="121188" y="1223058"/>
                    </a:lnTo>
                    <a:lnTo>
                      <a:pt x="60293" y="1403435"/>
                    </a:lnTo>
                    <a:cubicBezTo>
                      <a:pt x="54824" y="1419634"/>
                      <a:pt x="37260" y="1428332"/>
                      <a:pt x="21061" y="1422863"/>
                    </a:cubicBezTo>
                    <a:cubicBezTo>
                      <a:pt x="4863" y="1417394"/>
                      <a:pt x="-3835" y="1399830"/>
                      <a:pt x="1634" y="1383632"/>
                    </a:cubicBezTo>
                    <a:lnTo>
                      <a:pt x="441704" y="80103"/>
                    </a:lnTo>
                    <a:cubicBezTo>
                      <a:pt x="442240" y="78514"/>
                      <a:pt x="442893" y="76998"/>
                      <a:pt x="445037" y="76290"/>
                    </a:cubicBezTo>
                    <a:cubicBezTo>
                      <a:pt x="445047" y="76250"/>
                      <a:pt x="445064" y="76214"/>
                      <a:pt x="445119" y="76195"/>
                    </a:cubicBezTo>
                    <a:lnTo>
                      <a:pt x="458681" y="64342"/>
                    </a:lnTo>
                    <a:cubicBezTo>
                      <a:pt x="445450" y="61294"/>
                      <a:pt x="436997" y="49089"/>
                      <a:pt x="436997" y="34910"/>
                    </a:cubicBezTo>
                    <a:cubicBezTo>
                      <a:pt x="436997" y="15630"/>
                      <a:pt x="452626" y="0"/>
                      <a:pt x="47190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grpSp>
            <p:nvGrpSpPr>
              <p:cNvPr id="405" name="Group 404"/>
              <p:cNvGrpSpPr/>
              <p:nvPr/>
            </p:nvGrpSpPr>
            <p:grpSpPr>
              <a:xfrm>
                <a:off x="4577514" y="2663776"/>
                <a:ext cx="986039" cy="708121"/>
                <a:chOff x="4577514" y="2663776"/>
                <a:chExt cx="986039" cy="708121"/>
              </a:xfrm>
              <a:grpFill/>
            </p:grpSpPr>
            <p:sp>
              <p:nvSpPr>
                <p:cNvPr id="406" name="Freeform 405"/>
                <p:cNvSpPr>
                  <a:spLocks noChangeArrowheads="1"/>
                </p:cNvSpPr>
                <p:nvPr/>
              </p:nvSpPr>
              <p:spPr bwMode="auto">
                <a:xfrm rot="5400000" flipH="1">
                  <a:off x="4912926" y="2721270"/>
                  <a:ext cx="706692" cy="594562"/>
                </a:xfrm>
                <a:custGeom>
                  <a:avLst/>
                  <a:gdLst>
                    <a:gd name="connsiteX0" fmla="*/ 1925912 w 3848648"/>
                    <a:gd name="connsiteY0" fmla="*/ 2280727 h 3237989"/>
                    <a:gd name="connsiteX1" fmla="*/ 1506812 w 3848648"/>
                    <a:gd name="connsiteY1" fmla="*/ 2698240 h 3237989"/>
                    <a:gd name="connsiteX2" fmla="*/ 1925912 w 3848648"/>
                    <a:gd name="connsiteY2" fmla="*/ 3115753 h 3237989"/>
                    <a:gd name="connsiteX3" fmla="*/ 2345012 w 3848648"/>
                    <a:gd name="connsiteY3" fmla="*/ 2698240 h 3237989"/>
                    <a:gd name="connsiteX4" fmla="*/ 1925912 w 3848648"/>
                    <a:gd name="connsiteY4" fmla="*/ 2280727 h 3237989"/>
                    <a:gd name="connsiteX5" fmla="*/ 1925118 w 3848648"/>
                    <a:gd name="connsiteY5" fmla="*/ 2158489 h 3237989"/>
                    <a:gd name="connsiteX6" fmla="*/ 2465662 w 3848648"/>
                    <a:gd name="connsiteY6" fmla="*/ 2698239 h 3237989"/>
                    <a:gd name="connsiteX7" fmla="*/ 1925118 w 3848648"/>
                    <a:gd name="connsiteY7" fmla="*/ 3237989 h 3237989"/>
                    <a:gd name="connsiteX8" fmla="*/ 1384574 w 3848648"/>
                    <a:gd name="connsiteY8" fmla="*/ 2698239 h 3237989"/>
                    <a:gd name="connsiteX9" fmla="*/ 1925118 w 3848648"/>
                    <a:gd name="connsiteY9" fmla="*/ 2158489 h 3237989"/>
                    <a:gd name="connsiteX10" fmla="*/ 1924773 w 3848648"/>
                    <a:gd name="connsiteY10" fmla="*/ 1438131 h 3237989"/>
                    <a:gd name="connsiteX11" fmla="*/ 2816009 w 3848648"/>
                    <a:gd name="connsiteY11" fmla="*/ 1805943 h 3237989"/>
                    <a:gd name="connsiteX12" fmla="*/ 2816009 w 3848648"/>
                    <a:gd name="connsiteY12" fmla="*/ 1894279 h 3237989"/>
                    <a:gd name="connsiteX13" fmla="*/ 2727911 w 3848648"/>
                    <a:gd name="connsiteY13" fmla="*/ 1894279 h 3237989"/>
                    <a:gd name="connsiteX14" fmla="*/ 1120875 w 3848648"/>
                    <a:gd name="connsiteY14" fmla="*/ 1894279 h 3237989"/>
                    <a:gd name="connsiteX15" fmla="*/ 1078345 w 3848648"/>
                    <a:gd name="connsiteY15" fmla="*/ 1909510 h 3237989"/>
                    <a:gd name="connsiteX16" fmla="*/ 1035815 w 3848648"/>
                    <a:gd name="connsiteY16" fmla="*/ 1894279 h 3237989"/>
                    <a:gd name="connsiteX17" fmla="*/ 1035815 w 3848648"/>
                    <a:gd name="connsiteY17" fmla="*/ 1805943 h 3237989"/>
                    <a:gd name="connsiteX18" fmla="*/ 1924773 w 3848648"/>
                    <a:gd name="connsiteY18" fmla="*/ 1438131 h 3237989"/>
                    <a:gd name="connsiteX19" fmla="*/ 1925119 w 3848648"/>
                    <a:gd name="connsiteY19" fmla="*/ 717039 h 3237989"/>
                    <a:gd name="connsiteX20" fmla="*/ 3322424 w 3848648"/>
                    <a:gd name="connsiteY20" fmla="*/ 1298085 h 3237989"/>
                    <a:gd name="connsiteX21" fmla="*/ 3322424 w 3848648"/>
                    <a:gd name="connsiteY21" fmla="*/ 1383265 h 3237989"/>
                    <a:gd name="connsiteX22" fmla="*/ 3237371 w 3848648"/>
                    <a:gd name="connsiteY22" fmla="*/ 1383265 h 3237989"/>
                    <a:gd name="connsiteX23" fmla="*/ 1925119 w 3848648"/>
                    <a:gd name="connsiteY23" fmla="*/ 838724 h 3237989"/>
                    <a:gd name="connsiteX24" fmla="*/ 612866 w 3848648"/>
                    <a:gd name="connsiteY24" fmla="*/ 1383265 h 3237989"/>
                    <a:gd name="connsiteX25" fmla="*/ 570339 w 3848648"/>
                    <a:gd name="connsiteY25" fmla="*/ 1401518 h 3237989"/>
                    <a:gd name="connsiteX26" fmla="*/ 527813 w 3848648"/>
                    <a:gd name="connsiteY26" fmla="*/ 1383265 h 3237989"/>
                    <a:gd name="connsiteX27" fmla="*/ 527813 w 3848648"/>
                    <a:gd name="connsiteY27" fmla="*/ 1298085 h 3237989"/>
                    <a:gd name="connsiteX28" fmla="*/ 1925119 w 3848648"/>
                    <a:gd name="connsiteY28" fmla="*/ 717039 h 3237989"/>
                    <a:gd name="connsiteX29" fmla="*/ 1925843 w 3848648"/>
                    <a:gd name="connsiteY29" fmla="*/ 0 h 3237989"/>
                    <a:gd name="connsiteX30" fmla="*/ 3830423 w 3848648"/>
                    <a:gd name="connsiteY30" fmla="*/ 790191 h 3237989"/>
                    <a:gd name="connsiteX31" fmla="*/ 3830423 w 3848648"/>
                    <a:gd name="connsiteY31" fmla="*/ 875288 h 3237989"/>
                    <a:gd name="connsiteX32" fmla="*/ 3787897 w 3848648"/>
                    <a:gd name="connsiteY32" fmla="*/ 893523 h 3237989"/>
                    <a:gd name="connsiteX33" fmla="*/ 3745370 w 3848648"/>
                    <a:gd name="connsiteY33" fmla="*/ 875288 h 3237989"/>
                    <a:gd name="connsiteX34" fmla="*/ 103278 w 3848648"/>
                    <a:gd name="connsiteY34" fmla="*/ 875288 h 3237989"/>
                    <a:gd name="connsiteX35" fmla="*/ 18225 w 3848648"/>
                    <a:gd name="connsiteY35" fmla="*/ 875288 h 3237989"/>
                    <a:gd name="connsiteX36" fmla="*/ 18225 w 3848648"/>
                    <a:gd name="connsiteY36" fmla="*/ 790191 h 3237989"/>
                    <a:gd name="connsiteX37" fmla="*/ 1925843 w 3848648"/>
                    <a:gd name="connsiteY37" fmla="*/ 0 h 323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48648" h="3237989">
                      <a:moveTo>
                        <a:pt x="1925912" y="2280727"/>
                      </a:moveTo>
                      <a:cubicBezTo>
                        <a:pt x="1694449" y="2280727"/>
                        <a:pt x="1506812" y="2467654"/>
                        <a:pt x="1506812" y="2698240"/>
                      </a:cubicBezTo>
                      <a:cubicBezTo>
                        <a:pt x="1506812" y="2928826"/>
                        <a:pt x="1694449" y="3115753"/>
                        <a:pt x="1925912" y="3115753"/>
                      </a:cubicBezTo>
                      <a:cubicBezTo>
                        <a:pt x="2157375" y="3115753"/>
                        <a:pt x="2345012" y="2928826"/>
                        <a:pt x="2345012" y="2698240"/>
                      </a:cubicBezTo>
                      <a:cubicBezTo>
                        <a:pt x="2345012" y="2467654"/>
                        <a:pt x="2157375" y="2280727"/>
                        <a:pt x="1925912" y="2280727"/>
                      </a:cubicBezTo>
                      <a:close/>
                      <a:moveTo>
                        <a:pt x="1925118" y="2158489"/>
                      </a:moveTo>
                      <a:cubicBezTo>
                        <a:pt x="2223652" y="2158489"/>
                        <a:pt x="2465662" y="2400143"/>
                        <a:pt x="2465662" y="2698239"/>
                      </a:cubicBezTo>
                      <a:cubicBezTo>
                        <a:pt x="2465662" y="2996335"/>
                        <a:pt x="2223652" y="3237989"/>
                        <a:pt x="1925118" y="3237989"/>
                      </a:cubicBezTo>
                      <a:cubicBezTo>
                        <a:pt x="1626584" y="3237989"/>
                        <a:pt x="1384574" y="2996335"/>
                        <a:pt x="1384574" y="2698239"/>
                      </a:cubicBezTo>
                      <a:cubicBezTo>
                        <a:pt x="1384574" y="2400143"/>
                        <a:pt x="1626584" y="2158489"/>
                        <a:pt x="1925118" y="2158489"/>
                      </a:cubicBezTo>
                      <a:close/>
                      <a:moveTo>
                        <a:pt x="1924773" y="1438131"/>
                      </a:moveTo>
                      <a:cubicBezTo>
                        <a:pt x="2247167" y="1438131"/>
                        <a:pt x="2569942" y="1560735"/>
                        <a:pt x="2816009" y="1805943"/>
                      </a:cubicBezTo>
                      <a:cubicBezTo>
                        <a:pt x="2840312" y="1830312"/>
                        <a:pt x="2840312" y="1869911"/>
                        <a:pt x="2816009" y="1894279"/>
                      </a:cubicBezTo>
                      <a:cubicBezTo>
                        <a:pt x="2791706" y="1915602"/>
                        <a:pt x="2752214" y="1915602"/>
                        <a:pt x="2727911" y="1894279"/>
                      </a:cubicBezTo>
                      <a:cubicBezTo>
                        <a:pt x="2287419" y="1449554"/>
                        <a:pt x="1564405" y="1449554"/>
                        <a:pt x="1120875" y="1894279"/>
                      </a:cubicBezTo>
                      <a:cubicBezTo>
                        <a:pt x="1108724" y="1903418"/>
                        <a:pt x="1093534" y="1909510"/>
                        <a:pt x="1078345" y="1909510"/>
                      </a:cubicBezTo>
                      <a:cubicBezTo>
                        <a:pt x="1063156" y="1909510"/>
                        <a:pt x="1047966" y="1903418"/>
                        <a:pt x="1035815" y="1894279"/>
                      </a:cubicBezTo>
                      <a:cubicBezTo>
                        <a:pt x="1011512" y="1869911"/>
                        <a:pt x="1011512" y="1830312"/>
                        <a:pt x="1035815" y="1805943"/>
                      </a:cubicBezTo>
                      <a:cubicBezTo>
                        <a:pt x="1280364" y="1560735"/>
                        <a:pt x="1602379" y="1438131"/>
                        <a:pt x="1924773" y="1438131"/>
                      </a:cubicBezTo>
                      <a:close/>
                      <a:moveTo>
                        <a:pt x="1925119" y="717039"/>
                      </a:moveTo>
                      <a:cubicBezTo>
                        <a:pt x="2453665" y="717039"/>
                        <a:pt x="2948797" y="923904"/>
                        <a:pt x="3322424" y="1298085"/>
                      </a:cubicBezTo>
                      <a:cubicBezTo>
                        <a:pt x="3346725" y="1322422"/>
                        <a:pt x="3346725" y="1358928"/>
                        <a:pt x="3322424" y="1383265"/>
                      </a:cubicBezTo>
                      <a:cubicBezTo>
                        <a:pt x="3298123" y="1407602"/>
                        <a:pt x="3261672" y="1407602"/>
                        <a:pt x="3237371" y="1383265"/>
                      </a:cubicBezTo>
                      <a:cubicBezTo>
                        <a:pt x="2885007" y="1033420"/>
                        <a:pt x="2420251" y="838724"/>
                        <a:pt x="1925119" y="838724"/>
                      </a:cubicBezTo>
                      <a:cubicBezTo>
                        <a:pt x="1429987" y="838724"/>
                        <a:pt x="962192" y="1033420"/>
                        <a:pt x="612866" y="1383265"/>
                      </a:cubicBezTo>
                      <a:cubicBezTo>
                        <a:pt x="600716" y="1395433"/>
                        <a:pt x="585528" y="1401518"/>
                        <a:pt x="570339" y="1401518"/>
                      </a:cubicBezTo>
                      <a:cubicBezTo>
                        <a:pt x="555151" y="1401518"/>
                        <a:pt x="536926" y="1395433"/>
                        <a:pt x="527813" y="1383265"/>
                      </a:cubicBezTo>
                      <a:cubicBezTo>
                        <a:pt x="503512" y="1358928"/>
                        <a:pt x="503512" y="1322422"/>
                        <a:pt x="527813" y="1298085"/>
                      </a:cubicBezTo>
                      <a:cubicBezTo>
                        <a:pt x="898402" y="923904"/>
                        <a:pt x="1396573" y="717039"/>
                        <a:pt x="1925119" y="717039"/>
                      </a:cubicBezTo>
                      <a:close/>
                      <a:moveTo>
                        <a:pt x="1925843" y="0"/>
                      </a:moveTo>
                      <a:cubicBezTo>
                        <a:pt x="2645756" y="0"/>
                        <a:pt x="3323143" y="279606"/>
                        <a:pt x="3830423" y="790191"/>
                      </a:cubicBezTo>
                      <a:cubicBezTo>
                        <a:pt x="3854724" y="814504"/>
                        <a:pt x="3854724" y="850975"/>
                        <a:pt x="3830423" y="875288"/>
                      </a:cubicBezTo>
                      <a:cubicBezTo>
                        <a:pt x="3818273" y="887445"/>
                        <a:pt x="3803085" y="893523"/>
                        <a:pt x="3787897" y="893523"/>
                      </a:cubicBezTo>
                      <a:cubicBezTo>
                        <a:pt x="3772709" y="893523"/>
                        <a:pt x="3757521" y="887445"/>
                        <a:pt x="3745370" y="875288"/>
                      </a:cubicBezTo>
                      <a:cubicBezTo>
                        <a:pt x="2742960" y="-127647"/>
                        <a:pt x="1108726" y="-130686"/>
                        <a:pt x="103278" y="875288"/>
                      </a:cubicBezTo>
                      <a:cubicBezTo>
                        <a:pt x="82014" y="899602"/>
                        <a:pt x="42525" y="899602"/>
                        <a:pt x="18225" y="875288"/>
                      </a:cubicBezTo>
                      <a:cubicBezTo>
                        <a:pt x="-6076" y="850975"/>
                        <a:pt x="-6076" y="811465"/>
                        <a:pt x="18225" y="790191"/>
                      </a:cubicBezTo>
                      <a:cubicBezTo>
                        <a:pt x="528543" y="279606"/>
                        <a:pt x="1205929" y="0"/>
                        <a:pt x="1925843"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7" name="Freeform 406"/>
                <p:cNvSpPr>
                  <a:spLocks noChangeArrowheads="1"/>
                </p:cNvSpPr>
                <p:nvPr/>
              </p:nvSpPr>
              <p:spPr bwMode="auto">
                <a:xfrm rot="16200000" flipH="1">
                  <a:off x="4521449" y="2719841"/>
                  <a:ext cx="706692" cy="594562"/>
                </a:xfrm>
                <a:custGeom>
                  <a:avLst/>
                  <a:gdLst>
                    <a:gd name="connsiteX0" fmla="*/ 1925912 w 3848648"/>
                    <a:gd name="connsiteY0" fmla="*/ 2280727 h 3237989"/>
                    <a:gd name="connsiteX1" fmla="*/ 1506812 w 3848648"/>
                    <a:gd name="connsiteY1" fmla="*/ 2698240 h 3237989"/>
                    <a:gd name="connsiteX2" fmla="*/ 1925912 w 3848648"/>
                    <a:gd name="connsiteY2" fmla="*/ 3115753 h 3237989"/>
                    <a:gd name="connsiteX3" fmla="*/ 2345012 w 3848648"/>
                    <a:gd name="connsiteY3" fmla="*/ 2698240 h 3237989"/>
                    <a:gd name="connsiteX4" fmla="*/ 1925912 w 3848648"/>
                    <a:gd name="connsiteY4" fmla="*/ 2280727 h 3237989"/>
                    <a:gd name="connsiteX5" fmla="*/ 1925118 w 3848648"/>
                    <a:gd name="connsiteY5" fmla="*/ 2158489 h 3237989"/>
                    <a:gd name="connsiteX6" fmla="*/ 2465662 w 3848648"/>
                    <a:gd name="connsiteY6" fmla="*/ 2698239 h 3237989"/>
                    <a:gd name="connsiteX7" fmla="*/ 1925118 w 3848648"/>
                    <a:gd name="connsiteY7" fmla="*/ 3237989 h 3237989"/>
                    <a:gd name="connsiteX8" fmla="*/ 1384574 w 3848648"/>
                    <a:gd name="connsiteY8" fmla="*/ 2698239 h 3237989"/>
                    <a:gd name="connsiteX9" fmla="*/ 1925118 w 3848648"/>
                    <a:gd name="connsiteY9" fmla="*/ 2158489 h 3237989"/>
                    <a:gd name="connsiteX10" fmla="*/ 1924773 w 3848648"/>
                    <a:gd name="connsiteY10" fmla="*/ 1438131 h 3237989"/>
                    <a:gd name="connsiteX11" fmla="*/ 2816009 w 3848648"/>
                    <a:gd name="connsiteY11" fmla="*/ 1805943 h 3237989"/>
                    <a:gd name="connsiteX12" fmla="*/ 2816009 w 3848648"/>
                    <a:gd name="connsiteY12" fmla="*/ 1894279 h 3237989"/>
                    <a:gd name="connsiteX13" fmla="*/ 2727911 w 3848648"/>
                    <a:gd name="connsiteY13" fmla="*/ 1894279 h 3237989"/>
                    <a:gd name="connsiteX14" fmla="*/ 1120875 w 3848648"/>
                    <a:gd name="connsiteY14" fmla="*/ 1894279 h 3237989"/>
                    <a:gd name="connsiteX15" fmla="*/ 1078345 w 3848648"/>
                    <a:gd name="connsiteY15" fmla="*/ 1909510 h 3237989"/>
                    <a:gd name="connsiteX16" fmla="*/ 1035815 w 3848648"/>
                    <a:gd name="connsiteY16" fmla="*/ 1894279 h 3237989"/>
                    <a:gd name="connsiteX17" fmla="*/ 1035815 w 3848648"/>
                    <a:gd name="connsiteY17" fmla="*/ 1805943 h 3237989"/>
                    <a:gd name="connsiteX18" fmla="*/ 1924773 w 3848648"/>
                    <a:gd name="connsiteY18" fmla="*/ 1438131 h 3237989"/>
                    <a:gd name="connsiteX19" fmla="*/ 1925119 w 3848648"/>
                    <a:gd name="connsiteY19" fmla="*/ 717039 h 3237989"/>
                    <a:gd name="connsiteX20" fmla="*/ 3322424 w 3848648"/>
                    <a:gd name="connsiteY20" fmla="*/ 1298085 h 3237989"/>
                    <a:gd name="connsiteX21" fmla="*/ 3322424 w 3848648"/>
                    <a:gd name="connsiteY21" fmla="*/ 1383265 h 3237989"/>
                    <a:gd name="connsiteX22" fmla="*/ 3237371 w 3848648"/>
                    <a:gd name="connsiteY22" fmla="*/ 1383265 h 3237989"/>
                    <a:gd name="connsiteX23" fmla="*/ 1925119 w 3848648"/>
                    <a:gd name="connsiteY23" fmla="*/ 838724 h 3237989"/>
                    <a:gd name="connsiteX24" fmla="*/ 612866 w 3848648"/>
                    <a:gd name="connsiteY24" fmla="*/ 1383265 h 3237989"/>
                    <a:gd name="connsiteX25" fmla="*/ 570339 w 3848648"/>
                    <a:gd name="connsiteY25" fmla="*/ 1401518 h 3237989"/>
                    <a:gd name="connsiteX26" fmla="*/ 527813 w 3848648"/>
                    <a:gd name="connsiteY26" fmla="*/ 1383265 h 3237989"/>
                    <a:gd name="connsiteX27" fmla="*/ 527813 w 3848648"/>
                    <a:gd name="connsiteY27" fmla="*/ 1298085 h 3237989"/>
                    <a:gd name="connsiteX28" fmla="*/ 1925119 w 3848648"/>
                    <a:gd name="connsiteY28" fmla="*/ 717039 h 3237989"/>
                    <a:gd name="connsiteX29" fmla="*/ 1925843 w 3848648"/>
                    <a:gd name="connsiteY29" fmla="*/ 0 h 3237989"/>
                    <a:gd name="connsiteX30" fmla="*/ 3830423 w 3848648"/>
                    <a:gd name="connsiteY30" fmla="*/ 790191 h 3237989"/>
                    <a:gd name="connsiteX31" fmla="*/ 3830423 w 3848648"/>
                    <a:gd name="connsiteY31" fmla="*/ 875288 h 3237989"/>
                    <a:gd name="connsiteX32" fmla="*/ 3787897 w 3848648"/>
                    <a:gd name="connsiteY32" fmla="*/ 893523 h 3237989"/>
                    <a:gd name="connsiteX33" fmla="*/ 3745370 w 3848648"/>
                    <a:gd name="connsiteY33" fmla="*/ 875288 h 3237989"/>
                    <a:gd name="connsiteX34" fmla="*/ 103278 w 3848648"/>
                    <a:gd name="connsiteY34" fmla="*/ 875288 h 3237989"/>
                    <a:gd name="connsiteX35" fmla="*/ 18225 w 3848648"/>
                    <a:gd name="connsiteY35" fmla="*/ 875288 h 3237989"/>
                    <a:gd name="connsiteX36" fmla="*/ 18225 w 3848648"/>
                    <a:gd name="connsiteY36" fmla="*/ 790191 h 3237989"/>
                    <a:gd name="connsiteX37" fmla="*/ 1925843 w 3848648"/>
                    <a:gd name="connsiteY37" fmla="*/ 0 h 323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48648" h="3237989">
                      <a:moveTo>
                        <a:pt x="1925912" y="2280727"/>
                      </a:moveTo>
                      <a:cubicBezTo>
                        <a:pt x="1694449" y="2280727"/>
                        <a:pt x="1506812" y="2467654"/>
                        <a:pt x="1506812" y="2698240"/>
                      </a:cubicBezTo>
                      <a:cubicBezTo>
                        <a:pt x="1506812" y="2928826"/>
                        <a:pt x="1694449" y="3115753"/>
                        <a:pt x="1925912" y="3115753"/>
                      </a:cubicBezTo>
                      <a:cubicBezTo>
                        <a:pt x="2157375" y="3115753"/>
                        <a:pt x="2345012" y="2928826"/>
                        <a:pt x="2345012" y="2698240"/>
                      </a:cubicBezTo>
                      <a:cubicBezTo>
                        <a:pt x="2345012" y="2467654"/>
                        <a:pt x="2157375" y="2280727"/>
                        <a:pt x="1925912" y="2280727"/>
                      </a:cubicBezTo>
                      <a:close/>
                      <a:moveTo>
                        <a:pt x="1925118" y="2158489"/>
                      </a:moveTo>
                      <a:cubicBezTo>
                        <a:pt x="2223652" y="2158489"/>
                        <a:pt x="2465662" y="2400143"/>
                        <a:pt x="2465662" y="2698239"/>
                      </a:cubicBezTo>
                      <a:cubicBezTo>
                        <a:pt x="2465662" y="2996335"/>
                        <a:pt x="2223652" y="3237989"/>
                        <a:pt x="1925118" y="3237989"/>
                      </a:cubicBezTo>
                      <a:cubicBezTo>
                        <a:pt x="1626584" y="3237989"/>
                        <a:pt x="1384574" y="2996335"/>
                        <a:pt x="1384574" y="2698239"/>
                      </a:cubicBezTo>
                      <a:cubicBezTo>
                        <a:pt x="1384574" y="2400143"/>
                        <a:pt x="1626584" y="2158489"/>
                        <a:pt x="1925118" y="2158489"/>
                      </a:cubicBezTo>
                      <a:close/>
                      <a:moveTo>
                        <a:pt x="1924773" y="1438131"/>
                      </a:moveTo>
                      <a:cubicBezTo>
                        <a:pt x="2247167" y="1438131"/>
                        <a:pt x="2569942" y="1560735"/>
                        <a:pt x="2816009" y="1805943"/>
                      </a:cubicBezTo>
                      <a:cubicBezTo>
                        <a:pt x="2840312" y="1830312"/>
                        <a:pt x="2840312" y="1869911"/>
                        <a:pt x="2816009" y="1894279"/>
                      </a:cubicBezTo>
                      <a:cubicBezTo>
                        <a:pt x="2791706" y="1915602"/>
                        <a:pt x="2752214" y="1915602"/>
                        <a:pt x="2727911" y="1894279"/>
                      </a:cubicBezTo>
                      <a:cubicBezTo>
                        <a:pt x="2287419" y="1449554"/>
                        <a:pt x="1564405" y="1449554"/>
                        <a:pt x="1120875" y="1894279"/>
                      </a:cubicBezTo>
                      <a:cubicBezTo>
                        <a:pt x="1108724" y="1903418"/>
                        <a:pt x="1093534" y="1909510"/>
                        <a:pt x="1078345" y="1909510"/>
                      </a:cubicBezTo>
                      <a:cubicBezTo>
                        <a:pt x="1063156" y="1909510"/>
                        <a:pt x="1047966" y="1903418"/>
                        <a:pt x="1035815" y="1894279"/>
                      </a:cubicBezTo>
                      <a:cubicBezTo>
                        <a:pt x="1011512" y="1869911"/>
                        <a:pt x="1011512" y="1830312"/>
                        <a:pt x="1035815" y="1805943"/>
                      </a:cubicBezTo>
                      <a:cubicBezTo>
                        <a:pt x="1280364" y="1560735"/>
                        <a:pt x="1602379" y="1438131"/>
                        <a:pt x="1924773" y="1438131"/>
                      </a:cubicBezTo>
                      <a:close/>
                      <a:moveTo>
                        <a:pt x="1925119" y="717039"/>
                      </a:moveTo>
                      <a:cubicBezTo>
                        <a:pt x="2453665" y="717039"/>
                        <a:pt x="2948797" y="923904"/>
                        <a:pt x="3322424" y="1298085"/>
                      </a:cubicBezTo>
                      <a:cubicBezTo>
                        <a:pt x="3346725" y="1322422"/>
                        <a:pt x="3346725" y="1358928"/>
                        <a:pt x="3322424" y="1383265"/>
                      </a:cubicBezTo>
                      <a:cubicBezTo>
                        <a:pt x="3298123" y="1407602"/>
                        <a:pt x="3261672" y="1407602"/>
                        <a:pt x="3237371" y="1383265"/>
                      </a:cubicBezTo>
                      <a:cubicBezTo>
                        <a:pt x="2885007" y="1033420"/>
                        <a:pt x="2420251" y="838724"/>
                        <a:pt x="1925119" y="838724"/>
                      </a:cubicBezTo>
                      <a:cubicBezTo>
                        <a:pt x="1429987" y="838724"/>
                        <a:pt x="962192" y="1033420"/>
                        <a:pt x="612866" y="1383265"/>
                      </a:cubicBezTo>
                      <a:cubicBezTo>
                        <a:pt x="600716" y="1395433"/>
                        <a:pt x="585528" y="1401518"/>
                        <a:pt x="570339" y="1401518"/>
                      </a:cubicBezTo>
                      <a:cubicBezTo>
                        <a:pt x="555151" y="1401518"/>
                        <a:pt x="536926" y="1395433"/>
                        <a:pt x="527813" y="1383265"/>
                      </a:cubicBezTo>
                      <a:cubicBezTo>
                        <a:pt x="503512" y="1358928"/>
                        <a:pt x="503512" y="1322422"/>
                        <a:pt x="527813" y="1298085"/>
                      </a:cubicBezTo>
                      <a:cubicBezTo>
                        <a:pt x="898402" y="923904"/>
                        <a:pt x="1396573" y="717039"/>
                        <a:pt x="1925119" y="717039"/>
                      </a:cubicBezTo>
                      <a:close/>
                      <a:moveTo>
                        <a:pt x="1925843" y="0"/>
                      </a:moveTo>
                      <a:cubicBezTo>
                        <a:pt x="2645756" y="0"/>
                        <a:pt x="3323143" y="279606"/>
                        <a:pt x="3830423" y="790191"/>
                      </a:cubicBezTo>
                      <a:cubicBezTo>
                        <a:pt x="3854724" y="814504"/>
                        <a:pt x="3854724" y="850975"/>
                        <a:pt x="3830423" y="875288"/>
                      </a:cubicBezTo>
                      <a:cubicBezTo>
                        <a:pt x="3818273" y="887445"/>
                        <a:pt x="3803085" y="893523"/>
                        <a:pt x="3787897" y="893523"/>
                      </a:cubicBezTo>
                      <a:cubicBezTo>
                        <a:pt x="3772709" y="893523"/>
                        <a:pt x="3757521" y="887445"/>
                        <a:pt x="3745370" y="875288"/>
                      </a:cubicBezTo>
                      <a:cubicBezTo>
                        <a:pt x="2742960" y="-127647"/>
                        <a:pt x="1108726" y="-130686"/>
                        <a:pt x="103278" y="875288"/>
                      </a:cubicBezTo>
                      <a:cubicBezTo>
                        <a:pt x="82014" y="899602"/>
                        <a:pt x="42525" y="899602"/>
                        <a:pt x="18225" y="875288"/>
                      </a:cubicBezTo>
                      <a:cubicBezTo>
                        <a:pt x="-6076" y="850975"/>
                        <a:pt x="-6076" y="811465"/>
                        <a:pt x="18225" y="790191"/>
                      </a:cubicBezTo>
                      <a:cubicBezTo>
                        <a:pt x="528543" y="279606"/>
                        <a:pt x="1205929" y="0"/>
                        <a:pt x="1925843"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sp>
          <p:nvSpPr>
            <p:cNvPr id="408" name="Freeform 407"/>
            <p:cNvSpPr>
              <a:spLocks/>
            </p:cNvSpPr>
            <p:nvPr/>
          </p:nvSpPr>
          <p:spPr bwMode="auto">
            <a:xfrm>
              <a:off x="4602268" y="2704331"/>
              <a:ext cx="419729" cy="238955"/>
            </a:xfrm>
            <a:custGeom>
              <a:avLst/>
              <a:gdLst>
                <a:gd name="connsiteX0" fmla="*/ 1624088 w 3848100"/>
                <a:gd name="connsiteY0" fmla="*/ 122238 h 2190750"/>
                <a:gd name="connsiteX1" fmla="*/ 861739 w 3848100"/>
                <a:gd name="connsiteY1" fmla="*/ 624012 h 2190750"/>
                <a:gd name="connsiteX2" fmla="*/ 816180 w 3848100"/>
                <a:gd name="connsiteY2" fmla="*/ 769983 h 2190750"/>
                <a:gd name="connsiteX3" fmla="*/ 755435 w 3848100"/>
                <a:gd name="connsiteY3" fmla="*/ 812558 h 2190750"/>
                <a:gd name="connsiteX4" fmla="*/ 749360 w 3848100"/>
                <a:gd name="connsiteY4" fmla="*/ 812558 h 2190750"/>
                <a:gd name="connsiteX5" fmla="*/ 120650 w 3848100"/>
                <a:gd name="connsiteY5" fmla="*/ 1442056 h 2190750"/>
                <a:gd name="connsiteX6" fmla="*/ 685578 w 3848100"/>
                <a:gd name="connsiteY6" fmla="*/ 2065472 h 2190750"/>
                <a:gd name="connsiteX7" fmla="*/ 740249 w 3848100"/>
                <a:gd name="connsiteY7" fmla="*/ 2068513 h 2190750"/>
                <a:gd name="connsiteX8" fmla="*/ 746323 w 3848100"/>
                <a:gd name="connsiteY8" fmla="*/ 2068513 h 2190750"/>
                <a:gd name="connsiteX9" fmla="*/ 3343170 w 3848100"/>
                <a:gd name="connsiteY9" fmla="*/ 2068513 h 2190750"/>
                <a:gd name="connsiteX10" fmla="*/ 3349244 w 3848100"/>
                <a:gd name="connsiteY10" fmla="*/ 2068513 h 2190750"/>
                <a:gd name="connsiteX11" fmla="*/ 3422138 w 3848100"/>
                <a:gd name="connsiteY11" fmla="*/ 2062431 h 2190750"/>
                <a:gd name="connsiteX12" fmla="*/ 3725863 w 3848100"/>
                <a:gd name="connsiteY12" fmla="*/ 1685340 h 2190750"/>
                <a:gd name="connsiteX13" fmla="*/ 3422138 w 3848100"/>
                <a:gd name="connsiteY13" fmla="*/ 1311291 h 2190750"/>
                <a:gd name="connsiteX14" fmla="*/ 3382654 w 3848100"/>
                <a:gd name="connsiteY14" fmla="*/ 1308250 h 2190750"/>
                <a:gd name="connsiteX15" fmla="*/ 3327984 w 3848100"/>
                <a:gd name="connsiteY15" fmla="*/ 1253511 h 2190750"/>
                <a:gd name="connsiteX16" fmla="*/ 3324946 w 3848100"/>
                <a:gd name="connsiteY16" fmla="*/ 1207895 h 2190750"/>
                <a:gd name="connsiteX17" fmla="*/ 2720534 w 3848100"/>
                <a:gd name="connsiteY17" fmla="*/ 718285 h 2190750"/>
                <a:gd name="connsiteX18" fmla="*/ 2538299 w 3848100"/>
                <a:gd name="connsiteY18" fmla="*/ 745654 h 2190750"/>
                <a:gd name="connsiteX19" fmla="*/ 2495778 w 3848100"/>
                <a:gd name="connsiteY19" fmla="*/ 760860 h 2190750"/>
                <a:gd name="connsiteX20" fmla="*/ 2447182 w 3848100"/>
                <a:gd name="connsiteY20" fmla="*/ 760860 h 2190750"/>
                <a:gd name="connsiteX21" fmla="*/ 2416809 w 3848100"/>
                <a:gd name="connsiteY21" fmla="*/ 724367 h 2190750"/>
                <a:gd name="connsiteX22" fmla="*/ 2386437 w 3848100"/>
                <a:gd name="connsiteY22" fmla="*/ 624012 h 2190750"/>
                <a:gd name="connsiteX23" fmla="*/ 1624088 w 3848100"/>
                <a:gd name="connsiteY23" fmla="*/ 122238 h 2190750"/>
                <a:gd name="connsiteX24" fmla="*/ 1624889 w 3848100"/>
                <a:gd name="connsiteY24" fmla="*/ 0 h 2190750"/>
                <a:gd name="connsiteX25" fmla="*/ 2499595 w 3848100"/>
                <a:gd name="connsiteY25" fmla="*/ 581157 h 2190750"/>
                <a:gd name="connsiteX26" fmla="*/ 2499595 w 3848100"/>
                <a:gd name="connsiteY26" fmla="*/ 587243 h 2190750"/>
                <a:gd name="connsiteX27" fmla="*/ 2514781 w 3848100"/>
                <a:gd name="connsiteY27" fmla="*/ 626798 h 2190750"/>
                <a:gd name="connsiteX28" fmla="*/ 2721308 w 3848100"/>
                <a:gd name="connsiteY28" fmla="*/ 596371 h 2190750"/>
                <a:gd name="connsiteX29" fmla="*/ 3444156 w 3848100"/>
                <a:gd name="connsiteY29" fmla="*/ 1186656 h 2190750"/>
                <a:gd name="connsiteX30" fmla="*/ 3447193 w 3848100"/>
                <a:gd name="connsiteY30" fmla="*/ 1192742 h 2190750"/>
                <a:gd name="connsiteX31" fmla="*/ 3848100 w 3848100"/>
                <a:gd name="connsiteY31" fmla="*/ 1685661 h 2190750"/>
                <a:gd name="connsiteX32" fmla="*/ 3444156 w 3848100"/>
                <a:gd name="connsiteY32" fmla="*/ 2181622 h 2190750"/>
                <a:gd name="connsiteX33" fmla="*/ 3438082 w 3848100"/>
                <a:gd name="connsiteY33" fmla="*/ 2181622 h 2190750"/>
                <a:gd name="connsiteX34" fmla="*/ 3374301 w 3848100"/>
                <a:gd name="connsiteY34" fmla="*/ 2187707 h 2190750"/>
                <a:gd name="connsiteX35" fmla="*/ 3356078 w 3848100"/>
                <a:gd name="connsiteY35" fmla="*/ 2190750 h 2190750"/>
                <a:gd name="connsiteX36" fmla="*/ 738034 w 3848100"/>
                <a:gd name="connsiteY36" fmla="*/ 2190750 h 2190750"/>
                <a:gd name="connsiteX37" fmla="*/ 722848 w 3848100"/>
                <a:gd name="connsiteY37" fmla="*/ 2190750 h 2190750"/>
                <a:gd name="connsiteX38" fmla="*/ 677290 w 3848100"/>
                <a:gd name="connsiteY38" fmla="*/ 2187707 h 2190750"/>
                <a:gd name="connsiteX39" fmla="*/ 674253 w 3848100"/>
                <a:gd name="connsiteY39" fmla="*/ 2187707 h 2190750"/>
                <a:gd name="connsiteX40" fmla="*/ 0 w 3848100"/>
                <a:gd name="connsiteY40" fmla="*/ 1442244 h 2190750"/>
                <a:gd name="connsiteX41" fmla="*/ 716773 w 3848100"/>
                <a:gd name="connsiteY41" fmla="*/ 690695 h 2190750"/>
                <a:gd name="connsiteX42" fmla="*/ 747145 w 3848100"/>
                <a:gd name="connsiteY42" fmla="*/ 587243 h 2190750"/>
                <a:gd name="connsiteX43" fmla="*/ 750182 w 3848100"/>
                <a:gd name="connsiteY43" fmla="*/ 581157 h 2190750"/>
                <a:gd name="connsiteX44" fmla="*/ 1624889 w 3848100"/>
                <a:gd name="connsiteY44" fmla="*/ 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848100" h="2190750">
                  <a:moveTo>
                    <a:pt x="1624088" y="122238"/>
                  </a:moveTo>
                  <a:cubicBezTo>
                    <a:pt x="1293028" y="122238"/>
                    <a:pt x="992340" y="319907"/>
                    <a:pt x="861739" y="624012"/>
                  </a:cubicBezTo>
                  <a:cubicBezTo>
                    <a:pt x="816180" y="769983"/>
                    <a:pt x="816180" y="769983"/>
                    <a:pt x="816180" y="769983"/>
                  </a:cubicBezTo>
                  <a:cubicBezTo>
                    <a:pt x="810105" y="797352"/>
                    <a:pt x="782770" y="815599"/>
                    <a:pt x="755435" y="812558"/>
                  </a:cubicBezTo>
                  <a:cubicBezTo>
                    <a:pt x="749360" y="812558"/>
                    <a:pt x="749360" y="812558"/>
                    <a:pt x="749360" y="812558"/>
                  </a:cubicBezTo>
                  <a:cubicBezTo>
                    <a:pt x="403114" y="812558"/>
                    <a:pt x="120650" y="1095376"/>
                    <a:pt x="120650" y="1442056"/>
                  </a:cubicBezTo>
                  <a:cubicBezTo>
                    <a:pt x="120650" y="1764408"/>
                    <a:pt x="363630" y="2032021"/>
                    <a:pt x="685578" y="2065472"/>
                  </a:cubicBezTo>
                  <a:cubicBezTo>
                    <a:pt x="740249" y="2068513"/>
                    <a:pt x="740249" y="2068513"/>
                    <a:pt x="740249" y="2068513"/>
                  </a:cubicBezTo>
                  <a:cubicBezTo>
                    <a:pt x="740249" y="2068513"/>
                    <a:pt x="743286" y="2068513"/>
                    <a:pt x="746323" y="2068513"/>
                  </a:cubicBezTo>
                  <a:cubicBezTo>
                    <a:pt x="3343170" y="2068513"/>
                    <a:pt x="3343170" y="2068513"/>
                    <a:pt x="3343170" y="2068513"/>
                  </a:cubicBezTo>
                  <a:cubicBezTo>
                    <a:pt x="3346207" y="2068513"/>
                    <a:pt x="3346207" y="2068513"/>
                    <a:pt x="3349244" y="2068513"/>
                  </a:cubicBezTo>
                  <a:cubicBezTo>
                    <a:pt x="3422138" y="2062431"/>
                    <a:pt x="3422138" y="2062431"/>
                    <a:pt x="3422138" y="2062431"/>
                  </a:cubicBezTo>
                  <a:cubicBezTo>
                    <a:pt x="3598299" y="2022897"/>
                    <a:pt x="3725863" y="1867804"/>
                    <a:pt x="3725863" y="1685340"/>
                  </a:cubicBezTo>
                  <a:cubicBezTo>
                    <a:pt x="3725863" y="1505918"/>
                    <a:pt x="3598299" y="1350824"/>
                    <a:pt x="3422138" y="1311291"/>
                  </a:cubicBezTo>
                  <a:cubicBezTo>
                    <a:pt x="3382654" y="1308250"/>
                    <a:pt x="3382654" y="1308250"/>
                    <a:pt x="3382654" y="1308250"/>
                  </a:cubicBezTo>
                  <a:cubicBezTo>
                    <a:pt x="3355319" y="1305208"/>
                    <a:pt x="3331021" y="1283921"/>
                    <a:pt x="3327984" y="1253511"/>
                  </a:cubicBezTo>
                  <a:cubicBezTo>
                    <a:pt x="3324946" y="1207895"/>
                    <a:pt x="3324946" y="1207895"/>
                    <a:pt x="3324946" y="1207895"/>
                  </a:cubicBezTo>
                  <a:cubicBezTo>
                    <a:pt x="3264201" y="925077"/>
                    <a:pt x="3012110" y="718285"/>
                    <a:pt x="2720534" y="718285"/>
                  </a:cubicBezTo>
                  <a:cubicBezTo>
                    <a:pt x="2659789" y="718285"/>
                    <a:pt x="2596007" y="727408"/>
                    <a:pt x="2538299" y="745654"/>
                  </a:cubicBezTo>
                  <a:cubicBezTo>
                    <a:pt x="2495778" y="760860"/>
                    <a:pt x="2495778" y="760860"/>
                    <a:pt x="2495778" y="760860"/>
                  </a:cubicBezTo>
                  <a:cubicBezTo>
                    <a:pt x="2477554" y="766942"/>
                    <a:pt x="2462368" y="766942"/>
                    <a:pt x="2447182" y="760860"/>
                  </a:cubicBezTo>
                  <a:cubicBezTo>
                    <a:pt x="2431996" y="751736"/>
                    <a:pt x="2419847" y="739572"/>
                    <a:pt x="2416809" y="724367"/>
                  </a:cubicBezTo>
                  <a:cubicBezTo>
                    <a:pt x="2386437" y="624012"/>
                    <a:pt x="2386437" y="624012"/>
                    <a:pt x="2386437" y="624012"/>
                  </a:cubicBezTo>
                  <a:cubicBezTo>
                    <a:pt x="2255835" y="319907"/>
                    <a:pt x="1955148" y="122238"/>
                    <a:pt x="1624088" y="122238"/>
                  </a:cubicBezTo>
                  <a:close/>
                  <a:moveTo>
                    <a:pt x="1624889" y="0"/>
                  </a:moveTo>
                  <a:cubicBezTo>
                    <a:pt x="2007572" y="0"/>
                    <a:pt x="2350773" y="228203"/>
                    <a:pt x="2499595" y="581157"/>
                  </a:cubicBezTo>
                  <a:cubicBezTo>
                    <a:pt x="2499595" y="581157"/>
                    <a:pt x="2499595" y="584200"/>
                    <a:pt x="2499595" y="587243"/>
                  </a:cubicBezTo>
                  <a:cubicBezTo>
                    <a:pt x="2514781" y="626798"/>
                    <a:pt x="2514781" y="626798"/>
                    <a:pt x="2514781" y="626798"/>
                  </a:cubicBezTo>
                  <a:cubicBezTo>
                    <a:pt x="2581598" y="605499"/>
                    <a:pt x="2651453" y="596371"/>
                    <a:pt x="2721308" y="596371"/>
                  </a:cubicBezTo>
                  <a:cubicBezTo>
                    <a:pt x="3070583" y="596371"/>
                    <a:pt x="3374301" y="845873"/>
                    <a:pt x="3444156" y="1186656"/>
                  </a:cubicBezTo>
                  <a:cubicBezTo>
                    <a:pt x="3444156" y="1186656"/>
                    <a:pt x="3447193" y="1189699"/>
                    <a:pt x="3447193" y="1192742"/>
                  </a:cubicBezTo>
                  <a:cubicBezTo>
                    <a:pt x="3678018" y="1241425"/>
                    <a:pt x="3848100" y="1448329"/>
                    <a:pt x="3848100" y="1685661"/>
                  </a:cubicBezTo>
                  <a:cubicBezTo>
                    <a:pt x="3848100" y="1926035"/>
                    <a:pt x="3678018" y="2132939"/>
                    <a:pt x="3444156" y="2181622"/>
                  </a:cubicBezTo>
                  <a:cubicBezTo>
                    <a:pt x="3444156" y="2181622"/>
                    <a:pt x="3441119" y="2181622"/>
                    <a:pt x="3438082" y="2181622"/>
                  </a:cubicBezTo>
                  <a:cubicBezTo>
                    <a:pt x="3374301" y="2187707"/>
                    <a:pt x="3374301" y="2187707"/>
                    <a:pt x="3374301" y="2187707"/>
                  </a:cubicBezTo>
                  <a:cubicBezTo>
                    <a:pt x="3368227" y="2190750"/>
                    <a:pt x="3362152" y="2190750"/>
                    <a:pt x="3356078" y="2190750"/>
                  </a:cubicBezTo>
                  <a:cubicBezTo>
                    <a:pt x="738034" y="2190750"/>
                    <a:pt x="738034" y="2190750"/>
                    <a:pt x="738034" y="2190750"/>
                  </a:cubicBezTo>
                  <a:cubicBezTo>
                    <a:pt x="731959" y="2190750"/>
                    <a:pt x="728922" y="2190750"/>
                    <a:pt x="722848" y="2190750"/>
                  </a:cubicBezTo>
                  <a:cubicBezTo>
                    <a:pt x="677290" y="2187707"/>
                    <a:pt x="677290" y="2187707"/>
                    <a:pt x="677290" y="2187707"/>
                  </a:cubicBezTo>
                  <a:cubicBezTo>
                    <a:pt x="677290" y="2187707"/>
                    <a:pt x="677290" y="2187707"/>
                    <a:pt x="674253" y="2187707"/>
                  </a:cubicBezTo>
                  <a:cubicBezTo>
                    <a:pt x="291569" y="2148152"/>
                    <a:pt x="0" y="1828668"/>
                    <a:pt x="0" y="1442244"/>
                  </a:cubicBezTo>
                  <a:cubicBezTo>
                    <a:pt x="0" y="1040606"/>
                    <a:pt x="318904" y="711994"/>
                    <a:pt x="716773" y="690695"/>
                  </a:cubicBezTo>
                  <a:cubicBezTo>
                    <a:pt x="747145" y="587243"/>
                    <a:pt x="747145" y="587243"/>
                    <a:pt x="747145" y="587243"/>
                  </a:cubicBezTo>
                  <a:cubicBezTo>
                    <a:pt x="750182" y="584200"/>
                    <a:pt x="750182" y="581157"/>
                    <a:pt x="750182" y="581157"/>
                  </a:cubicBezTo>
                  <a:cubicBezTo>
                    <a:pt x="899004" y="228203"/>
                    <a:pt x="1242205" y="0"/>
                    <a:pt x="1624889"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9" name="Freeform 408"/>
            <p:cNvSpPr>
              <a:spLocks/>
            </p:cNvSpPr>
            <p:nvPr/>
          </p:nvSpPr>
          <p:spPr bwMode="auto">
            <a:xfrm>
              <a:off x="5698628" y="1913756"/>
              <a:ext cx="609187" cy="346815"/>
            </a:xfrm>
            <a:custGeom>
              <a:avLst/>
              <a:gdLst>
                <a:gd name="connsiteX0" fmla="*/ 257234 w 609187"/>
                <a:gd name="connsiteY0" fmla="*/ 0 h 346815"/>
                <a:gd name="connsiteX1" fmla="*/ 395707 w 609187"/>
                <a:gd name="connsiteY1" fmla="*/ 92002 h 346815"/>
                <a:gd name="connsiteX2" fmla="*/ 395707 w 609187"/>
                <a:gd name="connsiteY2" fmla="*/ 92966 h 346815"/>
                <a:gd name="connsiteX3" fmla="*/ 398111 w 609187"/>
                <a:gd name="connsiteY3" fmla="*/ 99228 h 346815"/>
                <a:gd name="connsiteX4" fmla="*/ 430806 w 609187"/>
                <a:gd name="connsiteY4" fmla="*/ 94411 h 346815"/>
                <a:gd name="connsiteX5" fmla="*/ 545239 w 609187"/>
                <a:gd name="connsiteY5" fmla="*/ 187858 h 346815"/>
                <a:gd name="connsiteX6" fmla="*/ 545720 w 609187"/>
                <a:gd name="connsiteY6" fmla="*/ 188822 h 346815"/>
                <a:gd name="connsiteX7" fmla="*/ 609187 w 609187"/>
                <a:gd name="connsiteY7" fmla="*/ 266855 h 346815"/>
                <a:gd name="connsiteX8" fmla="*/ 545239 w 609187"/>
                <a:gd name="connsiteY8" fmla="*/ 345370 h 346815"/>
                <a:gd name="connsiteX9" fmla="*/ 544278 w 609187"/>
                <a:gd name="connsiteY9" fmla="*/ 345370 h 346815"/>
                <a:gd name="connsiteX10" fmla="*/ 534181 w 609187"/>
                <a:gd name="connsiteY10" fmla="*/ 346333 h 346815"/>
                <a:gd name="connsiteX11" fmla="*/ 531296 w 609187"/>
                <a:gd name="connsiteY11" fmla="*/ 346815 h 346815"/>
                <a:gd name="connsiteX12" fmla="*/ 476414 w 609187"/>
                <a:gd name="connsiteY12" fmla="*/ 346815 h 346815"/>
                <a:gd name="connsiteX13" fmla="*/ 476414 w 609187"/>
                <a:gd name="connsiteY13" fmla="*/ 327464 h 346815"/>
                <a:gd name="connsiteX14" fmla="*/ 477864 w 609187"/>
                <a:gd name="connsiteY14" fmla="*/ 327464 h 346815"/>
                <a:gd name="connsiteX15" fmla="*/ 529252 w 609187"/>
                <a:gd name="connsiteY15" fmla="*/ 327464 h 346815"/>
                <a:gd name="connsiteX16" fmla="*/ 530214 w 609187"/>
                <a:gd name="connsiteY16" fmla="*/ 327464 h 346815"/>
                <a:gd name="connsiteX17" fmla="*/ 541754 w 609187"/>
                <a:gd name="connsiteY17" fmla="*/ 326501 h 346815"/>
                <a:gd name="connsiteX18" fmla="*/ 589836 w 609187"/>
                <a:gd name="connsiteY18" fmla="*/ 266804 h 346815"/>
                <a:gd name="connsiteX19" fmla="*/ 541754 w 609187"/>
                <a:gd name="connsiteY19" fmla="*/ 207589 h 346815"/>
                <a:gd name="connsiteX20" fmla="*/ 535503 w 609187"/>
                <a:gd name="connsiteY20" fmla="*/ 207108 h 346815"/>
                <a:gd name="connsiteX21" fmla="*/ 526848 w 609187"/>
                <a:gd name="connsiteY21" fmla="*/ 198442 h 346815"/>
                <a:gd name="connsiteX22" fmla="*/ 526367 w 609187"/>
                <a:gd name="connsiteY22" fmla="*/ 191220 h 346815"/>
                <a:gd name="connsiteX23" fmla="*/ 430684 w 609187"/>
                <a:gd name="connsiteY23" fmla="*/ 113711 h 346815"/>
                <a:gd name="connsiteX24" fmla="*/ 401834 w 609187"/>
                <a:gd name="connsiteY24" fmla="*/ 118044 h 346815"/>
                <a:gd name="connsiteX25" fmla="*/ 395103 w 609187"/>
                <a:gd name="connsiteY25" fmla="*/ 120451 h 346815"/>
                <a:gd name="connsiteX26" fmla="*/ 387410 w 609187"/>
                <a:gd name="connsiteY26" fmla="*/ 120451 h 346815"/>
                <a:gd name="connsiteX27" fmla="*/ 382602 w 609187"/>
                <a:gd name="connsiteY27" fmla="*/ 114674 h 346815"/>
                <a:gd name="connsiteX28" fmla="*/ 377793 w 609187"/>
                <a:gd name="connsiteY28" fmla="*/ 98787 h 346815"/>
                <a:gd name="connsiteX29" fmla="*/ 257107 w 609187"/>
                <a:gd name="connsiteY29" fmla="*/ 19351 h 346815"/>
                <a:gd name="connsiteX30" fmla="*/ 136421 w 609187"/>
                <a:gd name="connsiteY30" fmla="*/ 98787 h 346815"/>
                <a:gd name="connsiteX31" fmla="*/ 129208 w 609187"/>
                <a:gd name="connsiteY31" fmla="*/ 121895 h 346815"/>
                <a:gd name="connsiteX32" fmla="*/ 119592 w 609187"/>
                <a:gd name="connsiteY32" fmla="*/ 128635 h 346815"/>
                <a:gd name="connsiteX33" fmla="*/ 118630 w 609187"/>
                <a:gd name="connsiteY33" fmla="*/ 128635 h 346815"/>
                <a:gd name="connsiteX34" fmla="*/ 19100 w 609187"/>
                <a:gd name="connsiteY34" fmla="*/ 228290 h 346815"/>
                <a:gd name="connsiteX35" fmla="*/ 108533 w 609187"/>
                <a:gd name="connsiteY35" fmla="*/ 326983 h 346815"/>
                <a:gd name="connsiteX36" fmla="*/ 117188 w 609187"/>
                <a:gd name="connsiteY36" fmla="*/ 327464 h 346815"/>
                <a:gd name="connsiteX37" fmla="*/ 118149 w 609187"/>
                <a:gd name="connsiteY37" fmla="*/ 327464 h 346815"/>
                <a:gd name="connsiteX38" fmla="*/ 194985 w 609187"/>
                <a:gd name="connsiteY38" fmla="*/ 327464 h 346815"/>
                <a:gd name="connsiteX39" fmla="*/ 194985 w 609187"/>
                <a:gd name="connsiteY39" fmla="*/ 346815 h 346815"/>
                <a:gd name="connsiteX40" fmla="*/ 168644 w 609187"/>
                <a:gd name="connsiteY40" fmla="*/ 346815 h 346815"/>
                <a:gd name="connsiteX41" fmla="*/ 116837 w 609187"/>
                <a:gd name="connsiteY41" fmla="*/ 346815 h 346815"/>
                <a:gd name="connsiteX42" fmla="*/ 114433 w 609187"/>
                <a:gd name="connsiteY42" fmla="*/ 346815 h 346815"/>
                <a:gd name="connsiteX43" fmla="*/ 107221 w 609187"/>
                <a:gd name="connsiteY43" fmla="*/ 346333 h 346815"/>
                <a:gd name="connsiteX44" fmla="*/ 106740 w 609187"/>
                <a:gd name="connsiteY44" fmla="*/ 346333 h 346815"/>
                <a:gd name="connsiteX45" fmla="*/ 0 w 609187"/>
                <a:gd name="connsiteY45" fmla="*/ 228320 h 346815"/>
                <a:gd name="connsiteX46" fmla="*/ 113471 w 609187"/>
                <a:gd name="connsiteY46" fmla="*/ 109343 h 346815"/>
                <a:gd name="connsiteX47" fmla="*/ 118280 w 609187"/>
                <a:gd name="connsiteY47" fmla="*/ 92966 h 346815"/>
                <a:gd name="connsiteX48" fmla="*/ 118760 w 609187"/>
                <a:gd name="connsiteY48" fmla="*/ 92002 h 346815"/>
                <a:gd name="connsiteX49" fmla="*/ 257234 w 609187"/>
                <a:gd name="connsiteY49" fmla="*/ 0 h 346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609187" h="346815">
                  <a:moveTo>
                    <a:pt x="257234" y="0"/>
                  </a:moveTo>
                  <a:cubicBezTo>
                    <a:pt x="317816" y="0"/>
                    <a:pt x="372148" y="36127"/>
                    <a:pt x="395707" y="92002"/>
                  </a:cubicBezTo>
                  <a:cubicBezTo>
                    <a:pt x="395707" y="92002"/>
                    <a:pt x="395707" y="92484"/>
                    <a:pt x="395707" y="92966"/>
                  </a:cubicBezTo>
                  <a:cubicBezTo>
                    <a:pt x="398111" y="99228"/>
                    <a:pt x="398111" y="99228"/>
                    <a:pt x="398111" y="99228"/>
                  </a:cubicBezTo>
                  <a:cubicBezTo>
                    <a:pt x="408689" y="95856"/>
                    <a:pt x="419748" y="94411"/>
                    <a:pt x="430806" y="94411"/>
                  </a:cubicBezTo>
                  <a:cubicBezTo>
                    <a:pt x="486100" y="94411"/>
                    <a:pt x="534181" y="133909"/>
                    <a:pt x="545239" y="187858"/>
                  </a:cubicBezTo>
                  <a:cubicBezTo>
                    <a:pt x="545239" y="187858"/>
                    <a:pt x="545720" y="188340"/>
                    <a:pt x="545720" y="188822"/>
                  </a:cubicBezTo>
                  <a:cubicBezTo>
                    <a:pt x="582262" y="196529"/>
                    <a:pt x="609187" y="229283"/>
                    <a:pt x="609187" y="266855"/>
                  </a:cubicBezTo>
                  <a:cubicBezTo>
                    <a:pt x="609187" y="304908"/>
                    <a:pt x="582262" y="337663"/>
                    <a:pt x="545239" y="345370"/>
                  </a:cubicBezTo>
                  <a:cubicBezTo>
                    <a:pt x="545239" y="345370"/>
                    <a:pt x="544759" y="345370"/>
                    <a:pt x="544278" y="345370"/>
                  </a:cubicBezTo>
                  <a:cubicBezTo>
                    <a:pt x="534181" y="346333"/>
                    <a:pt x="534181" y="346333"/>
                    <a:pt x="534181" y="346333"/>
                  </a:cubicBezTo>
                  <a:cubicBezTo>
                    <a:pt x="533219" y="346815"/>
                    <a:pt x="532257" y="346815"/>
                    <a:pt x="531296" y="346815"/>
                  </a:cubicBezTo>
                  <a:lnTo>
                    <a:pt x="476414" y="346815"/>
                  </a:lnTo>
                  <a:lnTo>
                    <a:pt x="476414" y="327464"/>
                  </a:lnTo>
                  <a:lnTo>
                    <a:pt x="477864" y="327464"/>
                  </a:lnTo>
                  <a:cubicBezTo>
                    <a:pt x="529252" y="327464"/>
                    <a:pt x="529252" y="327464"/>
                    <a:pt x="529252" y="327464"/>
                  </a:cubicBezTo>
                  <a:cubicBezTo>
                    <a:pt x="529733" y="327464"/>
                    <a:pt x="529733" y="327464"/>
                    <a:pt x="530214" y="327464"/>
                  </a:cubicBezTo>
                  <a:cubicBezTo>
                    <a:pt x="541754" y="326501"/>
                    <a:pt x="541754" y="326501"/>
                    <a:pt x="541754" y="326501"/>
                  </a:cubicBezTo>
                  <a:cubicBezTo>
                    <a:pt x="569642" y="320243"/>
                    <a:pt x="589836" y="295690"/>
                    <a:pt x="589836" y="266804"/>
                  </a:cubicBezTo>
                  <a:cubicBezTo>
                    <a:pt x="589836" y="238400"/>
                    <a:pt x="569642" y="213847"/>
                    <a:pt x="541754" y="207589"/>
                  </a:cubicBezTo>
                  <a:cubicBezTo>
                    <a:pt x="535503" y="207108"/>
                    <a:pt x="535503" y="207108"/>
                    <a:pt x="535503" y="207108"/>
                  </a:cubicBezTo>
                  <a:cubicBezTo>
                    <a:pt x="531176" y="206626"/>
                    <a:pt x="527329" y="203256"/>
                    <a:pt x="526848" y="198442"/>
                  </a:cubicBezTo>
                  <a:cubicBezTo>
                    <a:pt x="526367" y="191220"/>
                    <a:pt x="526367" y="191220"/>
                    <a:pt x="526367" y="191220"/>
                  </a:cubicBezTo>
                  <a:cubicBezTo>
                    <a:pt x="516751" y="146448"/>
                    <a:pt x="476843" y="113711"/>
                    <a:pt x="430684" y="113711"/>
                  </a:cubicBezTo>
                  <a:cubicBezTo>
                    <a:pt x="421067" y="113711"/>
                    <a:pt x="410970" y="115155"/>
                    <a:pt x="401834" y="118044"/>
                  </a:cubicBezTo>
                  <a:cubicBezTo>
                    <a:pt x="395103" y="120451"/>
                    <a:pt x="395103" y="120451"/>
                    <a:pt x="395103" y="120451"/>
                  </a:cubicBezTo>
                  <a:cubicBezTo>
                    <a:pt x="392218" y="121414"/>
                    <a:pt x="389814" y="121414"/>
                    <a:pt x="387410" y="120451"/>
                  </a:cubicBezTo>
                  <a:cubicBezTo>
                    <a:pt x="385006" y="119006"/>
                    <a:pt x="383083" y="117081"/>
                    <a:pt x="382602" y="114674"/>
                  </a:cubicBezTo>
                  <a:cubicBezTo>
                    <a:pt x="377793" y="98787"/>
                    <a:pt x="377793" y="98787"/>
                    <a:pt x="377793" y="98787"/>
                  </a:cubicBezTo>
                  <a:cubicBezTo>
                    <a:pt x="357118" y="50644"/>
                    <a:pt x="309517" y="19351"/>
                    <a:pt x="257107" y="19351"/>
                  </a:cubicBezTo>
                  <a:cubicBezTo>
                    <a:pt x="204697" y="19351"/>
                    <a:pt x="157096" y="50644"/>
                    <a:pt x="136421" y="98787"/>
                  </a:cubicBezTo>
                  <a:cubicBezTo>
                    <a:pt x="129208" y="121895"/>
                    <a:pt x="129208" y="121895"/>
                    <a:pt x="129208" y="121895"/>
                  </a:cubicBezTo>
                  <a:cubicBezTo>
                    <a:pt x="128247" y="126228"/>
                    <a:pt x="123919" y="129117"/>
                    <a:pt x="119592" y="128635"/>
                  </a:cubicBezTo>
                  <a:cubicBezTo>
                    <a:pt x="118630" y="128635"/>
                    <a:pt x="118630" y="128635"/>
                    <a:pt x="118630" y="128635"/>
                  </a:cubicBezTo>
                  <a:cubicBezTo>
                    <a:pt x="63817" y="128635"/>
                    <a:pt x="19100" y="173408"/>
                    <a:pt x="19100" y="228290"/>
                  </a:cubicBezTo>
                  <a:cubicBezTo>
                    <a:pt x="19100" y="279321"/>
                    <a:pt x="57566" y="321687"/>
                    <a:pt x="108533" y="326983"/>
                  </a:cubicBezTo>
                  <a:cubicBezTo>
                    <a:pt x="117188" y="327464"/>
                    <a:pt x="117188" y="327464"/>
                    <a:pt x="117188" y="327464"/>
                  </a:cubicBezTo>
                  <a:cubicBezTo>
                    <a:pt x="117188" y="327464"/>
                    <a:pt x="117669" y="327464"/>
                    <a:pt x="118149" y="327464"/>
                  </a:cubicBezTo>
                  <a:lnTo>
                    <a:pt x="194985" y="327464"/>
                  </a:lnTo>
                  <a:lnTo>
                    <a:pt x="194985" y="346815"/>
                  </a:lnTo>
                  <a:lnTo>
                    <a:pt x="168644" y="346815"/>
                  </a:lnTo>
                  <a:cubicBezTo>
                    <a:pt x="116837" y="346815"/>
                    <a:pt x="116837" y="346815"/>
                    <a:pt x="116837" y="346815"/>
                  </a:cubicBezTo>
                  <a:cubicBezTo>
                    <a:pt x="115875" y="346815"/>
                    <a:pt x="115395" y="346815"/>
                    <a:pt x="114433" y="346815"/>
                  </a:cubicBezTo>
                  <a:cubicBezTo>
                    <a:pt x="107221" y="346333"/>
                    <a:pt x="107221" y="346333"/>
                    <a:pt x="107221" y="346333"/>
                  </a:cubicBezTo>
                  <a:cubicBezTo>
                    <a:pt x="107221" y="346333"/>
                    <a:pt x="107221" y="346333"/>
                    <a:pt x="106740" y="346333"/>
                  </a:cubicBezTo>
                  <a:cubicBezTo>
                    <a:pt x="46158" y="340072"/>
                    <a:pt x="0" y="289494"/>
                    <a:pt x="0" y="228320"/>
                  </a:cubicBezTo>
                  <a:cubicBezTo>
                    <a:pt x="0" y="164737"/>
                    <a:pt x="50485" y="112715"/>
                    <a:pt x="113471" y="109343"/>
                  </a:cubicBezTo>
                  <a:cubicBezTo>
                    <a:pt x="118280" y="92966"/>
                    <a:pt x="118280" y="92966"/>
                    <a:pt x="118280" y="92966"/>
                  </a:cubicBezTo>
                  <a:cubicBezTo>
                    <a:pt x="118760" y="92484"/>
                    <a:pt x="118760" y="92002"/>
                    <a:pt x="118760" y="92002"/>
                  </a:cubicBezTo>
                  <a:cubicBezTo>
                    <a:pt x="142320" y="36127"/>
                    <a:pt x="196652" y="0"/>
                    <a:pt x="257234"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0" name="Freeform 409"/>
            <p:cNvSpPr>
              <a:spLocks/>
            </p:cNvSpPr>
            <p:nvPr/>
          </p:nvSpPr>
          <p:spPr bwMode="auto">
            <a:xfrm>
              <a:off x="5902503" y="2073115"/>
              <a:ext cx="265548" cy="342713"/>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solidFill>
              <a:schemeClr val="accent1"/>
            </a:solidFill>
            <a:ln>
              <a:noFill/>
            </a:ln>
          </p:spPr>
          <p:txBody>
            <a:bodyPr vert="horz" wrap="square" lIns="0" tIns="182880" rIns="0" bIns="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078D7"/>
                  </a:solidFill>
                  <a:effectLst/>
                  <a:uLnTx/>
                  <a:uFillTx/>
                </a:rPr>
                <a:t>SQL</a:t>
              </a:r>
            </a:p>
          </p:txBody>
        </p:sp>
        <p:grpSp>
          <p:nvGrpSpPr>
            <p:cNvPr id="411" name="Group 410"/>
            <p:cNvGrpSpPr/>
            <p:nvPr/>
          </p:nvGrpSpPr>
          <p:grpSpPr>
            <a:xfrm>
              <a:off x="7296524" y="2063404"/>
              <a:ext cx="473696" cy="331238"/>
              <a:chOff x="1182255" y="2216727"/>
              <a:chExt cx="5006109" cy="3500582"/>
            </a:xfrm>
            <a:grpFill/>
          </p:grpSpPr>
          <p:sp>
            <p:nvSpPr>
              <p:cNvPr id="412" name="Freeform 411"/>
              <p:cNvSpPr/>
              <p:nvPr/>
            </p:nvSpPr>
            <p:spPr bwMode="auto">
              <a:xfrm>
                <a:off x="1182255" y="2216727"/>
                <a:ext cx="5006109" cy="350058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grpSp>
            <p:nvGrpSpPr>
              <p:cNvPr id="413" name="Group 412"/>
              <p:cNvGrpSpPr/>
              <p:nvPr/>
            </p:nvGrpSpPr>
            <p:grpSpPr>
              <a:xfrm>
                <a:off x="1371600" y="2904099"/>
                <a:ext cx="4622800" cy="2628550"/>
                <a:chOff x="1371600" y="3272399"/>
                <a:chExt cx="4622800" cy="2628550"/>
              </a:xfrm>
              <a:grpFill/>
            </p:grpSpPr>
            <p:grpSp>
              <p:nvGrpSpPr>
                <p:cNvPr id="414" name="Group 413"/>
                <p:cNvGrpSpPr/>
                <p:nvPr/>
              </p:nvGrpSpPr>
              <p:grpSpPr>
                <a:xfrm>
                  <a:off x="1371600" y="3272399"/>
                  <a:ext cx="4622800" cy="609250"/>
                  <a:chOff x="1403350" y="3272399"/>
                  <a:chExt cx="4216400" cy="609250"/>
                </a:xfrm>
                <a:grpFill/>
              </p:grpSpPr>
              <p:sp>
                <p:nvSpPr>
                  <p:cNvPr id="430" name="Freeform 429"/>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31" name="Freeform 430"/>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32" name="Freeform 431"/>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33" name="Freeform 432"/>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grpSp>
            <p:grpSp>
              <p:nvGrpSpPr>
                <p:cNvPr id="415" name="Group 414"/>
                <p:cNvGrpSpPr/>
                <p:nvPr/>
              </p:nvGrpSpPr>
              <p:grpSpPr>
                <a:xfrm>
                  <a:off x="1371600" y="3945499"/>
                  <a:ext cx="4622800" cy="609250"/>
                  <a:chOff x="1403350" y="3272399"/>
                  <a:chExt cx="4216400" cy="609250"/>
                </a:xfrm>
                <a:grpFill/>
              </p:grpSpPr>
              <p:sp>
                <p:nvSpPr>
                  <p:cNvPr id="426" name="Freeform 425"/>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27" name="Freeform 426"/>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28" name="Freeform 427"/>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29" name="Freeform 428"/>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grpSp>
            <p:grpSp>
              <p:nvGrpSpPr>
                <p:cNvPr id="416" name="Group 415"/>
                <p:cNvGrpSpPr/>
                <p:nvPr/>
              </p:nvGrpSpPr>
              <p:grpSpPr>
                <a:xfrm>
                  <a:off x="1371600" y="4618599"/>
                  <a:ext cx="4622800" cy="609250"/>
                  <a:chOff x="1403350" y="3272399"/>
                  <a:chExt cx="4216400" cy="609250"/>
                </a:xfrm>
                <a:grpFill/>
              </p:grpSpPr>
              <p:sp>
                <p:nvSpPr>
                  <p:cNvPr id="422" name="Freeform 421"/>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23" name="Freeform 422"/>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24" name="Freeform 423"/>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25" name="Freeform 424"/>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grpSp>
            <p:grpSp>
              <p:nvGrpSpPr>
                <p:cNvPr id="417" name="Group 416"/>
                <p:cNvGrpSpPr/>
                <p:nvPr/>
              </p:nvGrpSpPr>
              <p:grpSpPr>
                <a:xfrm>
                  <a:off x="1371600" y="5291699"/>
                  <a:ext cx="4622800" cy="609250"/>
                  <a:chOff x="1403350" y="3272399"/>
                  <a:chExt cx="4216400" cy="609250"/>
                </a:xfrm>
                <a:grpFill/>
              </p:grpSpPr>
              <p:sp>
                <p:nvSpPr>
                  <p:cNvPr id="418" name="Freeform 417"/>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19" name="Freeform 418"/>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20" name="Freeform 419"/>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21" name="Freeform 420"/>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grpSp>
          </p:grpSp>
        </p:grpSp>
        <p:cxnSp>
          <p:nvCxnSpPr>
            <p:cNvPr id="434" name="Straight Connector 433"/>
            <p:cNvCxnSpPr/>
            <p:nvPr/>
          </p:nvCxnSpPr>
          <p:spPr>
            <a:xfrm flipV="1">
              <a:off x="3060336" y="2493616"/>
              <a:ext cx="0" cy="746125"/>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5" name="Straight Connector 434"/>
            <p:cNvCxnSpPr/>
            <p:nvPr/>
          </p:nvCxnSpPr>
          <p:spPr>
            <a:xfrm flipV="1">
              <a:off x="4800064" y="2930179"/>
              <a:ext cx="0" cy="309562"/>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6" name="Straight Connector 435"/>
            <p:cNvCxnSpPr/>
            <p:nvPr/>
          </p:nvCxnSpPr>
          <p:spPr>
            <a:xfrm flipV="1">
              <a:off x="6039338" y="2415829"/>
              <a:ext cx="0" cy="823912"/>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7" name="Straight Connector 436"/>
            <p:cNvCxnSpPr/>
            <p:nvPr/>
          </p:nvCxnSpPr>
          <p:spPr>
            <a:xfrm flipV="1">
              <a:off x="7138292" y="2930179"/>
              <a:ext cx="0" cy="309562"/>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8" name="Straight Connector 437"/>
            <p:cNvCxnSpPr/>
            <p:nvPr/>
          </p:nvCxnSpPr>
          <p:spPr>
            <a:xfrm flipV="1">
              <a:off x="7352604" y="3673129"/>
              <a:ext cx="0" cy="371475"/>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9" name="Straight Connector 438"/>
            <p:cNvCxnSpPr/>
            <p:nvPr/>
          </p:nvCxnSpPr>
          <p:spPr>
            <a:xfrm flipV="1">
              <a:off x="5090576" y="3673130"/>
              <a:ext cx="0" cy="509586"/>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40" name="Straight Connector 439"/>
            <p:cNvCxnSpPr/>
            <p:nvPr/>
          </p:nvCxnSpPr>
          <p:spPr>
            <a:xfrm flipV="1">
              <a:off x="3217494" y="3673130"/>
              <a:ext cx="0" cy="509586"/>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441" name="Group 440"/>
            <p:cNvGrpSpPr/>
            <p:nvPr/>
          </p:nvGrpSpPr>
          <p:grpSpPr>
            <a:xfrm>
              <a:off x="8324139" y="3351763"/>
              <a:ext cx="2468880" cy="234950"/>
              <a:chOff x="4329107" y="3274811"/>
              <a:chExt cx="414343" cy="234950"/>
            </a:xfrm>
            <a:grpFill/>
          </p:grpSpPr>
          <p:cxnSp>
            <p:nvCxnSpPr>
              <p:cNvPr id="442" name="Straight Connector 441"/>
              <p:cNvCxnSpPr/>
              <p:nvPr/>
            </p:nvCxnSpPr>
            <p:spPr>
              <a:xfrm>
                <a:off x="4329107" y="3392286"/>
                <a:ext cx="414343" cy="0"/>
              </a:xfrm>
              <a:prstGeom prst="line">
                <a:avLst/>
              </a:prstGeom>
              <a:grpFill/>
              <a:ln>
                <a:solidFill>
                  <a:schemeClr val="accent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3" name="Straight Connector 442"/>
              <p:cNvCxnSpPr/>
              <p:nvPr/>
            </p:nvCxnSpPr>
            <p:spPr>
              <a:xfrm>
                <a:off x="4329107" y="3274811"/>
                <a:ext cx="414343" cy="0"/>
              </a:xfrm>
              <a:prstGeom prst="line">
                <a:avLst/>
              </a:prstGeom>
              <a:grpFill/>
              <a:ln>
                <a:solidFill>
                  <a:schemeClr val="accent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8" name="Straight Connector 447"/>
              <p:cNvCxnSpPr/>
              <p:nvPr/>
            </p:nvCxnSpPr>
            <p:spPr>
              <a:xfrm>
                <a:off x="4329107" y="3509761"/>
                <a:ext cx="414343" cy="0"/>
              </a:xfrm>
              <a:prstGeom prst="line">
                <a:avLst/>
              </a:prstGeom>
              <a:grpFill/>
              <a:ln>
                <a:solidFill>
                  <a:schemeClr val="accent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49" name="Freeform 448"/>
            <p:cNvSpPr>
              <a:spLocks/>
            </p:cNvSpPr>
            <p:nvPr/>
          </p:nvSpPr>
          <p:spPr bwMode="auto">
            <a:xfrm>
              <a:off x="4621141" y="2258125"/>
              <a:ext cx="329644" cy="24946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noFill/>
            <a:ln w="6350">
              <a:solidFill>
                <a:schemeClr val="accent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endParaRPr>
            </a:p>
          </p:txBody>
        </p:sp>
      </p:grpSp>
      <p:grpSp>
        <p:nvGrpSpPr>
          <p:cNvPr id="4" name="Group 3"/>
          <p:cNvGrpSpPr/>
          <p:nvPr/>
        </p:nvGrpSpPr>
        <p:grpSpPr>
          <a:xfrm>
            <a:off x="2195805" y="5306975"/>
            <a:ext cx="10227584" cy="1191095"/>
            <a:chOff x="2228463" y="5624040"/>
            <a:chExt cx="10227584" cy="1191095"/>
          </a:xfrm>
        </p:grpSpPr>
        <p:sp>
          <p:nvSpPr>
            <p:cNvPr id="450" name="TextBox 449"/>
            <p:cNvSpPr txBox="1"/>
            <p:nvPr/>
          </p:nvSpPr>
          <p:spPr>
            <a:xfrm>
              <a:off x="2228463" y="5624040"/>
              <a:ext cx="5214023" cy="1191095"/>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Create, schedule, orchestrate, and manage data pipelines</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Visualize data lineage</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Connect to on-premises and cloud data sources</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Monitor data pipeline health</a:t>
              </a:r>
            </a:p>
          </p:txBody>
        </p:sp>
        <p:sp>
          <p:nvSpPr>
            <p:cNvPr id="451" name="TextBox 450"/>
            <p:cNvSpPr txBox="1"/>
            <p:nvPr/>
          </p:nvSpPr>
          <p:spPr>
            <a:xfrm>
              <a:off x="7408213" y="5630762"/>
              <a:ext cx="5047834" cy="947952"/>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Automate cloud resource management</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Move relational data for Hadoop processing</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Transform with Hive, Pig, or custom code</a:t>
              </a:r>
            </a:p>
          </p:txBody>
        </p:sp>
      </p:grpSp>
      <p:sp>
        <p:nvSpPr>
          <p:cNvPr id="267" name="Rectangle 266"/>
          <p:cNvSpPr/>
          <p:nvPr/>
        </p:nvSpPr>
        <p:spPr bwMode="auto">
          <a:xfrm>
            <a:off x="-7682" y="1681015"/>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marL="0" marR="0" lvl="0" indent="0" algn="ctr" defTabSz="739440" eaLnBrk="1" fontAlgn="auto" latinLnBrk="0" hangingPunct="1">
              <a:lnSpc>
                <a:spcPct val="100000"/>
              </a:lnSpc>
              <a:spcBef>
                <a:spcPct val="0"/>
              </a:spcBef>
              <a:spcAft>
                <a:spcPct val="35000"/>
              </a:spcAft>
              <a:buClrTx/>
              <a:buSzTx/>
              <a:buFontTx/>
              <a:buNone/>
              <a:tabLst/>
              <a:defRPr/>
            </a:pPr>
            <a:r>
              <a:rPr kumimoji="0" lang="en-US" sz="1428"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Information Management</a:t>
            </a:r>
          </a:p>
        </p:txBody>
      </p:sp>
      <p:sp>
        <p:nvSpPr>
          <p:cNvPr id="268" name="Rectangle 267"/>
          <p:cNvSpPr/>
          <p:nvPr/>
        </p:nvSpPr>
        <p:spPr>
          <a:xfrm>
            <a:off x="556400" y="4230619"/>
            <a:ext cx="1296319" cy="27028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Event Hubs</a:t>
            </a:r>
            <a:endParaRPr kumimoji="0" lang="en-US" sz="1122" b="0" i="0" u="none" strike="noStrike" kern="0" cap="none" spc="0" normalizeH="0" baseline="0" noProof="0" dirty="0">
              <a:ln>
                <a:noFill/>
              </a:ln>
              <a:solidFill>
                <a:schemeClr val="accent2">
                  <a:lumMod val="75000"/>
                </a:schemeClr>
              </a:solidFill>
              <a:effectLst/>
              <a:uLnTx/>
              <a:uFillTx/>
            </a:endParaRPr>
          </a:p>
        </p:txBody>
      </p:sp>
      <p:sp>
        <p:nvSpPr>
          <p:cNvPr id="269" name="Rectangle 268"/>
          <p:cNvSpPr/>
          <p:nvPr/>
        </p:nvSpPr>
        <p:spPr>
          <a:xfrm>
            <a:off x="556400" y="3421708"/>
            <a:ext cx="1296319" cy="27028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Data Catalog</a:t>
            </a:r>
          </a:p>
        </p:txBody>
      </p:sp>
      <p:grpSp>
        <p:nvGrpSpPr>
          <p:cNvPr id="270" name="Group 269"/>
          <p:cNvGrpSpPr/>
          <p:nvPr/>
        </p:nvGrpSpPr>
        <p:grpSpPr>
          <a:xfrm>
            <a:off x="235224" y="3378419"/>
            <a:ext cx="280471" cy="298350"/>
            <a:chOff x="3232150" y="382588"/>
            <a:chExt cx="5727700" cy="6092825"/>
          </a:xfrm>
          <a:solidFill>
            <a:schemeClr val="accent2">
              <a:lumMod val="75000"/>
            </a:schemeClr>
          </a:solidFill>
        </p:grpSpPr>
        <p:sp>
          <p:nvSpPr>
            <p:cNvPr id="274"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275"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276"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
        <p:nvSpPr>
          <p:cNvPr id="271" name="Rectangle 270"/>
          <p:cNvSpPr/>
          <p:nvPr/>
        </p:nvSpPr>
        <p:spPr>
          <a:xfrm>
            <a:off x="556400" y="2569537"/>
            <a:ext cx="1296319" cy="27028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effectLst/>
                <a:uLnTx/>
                <a:uFillTx/>
                <a:cs typeface="Segoe UI Semilight" panose="020B0402040204020203" pitchFamily="34" charset="0"/>
              </a:rPr>
              <a:t>Data Factory </a:t>
            </a:r>
            <a:endParaRPr kumimoji="0" lang="en-US" sz="1122" b="0" i="0" u="none" strike="noStrike" kern="0" cap="none" spc="0" normalizeH="0" baseline="0" noProof="0" dirty="0">
              <a:ln>
                <a:noFill/>
              </a:ln>
              <a:effectLst/>
              <a:uLnTx/>
              <a:uFillTx/>
            </a:endParaRPr>
          </a:p>
        </p:txBody>
      </p:sp>
      <p:sp>
        <p:nvSpPr>
          <p:cNvPr id="272" name="Freeform 271"/>
          <p:cNvSpPr/>
          <p:nvPr/>
        </p:nvSpPr>
        <p:spPr bwMode="auto">
          <a:xfrm>
            <a:off x="231137" y="2507053"/>
            <a:ext cx="292163" cy="307023"/>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273" name="Freeform 272"/>
          <p:cNvSpPr/>
          <p:nvPr/>
        </p:nvSpPr>
        <p:spPr bwMode="auto">
          <a:xfrm>
            <a:off x="251864" y="4235643"/>
            <a:ext cx="236184" cy="247159"/>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chemeClr val="tx1"/>
              </a:solidFill>
              <a:effectLst/>
              <a:uLnTx/>
              <a:uFillTx/>
              <a:ea typeface="Segoe UI" pitchFamily="34" charset="0"/>
              <a:cs typeface="Segoe UI" pitchFamily="34" charset="0"/>
            </a:endParaRPr>
          </a:p>
        </p:txBody>
      </p:sp>
    </p:spTree>
    <p:extLst>
      <p:ext uri="{BB962C8B-B14F-4D97-AF65-F5344CB8AC3E}">
        <p14:creationId xmlns:p14="http://schemas.microsoft.com/office/powerpoint/2010/main" val="696973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5"/>
                                        </p:tgtEl>
                                      </p:cBhvr>
                                    </p:animEffect>
                                    <p:set>
                                      <p:cBhvr>
                                        <p:cTn id="7" dur="1" fill="hold">
                                          <p:stCondLst>
                                            <p:cond delay="499"/>
                                          </p:stCondLst>
                                        </p:cTn>
                                        <p:tgtEl>
                                          <p:spTgt spid="5"/>
                                        </p:tgtEl>
                                        <p:attrNameLst>
                                          <p:attrName>style.visibility</p:attrName>
                                        </p:attrNameLst>
                                      </p:cBhvr>
                                      <p:to>
                                        <p:strVal val="hidden"/>
                                      </p:to>
                                    </p:set>
                                  </p:childTnLst>
                                </p:cTn>
                              </p:par>
                              <p:par>
                                <p:cTn id="8" presetID="35" presetClass="path" presetSubtype="0" accel="50000" decel="50000" fill="hold" nodeType="withEffect">
                                  <p:stCondLst>
                                    <p:cond delay="0"/>
                                  </p:stCondLst>
                                  <p:childTnLst>
                                    <p:animMotion origin="layout" path="M -4.25581E-6 -4.80254E-6 L -0.67985 -4.80254E-6 " pathEditMode="relative" rAng="0" ptsTypes="AA">
                                      <p:cBhvr>
                                        <p:cTn id="9" dur="2000" fill="hold"/>
                                        <p:tgtEl>
                                          <p:spTgt spid="3"/>
                                        </p:tgtEl>
                                        <p:attrNameLst>
                                          <p:attrName>ppt_x</p:attrName>
                                          <p:attrName>ppt_y</p:attrName>
                                        </p:attrNameLst>
                                      </p:cBhvr>
                                      <p:rCtr x="-3399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1" name="Rectangle 20"/>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3" name="Group 2"/>
          <p:cNvGrpSpPr/>
          <p:nvPr/>
        </p:nvGrpSpPr>
        <p:grpSpPr>
          <a:xfrm>
            <a:off x="2743555" y="1330152"/>
            <a:ext cx="7744853" cy="3620081"/>
            <a:chOff x="1759483" y="1309669"/>
            <a:chExt cx="7744853" cy="3620081"/>
          </a:xfrm>
        </p:grpSpPr>
        <p:pic>
          <p:nvPicPr>
            <p:cNvPr id="17" name="Picture 1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868850" y="1708911"/>
              <a:ext cx="5527519" cy="3171985"/>
            </a:xfrm>
            <a:prstGeom prst="rect">
              <a:avLst/>
            </a:prstGeom>
          </p:spPr>
        </p:pic>
        <p:pic>
          <p:nvPicPr>
            <p:cNvPr id="32" name="Picture 31"/>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759483" y="1309669"/>
              <a:ext cx="7744853" cy="3620081"/>
            </a:xfrm>
            <a:prstGeom prst="rect">
              <a:avLst/>
            </a:prstGeom>
          </p:spPr>
        </p:pic>
      </p:grpSp>
      <p:sp>
        <p:nvSpPr>
          <p:cNvPr id="2" name="Title 1"/>
          <p:cNvSpPr>
            <a:spLocks noGrp="1"/>
          </p:cNvSpPr>
          <p:nvPr>
            <p:ph type="title"/>
          </p:nvPr>
        </p:nvSpPr>
        <p:spPr/>
        <p:txBody>
          <a:bodyPr/>
          <a:lstStyle/>
          <a:p>
            <a:pPr lvl="0" defTabSz="914400">
              <a:spcBef>
                <a:spcPts val="0"/>
              </a:spcBef>
              <a:spcAft>
                <a:spcPts val="600"/>
              </a:spcAft>
              <a:defRPr/>
            </a:pPr>
            <a:r>
              <a:rPr lang="en-US" kern="0" spc="0" dirty="0">
                <a:ln>
                  <a:noFill/>
                </a:ln>
                <a:solidFill>
                  <a:schemeClr val="bg1"/>
                </a:solidFill>
              </a:rPr>
              <a:t>Get more value from your enterprise data assets</a:t>
            </a:r>
          </a:p>
        </p:txBody>
      </p:sp>
      <p:sp>
        <p:nvSpPr>
          <p:cNvPr id="4" name="AutoShape 2" descr="Image result for azure data catalo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Rectangle 21"/>
          <p:cNvSpPr/>
          <p:nvPr/>
        </p:nvSpPr>
        <p:spPr bwMode="auto">
          <a:xfrm>
            <a:off x="-7682" y="1681015"/>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marL="0" marR="0" lvl="0" indent="0" algn="ctr" defTabSz="739440" eaLnBrk="1" fontAlgn="auto" latinLnBrk="0" hangingPunct="1">
              <a:lnSpc>
                <a:spcPct val="100000"/>
              </a:lnSpc>
              <a:spcBef>
                <a:spcPct val="0"/>
              </a:spcBef>
              <a:spcAft>
                <a:spcPct val="35000"/>
              </a:spcAft>
              <a:buClrTx/>
              <a:buSzTx/>
              <a:buFontTx/>
              <a:buNone/>
              <a:tabLst/>
              <a:defRPr/>
            </a:pPr>
            <a:r>
              <a:rPr kumimoji="0" lang="en-US" sz="1428"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Information Management</a:t>
            </a:r>
          </a:p>
        </p:txBody>
      </p:sp>
      <p:sp>
        <p:nvSpPr>
          <p:cNvPr id="23" name="Rectangle 22"/>
          <p:cNvSpPr/>
          <p:nvPr/>
        </p:nvSpPr>
        <p:spPr>
          <a:xfrm>
            <a:off x="556400" y="4230619"/>
            <a:ext cx="1296319" cy="27028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Event Hubs</a:t>
            </a:r>
            <a:endParaRPr kumimoji="0" lang="en-US" sz="1122" b="0" i="0" u="none" strike="noStrike" kern="0" cap="none" spc="0" normalizeH="0" baseline="0" noProof="0" dirty="0">
              <a:ln>
                <a:noFill/>
              </a:ln>
              <a:solidFill>
                <a:schemeClr val="accent2">
                  <a:lumMod val="75000"/>
                </a:schemeClr>
              </a:solidFill>
              <a:effectLst/>
              <a:uLnTx/>
              <a:uFillTx/>
            </a:endParaRPr>
          </a:p>
        </p:txBody>
      </p:sp>
      <p:sp>
        <p:nvSpPr>
          <p:cNvPr id="24" name="Rectangle 23"/>
          <p:cNvSpPr/>
          <p:nvPr/>
        </p:nvSpPr>
        <p:spPr>
          <a:xfrm>
            <a:off x="556400" y="3421708"/>
            <a:ext cx="1296319" cy="27028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effectLst/>
                <a:uLnTx/>
                <a:uFillTx/>
                <a:cs typeface="Segoe UI Semilight" panose="020B0402040204020203" pitchFamily="34" charset="0"/>
              </a:rPr>
              <a:t>Data Catalog</a:t>
            </a:r>
          </a:p>
        </p:txBody>
      </p:sp>
      <p:grpSp>
        <p:nvGrpSpPr>
          <p:cNvPr id="25" name="Group 24"/>
          <p:cNvGrpSpPr/>
          <p:nvPr/>
        </p:nvGrpSpPr>
        <p:grpSpPr>
          <a:xfrm>
            <a:off x="235224" y="3378419"/>
            <a:ext cx="280471" cy="298350"/>
            <a:chOff x="3232150" y="382588"/>
            <a:chExt cx="5727700" cy="6092825"/>
          </a:xfrm>
          <a:solidFill>
            <a:schemeClr val="tx1"/>
          </a:solidFill>
        </p:grpSpPr>
        <p:sp>
          <p:nvSpPr>
            <p:cNvPr id="26"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27"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28"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
        <p:nvSpPr>
          <p:cNvPr id="29" name="Rectangle 28"/>
          <p:cNvSpPr/>
          <p:nvPr/>
        </p:nvSpPr>
        <p:spPr>
          <a:xfrm>
            <a:off x="556400" y="2569537"/>
            <a:ext cx="1296319" cy="27028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Data Factory </a:t>
            </a:r>
            <a:endParaRPr kumimoji="0" lang="en-US" sz="1122" b="0" i="0" u="none" strike="noStrike" kern="0" cap="none" spc="0" normalizeH="0" baseline="0" noProof="0" dirty="0">
              <a:ln>
                <a:noFill/>
              </a:ln>
              <a:solidFill>
                <a:schemeClr val="accent2">
                  <a:lumMod val="75000"/>
                </a:schemeClr>
              </a:solidFill>
              <a:effectLst/>
              <a:uLnTx/>
              <a:uFillTx/>
            </a:endParaRPr>
          </a:p>
        </p:txBody>
      </p:sp>
      <p:sp>
        <p:nvSpPr>
          <p:cNvPr id="30" name="Freeform 29"/>
          <p:cNvSpPr/>
          <p:nvPr/>
        </p:nvSpPr>
        <p:spPr bwMode="auto">
          <a:xfrm>
            <a:off x="231137" y="2507053"/>
            <a:ext cx="292163" cy="307023"/>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31" name="Freeform 30"/>
          <p:cNvSpPr/>
          <p:nvPr/>
        </p:nvSpPr>
        <p:spPr bwMode="auto">
          <a:xfrm>
            <a:off x="251864" y="4235643"/>
            <a:ext cx="236184" cy="247159"/>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chemeClr val="tx1"/>
              </a:solidFill>
              <a:effectLst/>
              <a:uLnTx/>
              <a:uFillTx/>
              <a:ea typeface="Segoe UI" pitchFamily="34" charset="0"/>
              <a:cs typeface="Segoe UI" pitchFamily="34" charset="0"/>
            </a:endParaRPr>
          </a:p>
        </p:txBody>
      </p:sp>
      <p:grpSp>
        <p:nvGrpSpPr>
          <p:cNvPr id="5" name="Group 4"/>
          <p:cNvGrpSpPr/>
          <p:nvPr/>
        </p:nvGrpSpPr>
        <p:grpSpPr>
          <a:xfrm>
            <a:off x="2194921" y="5309159"/>
            <a:ext cx="10392131" cy="1280351"/>
            <a:chOff x="2194921" y="5397960"/>
            <a:chExt cx="10392131" cy="1280351"/>
          </a:xfrm>
        </p:grpSpPr>
        <p:sp>
          <p:nvSpPr>
            <p:cNvPr id="36" name="TextBox 35"/>
            <p:cNvSpPr txBox="1"/>
            <p:nvPr/>
          </p:nvSpPr>
          <p:spPr>
            <a:xfrm>
              <a:off x="2194921" y="5397960"/>
              <a:ext cx="5454426" cy="1280351"/>
            </a:xfrm>
            <a:prstGeom prst="rect">
              <a:avLst/>
            </a:prstGeom>
            <a:noFill/>
          </p:spPr>
          <p:txBody>
            <a:bodyPr wrap="square" lIns="182880" tIns="146304" rIns="182880" bIns="146304" rtlCol="0">
              <a:spAutoFit/>
            </a:bodyPr>
            <a:lstStyle/>
            <a:p>
              <a:pPr marL="177800" indent="-177800">
                <a:lnSpc>
                  <a:spcPct val="90000"/>
                </a:lnSpc>
                <a:spcAft>
                  <a:spcPts val="600"/>
                </a:spcAft>
                <a:buClr>
                  <a:schemeClr val="accent1"/>
                </a:buClr>
                <a:buFont typeface="Arial" panose="020B0604020202020204" pitchFamily="34" charset="0"/>
                <a:buChar char="•"/>
              </a:pPr>
              <a:r>
                <a:rPr lang="en-US" sz="1200" dirty="0">
                  <a:solidFill>
                    <a:schemeClr val="bg1"/>
                  </a:solidFill>
                </a:rPr>
                <a:t>Spend less time looking for data, and more time getting value from it</a:t>
              </a:r>
            </a:p>
            <a:p>
              <a:pPr marL="177800" indent="-177800">
                <a:lnSpc>
                  <a:spcPct val="90000"/>
                </a:lnSpc>
                <a:spcAft>
                  <a:spcPts val="600"/>
                </a:spcAft>
                <a:buClr>
                  <a:schemeClr val="accent1"/>
                </a:buClr>
                <a:buFont typeface="Arial" panose="020B0604020202020204" pitchFamily="34" charset="0"/>
                <a:buChar char="•"/>
              </a:pPr>
              <a:r>
                <a:rPr lang="en-US" sz="1200" dirty="0">
                  <a:solidFill>
                    <a:schemeClr val="bg1"/>
                  </a:solidFill>
                </a:rPr>
                <a:t>Register enterprise data sources, discover data assets and unlock their potential, and capture tribal knowledge to make data understandable</a:t>
              </a:r>
            </a:p>
            <a:p>
              <a:pPr marL="177800" indent="-177800">
                <a:lnSpc>
                  <a:spcPct val="90000"/>
                </a:lnSpc>
                <a:spcAft>
                  <a:spcPts val="600"/>
                </a:spcAft>
                <a:buClr>
                  <a:schemeClr val="accent1"/>
                </a:buClr>
                <a:buFont typeface="Arial" panose="020B0604020202020204" pitchFamily="34" charset="0"/>
                <a:buChar char="•"/>
              </a:pPr>
              <a:r>
                <a:rPr lang="en-US" sz="1200" dirty="0">
                  <a:solidFill>
                    <a:schemeClr val="bg1"/>
                  </a:solidFill>
                </a:rPr>
                <a:t>Bridge the gap between IT and the business, allowing everyone to contribute their insights, tags, and descriptions</a:t>
              </a:r>
            </a:p>
          </p:txBody>
        </p:sp>
        <p:sp>
          <p:nvSpPr>
            <p:cNvPr id="37" name="TextBox 36"/>
            <p:cNvSpPr txBox="1"/>
            <p:nvPr/>
          </p:nvSpPr>
          <p:spPr>
            <a:xfrm>
              <a:off x="7375029" y="5397960"/>
              <a:ext cx="5212023" cy="1114151"/>
            </a:xfrm>
            <a:prstGeom prst="rect">
              <a:avLst/>
            </a:prstGeom>
            <a:noFill/>
          </p:spPr>
          <p:txBody>
            <a:bodyPr wrap="square" lIns="182880" tIns="146304" rIns="182880" bIns="146304" rtlCol="0">
              <a:spAutoFit/>
            </a:bodyPr>
            <a:lstStyle/>
            <a:p>
              <a:pPr marL="177800" indent="-177800">
                <a:lnSpc>
                  <a:spcPct val="90000"/>
                </a:lnSpc>
                <a:spcAft>
                  <a:spcPts val="600"/>
                </a:spcAft>
                <a:buClr>
                  <a:schemeClr val="accent1"/>
                </a:buClr>
                <a:buFont typeface="Arial" panose="020B0604020202020204" pitchFamily="34" charset="0"/>
                <a:buChar char="•"/>
              </a:pPr>
              <a:r>
                <a:rPr lang="en-US" sz="1200" dirty="0">
                  <a:solidFill>
                    <a:schemeClr val="bg1"/>
                  </a:solidFill>
                </a:rPr>
                <a:t>Intuitive search and filtering to understand the data sources and their purpose</a:t>
              </a:r>
            </a:p>
            <a:p>
              <a:pPr marL="177800" indent="-177800">
                <a:lnSpc>
                  <a:spcPct val="90000"/>
                </a:lnSpc>
                <a:spcAft>
                  <a:spcPts val="600"/>
                </a:spcAft>
                <a:buClr>
                  <a:schemeClr val="accent1"/>
                </a:buClr>
                <a:buFont typeface="Arial" panose="020B0604020202020204" pitchFamily="34" charset="0"/>
                <a:buChar char="•"/>
              </a:pPr>
              <a:r>
                <a:rPr lang="en-US" sz="1200" dirty="0">
                  <a:solidFill>
                    <a:schemeClr val="bg1"/>
                  </a:solidFill>
                </a:rPr>
                <a:t>Let your data live where you want; connect using tools you choose</a:t>
              </a:r>
            </a:p>
            <a:p>
              <a:pPr marL="177800" indent="-177800">
                <a:lnSpc>
                  <a:spcPct val="90000"/>
                </a:lnSpc>
                <a:spcAft>
                  <a:spcPts val="600"/>
                </a:spcAft>
                <a:buClr>
                  <a:schemeClr val="accent1"/>
                </a:buClr>
                <a:buFont typeface="Arial" panose="020B0604020202020204" pitchFamily="34" charset="0"/>
                <a:buChar char="•"/>
              </a:pPr>
              <a:r>
                <a:rPr lang="en-US" sz="1200" dirty="0">
                  <a:solidFill>
                    <a:schemeClr val="bg1"/>
                  </a:solidFill>
                </a:rPr>
                <a:t>Integrate into existing tools and processes with open REST APIs</a:t>
              </a:r>
            </a:p>
          </p:txBody>
        </p:sp>
      </p:grpSp>
    </p:spTree>
    <p:extLst>
      <p:ext uri="{BB962C8B-B14F-4D97-AF65-F5344CB8AC3E}">
        <p14:creationId xmlns:p14="http://schemas.microsoft.com/office/powerpoint/2010/main" val="1750344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32" name="Rectangle 131"/>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74639" y="295275"/>
            <a:ext cx="11889564" cy="917575"/>
          </a:xfrm>
        </p:spPr>
        <p:txBody>
          <a:bodyPr/>
          <a:lstStyle/>
          <a:p>
            <a:pPr defTabSz="914400">
              <a:spcBef>
                <a:spcPts val="0"/>
              </a:spcBef>
              <a:spcAft>
                <a:spcPts val="600"/>
              </a:spcAft>
              <a:defRPr/>
            </a:pPr>
            <a:r>
              <a:rPr lang="en-US" kern="0" spc="0" dirty="0">
                <a:ln>
                  <a:noFill/>
                </a:ln>
                <a:solidFill>
                  <a:schemeClr val="bg1"/>
                </a:solidFill>
              </a:rPr>
              <a:t>Ingest events from websites, apps </a:t>
            </a:r>
            <a:r>
              <a:rPr lang="en-US" kern="0" spc="0" dirty="0">
                <a:ln>
                  <a:noFill/>
                </a:ln>
              </a:rPr>
              <a:t>and devices at </a:t>
            </a:r>
            <a:r>
              <a:rPr lang="en-US" dirty="0"/>
              <a:t>cloud scale </a:t>
            </a:r>
            <a:endParaRPr lang="en-US" kern="0" spc="0" dirty="0">
              <a:ln>
                <a:noFill/>
              </a:ln>
              <a:solidFill>
                <a:schemeClr val="bg1"/>
              </a:solidFill>
            </a:endParaRPr>
          </a:p>
        </p:txBody>
      </p:sp>
      <p:sp>
        <p:nvSpPr>
          <p:cNvPr id="12" name="TextBox 11"/>
          <p:cNvSpPr txBox="1"/>
          <p:nvPr/>
        </p:nvSpPr>
        <p:spPr>
          <a:xfrm>
            <a:off x="2194921" y="5306824"/>
            <a:ext cx="5284321" cy="1191095"/>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Log millions of events per second in near real time</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Connect devices using flexible authorization and throttling</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Use time-based event buffering</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Get a managed service with elastic scale</a:t>
            </a:r>
          </a:p>
        </p:txBody>
      </p:sp>
      <p:sp>
        <p:nvSpPr>
          <p:cNvPr id="10" name="TextBox 9"/>
          <p:cNvSpPr txBox="1"/>
          <p:nvPr/>
        </p:nvSpPr>
        <p:spPr>
          <a:xfrm>
            <a:off x="7379208" y="5312664"/>
            <a:ext cx="4669079" cy="947952"/>
          </a:xfrm>
          <a:prstGeom prst="rect">
            <a:avLst/>
          </a:prstGeom>
          <a:noFill/>
        </p:spPr>
        <p:txBody>
          <a:bodyPr wrap="square" lIns="182880" tIns="146304" rIns="182880" bIns="146304" rtlCol="0">
            <a:spAutoFit/>
          </a:bodyPr>
          <a:lstStyle/>
          <a:p>
            <a:pPr marL="177800" indent="-177800" defTabSz="914400">
              <a:lnSpc>
                <a:spcPct val="90000"/>
              </a:lnSpc>
              <a:spcAft>
                <a:spcPts val="600"/>
              </a:spcAft>
              <a:buClr>
                <a:schemeClr val="accent2"/>
              </a:buClr>
              <a:buFont typeface="Arial" panose="020B0604020202020204" pitchFamily="34" charset="0"/>
              <a:buChar char="•"/>
              <a:defRPr/>
            </a:pPr>
            <a:r>
              <a:rPr lang="en-US" sz="1200" kern="0" dirty="0">
                <a:solidFill>
                  <a:schemeClr val="bg1"/>
                </a:solidFill>
              </a:rPr>
              <a:t>Get a managed service with elastic scale</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Reach a broad set of platforms using native client libraries</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Pluggable adapters for other cloud services</a:t>
            </a:r>
          </a:p>
        </p:txBody>
      </p:sp>
      <p:grpSp>
        <p:nvGrpSpPr>
          <p:cNvPr id="3" name="Group 2"/>
          <p:cNvGrpSpPr/>
          <p:nvPr/>
        </p:nvGrpSpPr>
        <p:grpSpPr>
          <a:xfrm>
            <a:off x="4140330" y="2858782"/>
            <a:ext cx="1626797" cy="2070661"/>
            <a:chOff x="4140330" y="2614188"/>
            <a:chExt cx="1626797" cy="2070661"/>
          </a:xfrm>
        </p:grpSpPr>
        <p:sp>
          <p:nvSpPr>
            <p:cNvPr id="252" name="Rectangle 251"/>
            <p:cNvSpPr/>
            <p:nvPr/>
          </p:nvSpPr>
          <p:spPr bwMode="auto">
            <a:xfrm>
              <a:off x="4140330" y="2614188"/>
              <a:ext cx="1626797" cy="980770"/>
            </a:xfrm>
            <a:prstGeom prst="rect">
              <a:avLst/>
            </a:prstGeom>
            <a:noFill/>
            <a:ln w="3175">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6637" rIns="9144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78D7"/>
                  </a:solidFill>
                  <a:effectLst/>
                  <a:uLnTx/>
                  <a:uFillTx/>
                </a:rPr>
                <a:t>Azure</a:t>
              </a:r>
            </a:p>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78D7"/>
                  </a:solidFill>
                  <a:effectLst/>
                  <a:uLnTx/>
                  <a:uFillTx/>
                </a:rPr>
                <a:t>API</a:t>
              </a:r>
            </a:p>
            <a:p>
              <a:pPr algn="ctr" defTabSz="932472" fontAlgn="base">
                <a:spcBef>
                  <a:spcPct val="0"/>
                </a:spcBef>
                <a:spcAft>
                  <a:spcPct val="0"/>
                </a:spcAft>
                <a:defRPr/>
              </a:pPr>
              <a:r>
                <a:rPr lang="en-US" sz="1400" kern="0" dirty="0">
                  <a:solidFill>
                    <a:srgbClr val="0078D7"/>
                  </a:solidFill>
                </a:rPr>
                <a:t>Management</a:t>
              </a:r>
            </a:p>
          </p:txBody>
        </p:sp>
        <p:sp>
          <p:nvSpPr>
            <p:cNvPr id="253" name="Rectangle 252"/>
            <p:cNvSpPr/>
            <p:nvPr/>
          </p:nvSpPr>
          <p:spPr bwMode="auto">
            <a:xfrm>
              <a:off x="4140330" y="4047540"/>
              <a:ext cx="1626797" cy="637309"/>
            </a:xfrm>
            <a:prstGeom prst="rect">
              <a:avLst/>
            </a:prstGeom>
            <a:noFill/>
            <a:ln w="3175">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6637" rIns="9144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78D7"/>
                  </a:solidFill>
                  <a:effectLst/>
                  <a:uLnTx/>
                  <a:uFillTx/>
                </a:rPr>
                <a:t>Backend Services</a:t>
              </a:r>
            </a:p>
          </p:txBody>
        </p:sp>
        <p:grpSp>
          <p:nvGrpSpPr>
            <p:cNvPr id="361" name="Group 360"/>
            <p:cNvGrpSpPr/>
            <p:nvPr/>
          </p:nvGrpSpPr>
          <p:grpSpPr>
            <a:xfrm>
              <a:off x="4774153" y="3652997"/>
              <a:ext cx="359151" cy="336504"/>
              <a:chOff x="4808162" y="3748088"/>
              <a:chExt cx="1339374" cy="1254917"/>
            </a:xfrm>
            <a:solidFill>
              <a:srgbClr val="0078D7"/>
            </a:solidFill>
          </p:grpSpPr>
          <p:sp>
            <p:nvSpPr>
              <p:cNvPr id="362" name="Freeform 361"/>
              <p:cNvSpPr>
                <a:spLocks/>
              </p:cNvSpPr>
              <p:nvPr/>
            </p:nvSpPr>
            <p:spPr bwMode="auto">
              <a:xfrm rot="10800000">
                <a:off x="4808162" y="3960018"/>
                <a:ext cx="1339374" cy="1042987"/>
              </a:xfrm>
              <a:custGeom>
                <a:avLst/>
                <a:gdLst>
                  <a:gd name="connsiteX0" fmla="*/ 284256 w 431728"/>
                  <a:gd name="connsiteY0" fmla="*/ 336192 h 336192"/>
                  <a:gd name="connsiteX1" fmla="*/ 262918 w 431728"/>
                  <a:gd name="connsiteY1" fmla="*/ 336192 h 336192"/>
                  <a:gd name="connsiteX2" fmla="*/ 266799 w 431728"/>
                  <a:gd name="connsiteY2" fmla="*/ 326295 h 336192"/>
                  <a:gd name="connsiteX3" fmla="*/ 268451 w 431728"/>
                  <a:gd name="connsiteY3" fmla="*/ 322082 h 336192"/>
                  <a:gd name="connsiteX4" fmla="*/ 275609 w 431728"/>
                  <a:gd name="connsiteY4" fmla="*/ 316006 h 336192"/>
                  <a:gd name="connsiteX5" fmla="*/ 283317 w 431728"/>
                  <a:gd name="connsiteY5" fmla="*/ 313796 h 336192"/>
                  <a:gd name="connsiteX6" fmla="*/ 283868 w 431728"/>
                  <a:gd name="connsiteY6" fmla="*/ 313796 h 336192"/>
                  <a:gd name="connsiteX7" fmla="*/ 406657 w 431728"/>
                  <a:gd name="connsiteY7" fmla="*/ 180658 h 336192"/>
                  <a:gd name="connsiteX8" fmla="*/ 410512 w 431728"/>
                  <a:gd name="connsiteY8" fmla="*/ 147511 h 336192"/>
                  <a:gd name="connsiteX9" fmla="*/ 341133 w 431728"/>
                  <a:gd name="connsiteY9" fmla="*/ 147511 h 336192"/>
                  <a:gd name="connsiteX10" fmla="*/ 331222 w 431728"/>
                  <a:gd name="connsiteY10" fmla="*/ 137567 h 336192"/>
                  <a:gd name="connsiteX11" fmla="*/ 331222 w 431728"/>
                  <a:gd name="connsiteY11" fmla="*/ 25422 h 336192"/>
                  <a:gd name="connsiteX12" fmla="*/ 325716 w 431728"/>
                  <a:gd name="connsiteY12" fmla="*/ 19898 h 336192"/>
                  <a:gd name="connsiteX13" fmla="*/ 298184 w 431728"/>
                  <a:gd name="connsiteY13" fmla="*/ 19898 h 336192"/>
                  <a:gd name="connsiteX14" fmla="*/ 292678 w 431728"/>
                  <a:gd name="connsiteY14" fmla="*/ 25422 h 336192"/>
                  <a:gd name="connsiteX15" fmla="*/ 292678 w 431728"/>
                  <a:gd name="connsiteY15" fmla="*/ 137567 h 336192"/>
                  <a:gd name="connsiteX16" fmla="*/ 282767 w 431728"/>
                  <a:gd name="connsiteY16" fmla="*/ 147511 h 336192"/>
                  <a:gd name="connsiteX17" fmla="*/ 148414 w 431728"/>
                  <a:gd name="connsiteY17" fmla="*/ 147511 h 336192"/>
                  <a:gd name="connsiteX18" fmla="*/ 138503 w 431728"/>
                  <a:gd name="connsiteY18" fmla="*/ 137567 h 336192"/>
                  <a:gd name="connsiteX19" fmla="*/ 138503 w 431728"/>
                  <a:gd name="connsiteY19" fmla="*/ 25422 h 336192"/>
                  <a:gd name="connsiteX20" fmla="*/ 133547 w 431728"/>
                  <a:gd name="connsiteY20" fmla="*/ 19898 h 336192"/>
                  <a:gd name="connsiteX21" fmla="*/ 106016 w 431728"/>
                  <a:gd name="connsiteY21" fmla="*/ 19898 h 336192"/>
                  <a:gd name="connsiteX22" fmla="*/ 100510 w 431728"/>
                  <a:gd name="connsiteY22" fmla="*/ 25422 h 336192"/>
                  <a:gd name="connsiteX23" fmla="*/ 100510 w 431728"/>
                  <a:gd name="connsiteY23" fmla="*/ 137567 h 336192"/>
                  <a:gd name="connsiteX24" fmla="*/ 90599 w 431728"/>
                  <a:gd name="connsiteY24" fmla="*/ 147511 h 336192"/>
                  <a:gd name="connsiteX25" fmla="*/ 21220 w 431728"/>
                  <a:gd name="connsiteY25" fmla="*/ 147511 h 336192"/>
                  <a:gd name="connsiteX26" fmla="*/ 24524 w 431728"/>
                  <a:gd name="connsiteY26" fmla="*/ 180105 h 336192"/>
                  <a:gd name="connsiteX27" fmla="*/ 24524 w 431728"/>
                  <a:gd name="connsiteY27" fmla="*/ 181210 h 336192"/>
                  <a:gd name="connsiteX28" fmla="*/ 148414 w 431728"/>
                  <a:gd name="connsiteY28" fmla="*/ 314348 h 336192"/>
                  <a:gd name="connsiteX29" fmla="*/ 164933 w 431728"/>
                  <a:gd name="connsiteY29" fmla="*/ 318215 h 336192"/>
                  <a:gd name="connsiteX30" fmla="*/ 171541 w 431728"/>
                  <a:gd name="connsiteY30" fmla="*/ 323187 h 336192"/>
                  <a:gd name="connsiteX31" fmla="*/ 172091 w 431728"/>
                  <a:gd name="connsiteY31" fmla="*/ 331474 h 336192"/>
                  <a:gd name="connsiteX32" fmla="*/ 170394 w 431728"/>
                  <a:gd name="connsiteY32" fmla="*/ 336192 h 336192"/>
                  <a:gd name="connsiteX33" fmla="*/ 148922 w 431728"/>
                  <a:gd name="connsiteY33" fmla="*/ 336192 h 336192"/>
                  <a:gd name="connsiteX34" fmla="*/ 149469 w 431728"/>
                  <a:gd name="connsiteY34" fmla="*/ 334670 h 336192"/>
                  <a:gd name="connsiteX35" fmla="*/ 143407 w 431728"/>
                  <a:gd name="connsiteY35" fmla="*/ 333014 h 336192"/>
                  <a:gd name="connsiteX36" fmla="*/ 142305 w 431728"/>
                  <a:gd name="connsiteY36" fmla="*/ 333014 h 336192"/>
                  <a:gd name="connsiteX37" fmla="*/ 5103 w 431728"/>
                  <a:gd name="connsiteY37" fmla="*/ 184455 h 336192"/>
                  <a:gd name="connsiteX38" fmla="*/ 4552 w 431728"/>
                  <a:gd name="connsiteY38" fmla="*/ 182246 h 336192"/>
                  <a:gd name="connsiteX39" fmla="*/ 4552 w 431728"/>
                  <a:gd name="connsiteY39" fmla="*/ 181694 h 336192"/>
                  <a:gd name="connsiteX40" fmla="*/ 144 w 431728"/>
                  <a:gd name="connsiteY40" fmla="*/ 138618 h 336192"/>
                  <a:gd name="connsiteX41" fmla="*/ 2348 w 431728"/>
                  <a:gd name="connsiteY41" fmla="*/ 130886 h 336192"/>
                  <a:gd name="connsiteX42" fmla="*/ 10062 w 431728"/>
                  <a:gd name="connsiteY42" fmla="*/ 127572 h 336192"/>
                  <a:gd name="connsiteX43" fmla="*/ 80592 w 431728"/>
                  <a:gd name="connsiteY43" fmla="*/ 127572 h 336192"/>
                  <a:gd name="connsiteX44" fmla="*/ 80592 w 431728"/>
                  <a:gd name="connsiteY44" fmla="*/ 25404 h 336192"/>
                  <a:gd name="connsiteX45" fmla="*/ 105938 w 431728"/>
                  <a:gd name="connsiteY45" fmla="*/ 0 h 336192"/>
                  <a:gd name="connsiteX46" fmla="*/ 133489 w 431728"/>
                  <a:gd name="connsiteY46" fmla="*/ 0 h 336192"/>
                  <a:gd name="connsiteX47" fmla="*/ 158285 w 431728"/>
                  <a:gd name="connsiteY47" fmla="*/ 25404 h 336192"/>
                  <a:gd name="connsiteX48" fmla="*/ 158285 w 431728"/>
                  <a:gd name="connsiteY48" fmla="*/ 127572 h 336192"/>
                  <a:gd name="connsiteX49" fmla="*/ 272896 w 431728"/>
                  <a:gd name="connsiteY49" fmla="*/ 127572 h 336192"/>
                  <a:gd name="connsiteX50" fmla="*/ 272896 w 431728"/>
                  <a:gd name="connsiteY50" fmla="*/ 25404 h 336192"/>
                  <a:gd name="connsiteX51" fmla="*/ 298242 w 431728"/>
                  <a:gd name="connsiteY51" fmla="*/ 0 h 336192"/>
                  <a:gd name="connsiteX52" fmla="*/ 325793 w 431728"/>
                  <a:gd name="connsiteY52" fmla="*/ 0 h 336192"/>
                  <a:gd name="connsiteX53" fmla="*/ 351140 w 431728"/>
                  <a:gd name="connsiteY53" fmla="*/ 25404 h 336192"/>
                  <a:gd name="connsiteX54" fmla="*/ 351140 w 431728"/>
                  <a:gd name="connsiteY54" fmla="*/ 127572 h 336192"/>
                  <a:gd name="connsiteX55" fmla="*/ 421670 w 431728"/>
                  <a:gd name="connsiteY55" fmla="*/ 127572 h 336192"/>
                  <a:gd name="connsiteX56" fmla="*/ 428833 w 431728"/>
                  <a:gd name="connsiteY56" fmla="*/ 130886 h 336192"/>
                  <a:gd name="connsiteX57" fmla="*/ 431588 w 431728"/>
                  <a:gd name="connsiteY57" fmla="*/ 138618 h 336192"/>
                  <a:gd name="connsiteX58" fmla="*/ 426629 w 431728"/>
                  <a:gd name="connsiteY58" fmla="*/ 183351 h 336192"/>
                  <a:gd name="connsiteX59" fmla="*/ 426629 w 431728"/>
                  <a:gd name="connsiteY59" fmla="*/ 184455 h 336192"/>
                  <a:gd name="connsiteX60" fmla="*/ 289426 w 431728"/>
                  <a:gd name="connsiteY60" fmla="*/ 333014 h 336192"/>
                  <a:gd name="connsiteX61" fmla="*/ 287222 w 431728"/>
                  <a:gd name="connsiteY61" fmla="*/ 333566 h 336192"/>
                  <a:gd name="connsiteX62" fmla="*/ 285018 w 431728"/>
                  <a:gd name="connsiteY62" fmla="*/ 334118 h 336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31728" h="336192">
                    <a:moveTo>
                      <a:pt x="284256" y="336192"/>
                    </a:moveTo>
                    <a:lnTo>
                      <a:pt x="262918" y="336192"/>
                    </a:lnTo>
                    <a:lnTo>
                      <a:pt x="266799" y="326295"/>
                    </a:lnTo>
                    <a:cubicBezTo>
                      <a:pt x="268451" y="322082"/>
                      <a:pt x="268451" y="322082"/>
                      <a:pt x="268451" y="322082"/>
                    </a:cubicBezTo>
                    <a:cubicBezTo>
                      <a:pt x="269552" y="318768"/>
                      <a:pt x="272305" y="316558"/>
                      <a:pt x="275609" y="316006"/>
                    </a:cubicBezTo>
                    <a:cubicBezTo>
                      <a:pt x="283317" y="313796"/>
                      <a:pt x="283317" y="313796"/>
                      <a:pt x="283317" y="313796"/>
                    </a:cubicBezTo>
                    <a:cubicBezTo>
                      <a:pt x="283868" y="313796"/>
                      <a:pt x="283868" y="313796"/>
                      <a:pt x="283868" y="313796"/>
                    </a:cubicBezTo>
                    <a:cubicBezTo>
                      <a:pt x="346639" y="292251"/>
                      <a:pt x="393442" y="240874"/>
                      <a:pt x="406657" y="180658"/>
                    </a:cubicBezTo>
                    <a:cubicBezTo>
                      <a:pt x="410512" y="147511"/>
                      <a:pt x="410512" y="147511"/>
                      <a:pt x="410512" y="147511"/>
                    </a:cubicBezTo>
                    <a:cubicBezTo>
                      <a:pt x="341133" y="147511"/>
                      <a:pt x="341133" y="147511"/>
                      <a:pt x="341133" y="147511"/>
                    </a:cubicBezTo>
                    <a:cubicBezTo>
                      <a:pt x="335627" y="147511"/>
                      <a:pt x="331222" y="143092"/>
                      <a:pt x="331222" y="137567"/>
                    </a:cubicBezTo>
                    <a:cubicBezTo>
                      <a:pt x="331222" y="25422"/>
                      <a:pt x="331222" y="25422"/>
                      <a:pt x="331222" y="25422"/>
                    </a:cubicBezTo>
                    <a:cubicBezTo>
                      <a:pt x="331222" y="21555"/>
                      <a:pt x="328469" y="19898"/>
                      <a:pt x="325716" y="19898"/>
                    </a:cubicBezTo>
                    <a:cubicBezTo>
                      <a:pt x="298184" y="19898"/>
                      <a:pt x="298184" y="19898"/>
                      <a:pt x="298184" y="19898"/>
                    </a:cubicBezTo>
                    <a:cubicBezTo>
                      <a:pt x="295431" y="19898"/>
                      <a:pt x="292678" y="21555"/>
                      <a:pt x="292678" y="25422"/>
                    </a:cubicBezTo>
                    <a:cubicBezTo>
                      <a:pt x="292678" y="137567"/>
                      <a:pt x="292678" y="137567"/>
                      <a:pt x="292678" y="137567"/>
                    </a:cubicBezTo>
                    <a:cubicBezTo>
                      <a:pt x="292678" y="143092"/>
                      <a:pt x="288273" y="147511"/>
                      <a:pt x="282767" y="147511"/>
                    </a:cubicBezTo>
                    <a:cubicBezTo>
                      <a:pt x="148414" y="147511"/>
                      <a:pt x="148414" y="147511"/>
                      <a:pt x="148414" y="147511"/>
                    </a:cubicBezTo>
                    <a:cubicBezTo>
                      <a:pt x="142908" y="147511"/>
                      <a:pt x="138503" y="143092"/>
                      <a:pt x="138503" y="137567"/>
                    </a:cubicBezTo>
                    <a:cubicBezTo>
                      <a:pt x="138503" y="25422"/>
                      <a:pt x="138503" y="25422"/>
                      <a:pt x="138503" y="25422"/>
                    </a:cubicBezTo>
                    <a:cubicBezTo>
                      <a:pt x="138503" y="22107"/>
                      <a:pt x="136301" y="19898"/>
                      <a:pt x="133547" y="19898"/>
                    </a:cubicBezTo>
                    <a:cubicBezTo>
                      <a:pt x="106016" y="19898"/>
                      <a:pt x="106016" y="19898"/>
                      <a:pt x="106016" y="19898"/>
                    </a:cubicBezTo>
                    <a:cubicBezTo>
                      <a:pt x="103263" y="19898"/>
                      <a:pt x="100510" y="21555"/>
                      <a:pt x="100510" y="25422"/>
                    </a:cubicBezTo>
                    <a:cubicBezTo>
                      <a:pt x="100510" y="137567"/>
                      <a:pt x="100510" y="137567"/>
                      <a:pt x="100510" y="137567"/>
                    </a:cubicBezTo>
                    <a:cubicBezTo>
                      <a:pt x="100510" y="143092"/>
                      <a:pt x="96105" y="147511"/>
                      <a:pt x="90599" y="147511"/>
                    </a:cubicBezTo>
                    <a:cubicBezTo>
                      <a:pt x="21220" y="147511"/>
                      <a:pt x="21220" y="147511"/>
                      <a:pt x="21220" y="147511"/>
                    </a:cubicBezTo>
                    <a:cubicBezTo>
                      <a:pt x="24524" y="180105"/>
                      <a:pt x="24524" y="180105"/>
                      <a:pt x="24524" y="180105"/>
                    </a:cubicBezTo>
                    <a:cubicBezTo>
                      <a:pt x="24524" y="180658"/>
                      <a:pt x="24524" y="180658"/>
                      <a:pt x="24524" y="181210"/>
                    </a:cubicBezTo>
                    <a:cubicBezTo>
                      <a:pt x="38289" y="241426"/>
                      <a:pt x="85643" y="292803"/>
                      <a:pt x="148414" y="314348"/>
                    </a:cubicBezTo>
                    <a:cubicBezTo>
                      <a:pt x="164933" y="318215"/>
                      <a:pt x="164933" y="318215"/>
                      <a:pt x="164933" y="318215"/>
                    </a:cubicBezTo>
                    <a:cubicBezTo>
                      <a:pt x="167686" y="318768"/>
                      <a:pt x="169889" y="320425"/>
                      <a:pt x="171541" y="323187"/>
                    </a:cubicBezTo>
                    <a:cubicBezTo>
                      <a:pt x="172642" y="325397"/>
                      <a:pt x="173192" y="328712"/>
                      <a:pt x="172091" y="331474"/>
                    </a:cubicBezTo>
                    <a:lnTo>
                      <a:pt x="170394" y="336192"/>
                    </a:lnTo>
                    <a:lnTo>
                      <a:pt x="148922" y="336192"/>
                    </a:lnTo>
                    <a:lnTo>
                      <a:pt x="149469" y="334670"/>
                    </a:lnTo>
                    <a:cubicBezTo>
                      <a:pt x="143407" y="333014"/>
                      <a:pt x="143407" y="333014"/>
                      <a:pt x="143407" y="333014"/>
                    </a:cubicBezTo>
                    <a:cubicBezTo>
                      <a:pt x="142856" y="333014"/>
                      <a:pt x="142856" y="333014"/>
                      <a:pt x="142305" y="333014"/>
                    </a:cubicBezTo>
                    <a:cubicBezTo>
                      <a:pt x="72877" y="309266"/>
                      <a:pt x="19980" y="252383"/>
                      <a:pt x="5103" y="184455"/>
                    </a:cubicBezTo>
                    <a:cubicBezTo>
                      <a:pt x="4552" y="183351"/>
                      <a:pt x="4552" y="182799"/>
                      <a:pt x="4552" y="182246"/>
                    </a:cubicBezTo>
                    <a:cubicBezTo>
                      <a:pt x="4552" y="181694"/>
                      <a:pt x="4552" y="181694"/>
                      <a:pt x="4552" y="181694"/>
                    </a:cubicBezTo>
                    <a:cubicBezTo>
                      <a:pt x="144" y="138618"/>
                      <a:pt x="144" y="138618"/>
                      <a:pt x="144" y="138618"/>
                    </a:cubicBezTo>
                    <a:cubicBezTo>
                      <a:pt x="-408" y="135856"/>
                      <a:pt x="695" y="133095"/>
                      <a:pt x="2348" y="130886"/>
                    </a:cubicBezTo>
                    <a:cubicBezTo>
                      <a:pt x="4552" y="128677"/>
                      <a:pt x="7307" y="127572"/>
                      <a:pt x="10062" y="127572"/>
                    </a:cubicBezTo>
                    <a:cubicBezTo>
                      <a:pt x="80592" y="127572"/>
                      <a:pt x="80592" y="127572"/>
                      <a:pt x="80592" y="127572"/>
                    </a:cubicBezTo>
                    <a:cubicBezTo>
                      <a:pt x="80592" y="25404"/>
                      <a:pt x="80592" y="25404"/>
                      <a:pt x="80592" y="25404"/>
                    </a:cubicBezTo>
                    <a:cubicBezTo>
                      <a:pt x="80592" y="11045"/>
                      <a:pt x="91612" y="0"/>
                      <a:pt x="105938" y="0"/>
                    </a:cubicBezTo>
                    <a:cubicBezTo>
                      <a:pt x="133489" y="0"/>
                      <a:pt x="133489" y="0"/>
                      <a:pt x="133489" y="0"/>
                    </a:cubicBezTo>
                    <a:cubicBezTo>
                      <a:pt x="147265" y="0"/>
                      <a:pt x="158285" y="11045"/>
                      <a:pt x="158285" y="25404"/>
                    </a:cubicBezTo>
                    <a:cubicBezTo>
                      <a:pt x="158285" y="127572"/>
                      <a:pt x="158285" y="127572"/>
                      <a:pt x="158285" y="127572"/>
                    </a:cubicBezTo>
                    <a:cubicBezTo>
                      <a:pt x="272896" y="127572"/>
                      <a:pt x="272896" y="127572"/>
                      <a:pt x="272896" y="127572"/>
                    </a:cubicBezTo>
                    <a:cubicBezTo>
                      <a:pt x="272896" y="25404"/>
                      <a:pt x="272896" y="25404"/>
                      <a:pt x="272896" y="25404"/>
                    </a:cubicBezTo>
                    <a:cubicBezTo>
                      <a:pt x="272896" y="11045"/>
                      <a:pt x="283916" y="0"/>
                      <a:pt x="298242" y="0"/>
                    </a:cubicBezTo>
                    <a:cubicBezTo>
                      <a:pt x="325793" y="0"/>
                      <a:pt x="325793" y="0"/>
                      <a:pt x="325793" y="0"/>
                    </a:cubicBezTo>
                    <a:cubicBezTo>
                      <a:pt x="340120" y="0"/>
                      <a:pt x="351140" y="11045"/>
                      <a:pt x="351140" y="25404"/>
                    </a:cubicBezTo>
                    <a:cubicBezTo>
                      <a:pt x="351140" y="127572"/>
                      <a:pt x="351140" y="127572"/>
                      <a:pt x="351140" y="127572"/>
                    </a:cubicBezTo>
                    <a:cubicBezTo>
                      <a:pt x="421670" y="127572"/>
                      <a:pt x="421670" y="127572"/>
                      <a:pt x="421670" y="127572"/>
                    </a:cubicBezTo>
                    <a:cubicBezTo>
                      <a:pt x="424425" y="127572"/>
                      <a:pt x="427180" y="128677"/>
                      <a:pt x="428833" y="130886"/>
                    </a:cubicBezTo>
                    <a:cubicBezTo>
                      <a:pt x="431037" y="133095"/>
                      <a:pt x="432139" y="135856"/>
                      <a:pt x="431588" y="138618"/>
                    </a:cubicBezTo>
                    <a:cubicBezTo>
                      <a:pt x="426629" y="183351"/>
                      <a:pt x="426629" y="183351"/>
                      <a:pt x="426629" y="183351"/>
                    </a:cubicBezTo>
                    <a:cubicBezTo>
                      <a:pt x="426629" y="183351"/>
                      <a:pt x="426629" y="183903"/>
                      <a:pt x="426629" y="184455"/>
                    </a:cubicBezTo>
                    <a:cubicBezTo>
                      <a:pt x="411751" y="251831"/>
                      <a:pt x="359405" y="309266"/>
                      <a:pt x="289426" y="333014"/>
                    </a:cubicBezTo>
                    <a:cubicBezTo>
                      <a:pt x="288875" y="333014"/>
                      <a:pt x="287773" y="333566"/>
                      <a:pt x="287222" y="333566"/>
                    </a:cubicBezTo>
                    <a:cubicBezTo>
                      <a:pt x="285018" y="334118"/>
                      <a:pt x="285018" y="334118"/>
                      <a:pt x="285018" y="334118"/>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3" name="Rectangle 362"/>
              <p:cNvSpPr/>
              <p:nvPr/>
            </p:nvSpPr>
            <p:spPr bwMode="auto">
              <a:xfrm>
                <a:off x="5262562" y="3748088"/>
                <a:ext cx="69056" cy="20955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364" name="Rectangle 363"/>
              <p:cNvSpPr/>
              <p:nvPr/>
            </p:nvSpPr>
            <p:spPr bwMode="auto">
              <a:xfrm>
                <a:off x="5619750" y="3748088"/>
                <a:ext cx="69056" cy="20955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365" name="Rectangle 364"/>
              <p:cNvSpPr/>
              <p:nvPr/>
            </p:nvSpPr>
            <p:spPr bwMode="auto">
              <a:xfrm rot="5400000">
                <a:off x="5416153" y="3594498"/>
                <a:ext cx="69056" cy="376238"/>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grpSp>
      </p:grpSp>
      <p:sp>
        <p:nvSpPr>
          <p:cNvPr id="431" name="TextBox 430"/>
          <p:cNvSpPr txBox="1"/>
          <p:nvPr/>
        </p:nvSpPr>
        <p:spPr>
          <a:xfrm>
            <a:off x="2541494" y="4873687"/>
            <a:ext cx="474490" cy="276999"/>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pPr marR="0" indent="0" defTabSz="932472" fontAlgn="base">
              <a:lnSpc>
                <a:spcPct val="100000"/>
              </a:lnSpc>
              <a:spcAft>
                <a:spcPct val="0"/>
              </a:spcAft>
              <a:buClrTx/>
              <a:buSzTx/>
              <a:buFontTx/>
              <a:buNone/>
              <a:tabLst/>
              <a:defRPr/>
            </a:pPr>
            <a:r>
              <a:rPr lang="en-US" sz="1800" dirty="0">
                <a:solidFill>
                  <a:schemeClr val="bg2"/>
                </a:solidFill>
                <a:latin typeface="+mn-lt"/>
              </a:rPr>
              <a:t>Data</a:t>
            </a:r>
          </a:p>
        </p:txBody>
      </p:sp>
      <p:sp>
        <p:nvSpPr>
          <p:cNvPr id="153" name="Rectangle 152"/>
          <p:cNvSpPr/>
          <p:nvPr/>
        </p:nvSpPr>
        <p:spPr bwMode="auto">
          <a:xfrm>
            <a:off x="-7682" y="1681015"/>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marL="0" marR="0" lvl="0" indent="0" algn="ctr" defTabSz="739440" eaLnBrk="1" fontAlgn="auto" latinLnBrk="0" hangingPunct="1">
              <a:lnSpc>
                <a:spcPct val="100000"/>
              </a:lnSpc>
              <a:spcBef>
                <a:spcPct val="0"/>
              </a:spcBef>
              <a:spcAft>
                <a:spcPct val="35000"/>
              </a:spcAft>
              <a:buClrTx/>
              <a:buSzTx/>
              <a:buFontTx/>
              <a:buNone/>
              <a:tabLst/>
              <a:defRPr/>
            </a:pPr>
            <a:r>
              <a:rPr kumimoji="0" lang="en-US" sz="1428"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Information Management</a:t>
            </a:r>
          </a:p>
        </p:txBody>
      </p:sp>
      <p:sp>
        <p:nvSpPr>
          <p:cNvPr id="154" name="Rectangle 153"/>
          <p:cNvSpPr/>
          <p:nvPr/>
        </p:nvSpPr>
        <p:spPr>
          <a:xfrm>
            <a:off x="556400" y="4230619"/>
            <a:ext cx="1296319" cy="27028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effectLst/>
                <a:uLnTx/>
                <a:uFillTx/>
                <a:cs typeface="Segoe UI Semilight" panose="020B0402040204020203" pitchFamily="34" charset="0"/>
              </a:rPr>
              <a:t>Event Hubs</a:t>
            </a:r>
            <a:endParaRPr kumimoji="0" lang="en-US" sz="1122" b="0" i="0" u="none" strike="noStrike" kern="0" cap="none" spc="0" normalizeH="0" baseline="0" noProof="0" dirty="0">
              <a:ln>
                <a:noFill/>
              </a:ln>
              <a:effectLst/>
              <a:uLnTx/>
              <a:uFillTx/>
            </a:endParaRPr>
          </a:p>
        </p:txBody>
      </p:sp>
      <p:sp>
        <p:nvSpPr>
          <p:cNvPr id="155" name="Rectangle 154"/>
          <p:cNvSpPr/>
          <p:nvPr/>
        </p:nvSpPr>
        <p:spPr>
          <a:xfrm>
            <a:off x="556400" y="3421708"/>
            <a:ext cx="1296319" cy="27028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Data Catalog</a:t>
            </a:r>
          </a:p>
        </p:txBody>
      </p:sp>
      <p:grpSp>
        <p:nvGrpSpPr>
          <p:cNvPr id="156" name="Group 155"/>
          <p:cNvGrpSpPr/>
          <p:nvPr/>
        </p:nvGrpSpPr>
        <p:grpSpPr>
          <a:xfrm>
            <a:off x="235224" y="3378419"/>
            <a:ext cx="280471" cy="298350"/>
            <a:chOff x="3232150" y="382588"/>
            <a:chExt cx="5727700" cy="6092825"/>
          </a:xfrm>
          <a:solidFill>
            <a:schemeClr val="accent2">
              <a:lumMod val="75000"/>
            </a:schemeClr>
          </a:solidFill>
        </p:grpSpPr>
        <p:sp>
          <p:nvSpPr>
            <p:cNvPr id="157"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58"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59"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
        <p:nvSpPr>
          <p:cNvPr id="160" name="Rectangle 159"/>
          <p:cNvSpPr/>
          <p:nvPr/>
        </p:nvSpPr>
        <p:spPr>
          <a:xfrm>
            <a:off x="556400" y="2569537"/>
            <a:ext cx="1296319" cy="27028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Data Factory </a:t>
            </a:r>
            <a:endParaRPr kumimoji="0" lang="en-US" sz="1122" b="0" i="0" u="none" strike="noStrike" kern="0" cap="none" spc="0" normalizeH="0" baseline="0" noProof="0" dirty="0">
              <a:ln>
                <a:noFill/>
              </a:ln>
              <a:solidFill>
                <a:schemeClr val="accent2">
                  <a:lumMod val="75000"/>
                </a:schemeClr>
              </a:solidFill>
              <a:effectLst/>
              <a:uLnTx/>
              <a:uFillTx/>
            </a:endParaRPr>
          </a:p>
        </p:txBody>
      </p:sp>
      <p:sp>
        <p:nvSpPr>
          <p:cNvPr id="161" name="Freeform 160"/>
          <p:cNvSpPr/>
          <p:nvPr/>
        </p:nvSpPr>
        <p:spPr bwMode="auto">
          <a:xfrm>
            <a:off x="231137" y="2507053"/>
            <a:ext cx="292163" cy="307023"/>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62" name="Freeform 161"/>
          <p:cNvSpPr/>
          <p:nvPr/>
        </p:nvSpPr>
        <p:spPr bwMode="auto">
          <a:xfrm>
            <a:off x="251864" y="4235643"/>
            <a:ext cx="236184" cy="247159"/>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chemeClr val="tx1"/>
              </a:solidFill>
              <a:effectLst/>
              <a:uLnTx/>
              <a:uFillTx/>
              <a:ea typeface="Segoe UI" pitchFamily="34" charset="0"/>
              <a:cs typeface="Segoe UI" pitchFamily="34" charset="0"/>
            </a:endParaRPr>
          </a:p>
        </p:txBody>
      </p:sp>
      <p:sp>
        <p:nvSpPr>
          <p:cNvPr id="166" name="Freeform 165"/>
          <p:cNvSpPr>
            <a:spLocks noChangeAspect="1"/>
          </p:cNvSpPr>
          <p:nvPr/>
        </p:nvSpPr>
        <p:spPr bwMode="auto">
          <a:xfrm>
            <a:off x="6507510" y="2744111"/>
            <a:ext cx="1106439" cy="115785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chemeClr val="tx1"/>
              </a:solidFill>
              <a:effectLst/>
              <a:uLnTx/>
              <a:uFillTx/>
              <a:ea typeface="Segoe UI" pitchFamily="34" charset="0"/>
              <a:cs typeface="Segoe UI" pitchFamily="34" charset="0"/>
            </a:endParaRPr>
          </a:p>
        </p:txBody>
      </p:sp>
      <p:sp>
        <p:nvSpPr>
          <p:cNvPr id="151" name="TextBox 150"/>
          <p:cNvSpPr txBox="1"/>
          <p:nvPr/>
        </p:nvSpPr>
        <p:spPr>
          <a:xfrm>
            <a:off x="2629709" y="1667514"/>
            <a:ext cx="755682" cy="696823"/>
          </a:xfrm>
          <a:prstGeom prst="rect">
            <a:avLst/>
          </a:prstGeom>
          <a:noFill/>
        </p:spPr>
        <p:txBody>
          <a:bodyPr wrap="square" lIns="0" tIns="149195" rIns="186494" bIns="149195" rtlCol="0">
            <a:noAutofit/>
          </a:bodyPr>
          <a:lstStyle/>
          <a:p>
            <a:pPr defTabSz="951121">
              <a:lnSpc>
                <a:spcPct val="90000"/>
              </a:lnSpc>
              <a:spcAft>
                <a:spcPts val="612"/>
              </a:spcAft>
            </a:pPr>
            <a:r>
              <a:rPr lang="en-US" sz="1200" spc="-31" dirty="0">
                <a:solidFill>
                  <a:schemeClr val="accent1"/>
                </a:solidFill>
                <a:cs typeface="Segoe UI Semilight" panose="020B0402040204020203" pitchFamily="34" charset="0"/>
              </a:rPr>
              <a:t>Data sources</a:t>
            </a:r>
          </a:p>
        </p:txBody>
      </p:sp>
      <p:sp>
        <p:nvSpPr>
          <p:cNvPr id="152" name="TextBox 151"/>
          <p:cNvSpPr txBox="1"/>
          <p:nvPr/>
        </p:nvSpPr>
        <p:spPr>
          <a:xfrm>
            <a:off x="2629709" y="2952601"/>
            <a:ext cx="649121" cy="696823"/>
          </a:xfrm>
          <a:prstGeom prst="rect">
            <a:avLst/>
          </a:prstGeom>
          <a:noFill/>
        </p:spPr>
        <p:txBody>
          <a:bodyPr wrap="square" lIns="0" tIns="149195" rIns="186494" bIns="149195" rtlCol="0">
            <a:noAutofit/>
          </a:bodyPr>
          <a:lstStyle/>
          <a:p>
            <a:pPr defTabSz="951121">
              <a:lnSpc>
                <a:spcPct val="90000"/>
              </a:lnSpc>
              <a:spcBef>
                <a:spcPct val="0"/>
              </a:spcBef>
              <a:spcAft>
                <a:spcPts val="612"/>
              </a:spcAft>
            </a:pPr>
            <a:r>
              <a:rPr lang="en-US" sz="1200" spc="-31" dirty="0">
                <a:solidFill>
                  <a:schemeClr val="accent1"/>
                </a:solidFill>
                <a:cs typeface="Segoe UI Semilight" panose="020B0402040204020203" pitchFamily="34" charset="0"/>
              </a:rPr>
              <a:t>Apps</a:t>
            </a:r>
          </a:p>
        </p:txBody>
      </p:sp>
      <p:sp>
        <p:nvSpPr>
          <p:cNvPr id="163" name="TextBox 162"/>
          <p:cNvSpPr txBox="1"/>
          <p:nvPr/>
        </p:nvSpPr>
        <p:spPr>
          <a:xfrm>
            <a:off x="2629709" y="3989889"/>
            <a:ext cx="835805" cy="894582"/>
          </a:xfrm>
          <a:prstGeom prst="rect">
            <a:avLst/>
          </a:prstGeom>
          <a:noFill/>
        </p:spPr>
        <p:txBody>
          <a:bodyPr wrap="square" lIns="0" tIns="149195" rIns="186494" bIns="149195" rtlCol="0">
            <a:noAutofit/>
          </a:bodyPr>
          <a:lstStyle/>
          <a:p>
            <a:pPr defTabSz="951121">
              <a:lnSpc>
                <a:spcPct val="90000"/>
              </a:lnSpc>
              <a:spcBef>
                <a:spcPct val="0"/>
              </a:spcBef>
              <a:spcAft>
                <a:spcPts val="612"/>
              </a:spcAft>
            </a:pPr>
            <a:r>
              <a:rPr lang="en-US" sz="1200" spc="-31" dirty="0">
                <a:solidFill>
                  <a:schemeClr val="accent1"/>
                </a:solidFill>
                <a:cs typeface="Segoe UI Semilight" panose="020B0402040204020203" pitchFamily="34" charset="0"/>
              </a:rPr>
              <a:t>Sensors </a:t>
            </a:r>
            <a:br>
              <a:rPr lang="en-US" sz="1200" spc="-31" dirty="0">
                <a:solidFill>
                  <a:schemeClr val="accent1"/>
                </a:solidFill>
                <a:cs typeface="Segoe UI Semilight" panose="020B0402040204020203" pitchFamily="34" charset="0"/>
              </a:rPr>
            </a:br>
            <a:r>
              <a:rPr lang="en-US" sz="1200" spc="-31" dirty="0">
                <a:solidFill>
                  <a:schemeClr val="accent1"/>
                </a:solidFill>
                <a:cs typeface="Segoe UI Semilight" panose="020B0402040204020203" pitchFamily="34" charset="0"/>
              </a:rPr>
              <a:t>and </a:t>
            </a:r>
            <a:br>
              <a:rPr lang="en-US" sz="1200" spc="-31" dirty="0">
                <a:solidFill>
                  <a:schemeClr val="accent1"/>
                </a:solidFill>
                <a:cs typeface="Segoe UI Semilight" panose="020B0402040204020203" pitchFamily="34" charset="0"/>
              </a:rPr>
            </a:br>
            <a:r>
              <a:rPr lang="en-US" sz="1200" spc="-31" dirty="0">
                <a:solidFill>
                  <a:schemeClr val="accent1"/>
                </a:solidFill>
                <a:cs typeface="Segoe UI Semilight" panose="020B0402040204020203" pitchFamily="34" charset="0"/>
              </a:rPr>
              <a:t>devices</a:t>
            </a:r>
          </a:p>
        </p:txBody>
      </p:sp>
      <p:pic>
        <p:nvPicPr>
          <p:cNvPr id="165" name="Picture 16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967935" y="2841986"/>
            <a:ext cx="577638" cy="675875"/>
          </a:xfrm>
          <a:prstGeom prst="rect">
            <a:avLst/>
          </a:prstGeom>
        </p:spPr>
      </p:pic>
      <p:pic>
        <p:nvPicPr>
          <p:cNvPr id="167" name="Picture 16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020268" y="4099630"/>
            <a:ext cx="559165" cy="654261"/>
          </a:xfrm>
          <a:prstGeom prst="rect">
            <a:avLst/>
          </a:prstGeom>
        </p:spPr>
      </p:pic>
      <p:pic>
        <p:nvPicPr>
          <p:cNvPr id="168" name="Picture 16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020269" y="1643323"/>
            <a:ext cx="510373" cy="597171"/>
          </a:xfrm>
          <a:prstGeom prst="rect">
            <a:avLst/>
          </a:prstGeom>
        </p:spPr>
      </p:pic>
      <p:sp>
        <p:nvSpPr>
          <p:cNvPr id="4" name="Rectangle 3"/>
          <p:cNvSpPr/>
          <p:nvPr/>
        </p:nvSpPr>
        <p:spPr>
          <a:xfrm>
            <a:off x="6212829" y="3991133"/>
            <a:ext cx="1627571" cy="369332"/>
          </a:xfrm>
          <a:prstGeom prst="rect">
            <a:avLst/>
          </a:prstGeom>
        </p:spPr>
        <p:txBody>
          <a:bodyPr wrap="square">
            <a:spAutoFit/>
          </a:bodyPr>
          <a:lstStyle/>
          <a:p>
            <a:pPr lvl="0" algn="ctr" defTabSz="932472" fontAlgn="base">
              <a:spcBef>
                <a:spcPct val="0"/>
              </a:spcBef>
              <a:spcAft>
                <a:spcPct val="0"/>
              </a:spcAft>
              <a:defRPr/>
            </a:pPr>
            <a:r>
              <a:rPr lang="en-US" kern="0" dirty="0">
                <a:solidFill>
                  <a:srgbClr val="0078D7"/>
                </a:solidFill>
              </a:rPr>
              <a:t>Event Hubs</a:t>
            </a:r>
          </a:p>
        </p:txBody>
      </p:sp>
      <p:cxnSp>
        <p:nvCxnSpPr>
          <p:cNvPr id="14" name="Straight Arrow Connector 13"/>
          <p:cNvCxnSpPr/>
          <p:nvPr/>
        </p:nvCxnSpPr>
        <p:spPr>
          <a:xfrm>
            <a:off x="7686069" y="3195426"/>
            <a:ext cx="1438593" cy="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45" name="Group 144"/>
          <p:cNvGrpSpPr>
            <a:grpSpLocks noChangeAspect="1"/>
          </p:cNvGrpSpPr>
          <p:nvPr/>
        </p:nvGrpSpPr>
        <p:grpSpPr>
          <a:xfrm>
            <a:off x="11028594" y="4149142"/>
            <a:ext cx="715325" cy="457200"/>
            <a:chOff x="7884058" y="5368509"/>
            <a:chExt cx="324905" cy="207663"/>
          </a:xfrm>
          <a:solidFill>
            <a:schemeClr val="accent1"/>
          </a:solidFill>
        </p:grpSpPr>
        <p:sp>
          <p:nvSpPr>
            <p:cNvPr id="146"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47"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48"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49"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50"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grpSp>
      <p:grpSp>
        <p:nvGrpSpPr>
          <p:cNvPr id="164" name="Group 163"/>
          <p:cNvGrpSpPr>
            <a:grpSpLocks noChangeAspect="1"/>
          </p:cNvGrpSpPr>
          <p:nvPr/>
        </p:nvGrpSpPr>
        <p:grpSpPr>
          <a:xfrm>
            <a:off x="9298354" y="4126529"/>
            <a:ext cx="595165" cy="457200"/>
            <a:chOff x="1260022" y="5196402"/>
            <a:chExt cx="3273425" cy="2514600"/>
          </a:xfrm>
          <a:solidFill>
            <a:schemeClr val="accent1"/>
          </a:solidFill>
        </p:grpSpPr>
        <p:sp>
          <p:nvSpPr>
            <p:cNvPr id="169" name="Freeform 168"/>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170" name="Freeform 169"/>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171" name="Freeform 170"/>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172" name="Freeform 171"/>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grpSp>
      <p:sp>
        <p:nvSpPr>
          <p:cNvPr id="173" name="Freeform 172"/>
          <p:cNvSpPr>
            <a:spLocks noChangeAspect="1"/>
          </p:cNvSpPr>
          <p:nvPr/>
        </p:nvSpPr>
        <p:spPr bwMode="auto">
          <a:xfrm>
            <a:off x="11072410" y="2996116"/>
            <a:ext cx="604165" cy="45720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93260" tIns="46630" rIns="93260" bIns="46630" numCol="1" anchor="t" anchorCtr="0" compatLnSpc="1">
            <a:prstTxWarp prst="textNoShape">
              <a:avLst/>
            </a:prstTxWarp>
          </a:bodyPr>
          <a:lstStyle/>
          <a:p>
            <a:endParaRPr lang="en-US" sz="1632" dirty="0"/>
          </a:p>
        </p:txBody>
      </p:sp>
      <p:sp>
        <p:nvSpPr>
          <p:cNvPr id="174" name="Freeform 173"/>
          <p:cNvSpPr>
            <a:spLocks noChangeAspect="1"/>
          </p:cNvSpPr>
          <p:nvPr/>
        </p:nvSpPr>
        <p:spPr bwMode="auto">
          <a:xfrm flipH="1">
            <a:off x="11152250" y="1768872"/>
            <a:ext cx="432035" cy="457200"/>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grpSp>
        <p:nvGrpSpPr>
          <p:cNvPr id="175" name="Group 174"/>
          <p:cNvGrpSpPr>
            <a:grpSpLocks noChangeAspect="1"/>
          </p:cNvGrpSpPr>
          <p:nvPr/>
        </p:nvGrpSpPr>
        <p:grpSpPr>
          <a:xfrm>
            <a:off x="9380163" y="1754560"/>
            <a:ext cx="373295" cy="457200"/>
            <a:chOff x="-3084513" y="3390510"/>
            <a:chExt cx="2716213" cy="3363913"/>
          </a:xfrm>
          <a:solidFill>
            <a:schemeClr val="accent1"/>
          </a:solidFill>
        </p:grpSpPr>
        <p:sp>
          <p:nvSpPr>
            <p:cNvPr id="176"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7"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79" name="TextBox 178"/>
          <p:cNvSpPr txBox="1"/>
          <p:nvPr/>
        </p:nvSpPr>
        <p:spPr>
          <a:xfrm>
            <a:off x="9014309" y="2161960"/>
            <a:ext cx="1318683" cy="397536"/>
          </a:xfrm>
          <a:prstGeom prst="rect">
            <a:avLst/>
          </a:prstGeom>
          <a:noFill/>
        </p:spPr>
        <p:txBody>
          <a:bodyPr wrap="square" lIns="0" tIns="149195" rIns="186494" bIns="149195" rtlCol="0">
            <a:noAutofit/>
          </a:bodyPr>
          <a:lstStyle/>
          <a:p>
            <a:pPr algn="ctr" defTabSz="951121">
              <a:lnSpc>
                <a:spcPct val="90000"/>
              </a:lnSpc>
              <a:spcAft>
                <a:spcPts val="612"/>
              </a:spcAft>
            </a:pPr>
            <a:r>
              <a:rPr lang="en-US" sz="1200" spc="-31" dirty="0">
                <a:solidFill>
                  <a:schemeClr val="accent1"/>
                </a:solidFill>
                <a:cs typeface="Segoe UI Semilight" panose="020B0402040204020203" pitchFamily="34" charset="0"/>
              </a:rPr>
              <a:t>SQL Database</a:t>
            </a:r>
          </a:p>
        </p:txBody>
      </p:sp>
      <p:sp>
        <p:nvSpPr>
          <p:cNvPr id="180" name="TextBox 179"/>
          <p:cNvSpPr txBox="1"/>
          <p:nvPr/>
        </p:nvSpPr>
        <p:spPr>
          <a:xfrm>
            <a:off x="10785337" y="2161959"/>
            <a:ext cx="1369905" cy="696823"/>
          </a:xfrm>
          <a:prstGeom prst="rect">
            <a:avLst/>
          </a:prstGeom>
          <a:noFill/>
        </p:spPr>
        <p:txBody>
          <a:bodyPr wrap="square" lIns="0" tIns="149195" rIns="186494" bIns="149195" rtlCol="0">
            <a:noAutofit/>
          </a:bodyPr>
          <a:lstStyle/>
          <a:p>
            <a:pPr algn="ctr" defTabSz="951121">
              <a:lnSpc>
                <a:spcPct val="90000"/>
              </a:lnSpc>
              <a:spcAft>
                <a:spcPts val="612"/>
              </a:spcAft>
            </a:pPr>
            <a:r>
              <a:rPr lang="en-US" sz="1200" spc="-31" dirty="0">
                <a:solidFill>
                  <a:schemeClr val="accent1"/>
                </a:solidFill>
                <a:cs typeface="Segoe UI Semilight" panose="020B0402040204020203" pitchFamily="34" charset="0"/>
              </a:rPr>
              <a:t>Machine Learning</a:t>
            </a:r>
          </a:p>
        </p:txBody>
      </p:sp>
      <p:cxnSp>
        <p:nvCxnSpPr>
          <p:cNvPr id="181" name="Straight Arrow Connector 180"/>
          <p:cNvCxnSpPr/>
          <p:nvPr/>
        </p:nvCxnSpPr>
        <p:spPr>
          <a:xfrm rot="5400000" flipV="1">
            <a:off x="10462670" y="1574182"/>
            <a:ext cx="0" cy="91440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2" name="TextBox 181"/>
          <p:cNvSpPr txBox="1"/>
          <p:nvPr/>
        </p:nvSpPr>
        <p:spPr>
          <a:xfrm>
            <a:off x="10768404" y="3409973"/>
            <a:ext cx="1369905" cy="397528"/>
          </a:xfrm>
          <a:prstGeom prst="rect">
            <a:avLst/>
          </a:prstGeom>
          <a:noFill/>
        </p:spPr>
        <p:txBody>
          <a:bodyPr wrap="square" lIns="0" tIns="149195" rIns="186494" bIns="149195" rtlCol="0">
            <a:noAutofit/>
          </a:bodyPr>
          <a:lstStyle/>
          <a:p>
            <a:pPr algn="ctr" defTabSz="951121">
              <a:lnSpc>
                <a:spcPct val="90000"/>
              </a:lnSpc>
              <a:spcAft>
                <a:spcPts val="612"/>
              </a:spcAft>
            </a:pPr>
            <a:r>
              <a:rPr lang="en-US" sz="1200" spc="-31" dirty="0">
                <a:solidFill>
                  <a:schemeClr val="accent1"/>
                </a:solidFill>
                <a:cs typeface="Segoe UI Semilight" panose="020B0402040204020203" pitchFamily="34" charset="0"/>
              </a:rPr>
              <a:t>HDInsight</a:t>
            </a:r>
          </a:p>
        </p:txBody>
      </p:sp>
      <p:sp>
        <p:nvSpPr>
          <p:cNvPr id="184" name="TextBox 183"/>
          <p:cNvSpPr txBox="1"/>
          <p:nvPr/>
        </p:nvSpPr>
        <p:spPr>
          <a:xfrm>
            <a:off x="9014309" y="3341844"/>
            <a:ext cx="1369905" cy="397528"/>
          </a:xfrm>
          <a:prstGeom prst="rect">
            <a:avLst/>
          </a:prstGeom>
          <a:noFill/>
        </p:spPr>
        <p:txBody>
          <a:bodyPr wrap="square" lIns="0" tIns="149195" rIns="186494" bIns="149195" rtlCol="0">
            <a:noAutofit/>
          </a:bodyPr>
          <a:lstStyle/>
          <a:p>
            <a:pPr algn="ctr" defTabSz="951121">
              <a:lnSpc>
                <a:spcPct val="90000"/>
              </a:lnSpc>
              <a:spcAft>
                <a:spcPts val="612"/>
              </a:spcAft>
            </a:pPr>
            <a:r>
              <a:rPr lang="en-US" sz="1200" spc="-31" dirty="0">
                <a:solidFill>
                  <a:schemeClr val="accent1"/>
                </a:solidFill>
                <a:cs typeface="Segoe UI Semilight" panose="020B0402040204020203" pitchFamily="34" charset="0"/>
              </a:rPr>
              <a:t>Storage</a:t>
            </a:r>
          </a:p>
        </p:txBody>
      </p:sp>
      <p:sp>
        <p:nvSpPr>
          <p:cNvPr id="185" name="Oval 88"/>
          <p:cNvSpPr/>
          <p:nvPr/>
        </p:nvSpPr>
        <p:spPr>
          <a:xfrm>
            <a:off x="9432698" y="3067013"/>
            <a:ext cx="305649" cy="318113"/>
          </a:xfrm>
          <a:custGeom>
            <a:avLst/>
            <a:gdLst/>
            <a:ahLst/>
            <a:cxnLst/>
            <a:rect l="l" t="t" r="r" b="b"/>
            <a:pathLst>
              <a:path w="1255211" h="1656051">
                <a:moveTo>
                  <a:pt x="638840" y="98404"/>
                </a:moveTo>
                <a:cubicBezTo>
                  <a:pt x="356498" y="98404"/>
                  <a:pt x="127615" y="169347"/>
                  <a:pt x="127615" y="256860"/>
                </a:cubicBezTo>
                <a:cubicBezTo>
                  <a:pt x="127615" y="344373"/>
                  <a:pt x="356498" y="415316"/>
                  <a:pt x="638840" y="415316"/>
                </a:cubicBezTo>
                <a:cubicBezTo>
                  <a:pt x="921182" y="415316"/>
                  <a:pt x="1150065" y="344373"/>
                  <a:pt x="1150065" y="256860"/>
                </a:cubicBezTo>
                <a:cubicBezTo>
                  <a:pt x="1150065" y="169347"/>
                  <a:pt x="921182" y="98404"/>
                  <a:pt x="638840" y="98404"/>
                </a:cubicBezTo>
                <a:close/>
                <a:moveTo>
                  <a:pt x="627606" y="7"/>
                </a:moveTo>
                <a:cubicBezTo>
                  <a:pt x="834366" y="-787"/>
                  <a:pt x="1214415" y="70042"/>
                  <a:pt x="1247888" y="228376"/>
                </a:cubicBezTo>
                <a:lnTo>
                  <a:pt x="1255211" y="223614"/>
                </a:lnTo>
                <a:lnTo>
                  <a:pt x="1255211" y="317516"/>
                </a:lnTo>
                <a:lnTo>
                  <a:pt x="1255211" y="1338542"/>
                </a:lnTo>
                <a:lnTo>
                  <a:pt x="1255211" y="1404562"/>
                </a:lnTo>
                <a:lnTo>
                  <a:pt x="1241216" y="1404562"/>
                </a:lnTo>
                <a:cubicBezTo>
                  <a:pt x="1181427" y="1548293"/>
                  <a:pt x="929392" y="1656051"/>
                  <a:pt x="627606" y="1656051"/>
                </a:cubicBezTo>
                <a:cubicBezTo>
                  <a:pt x="325821" y="1656051"/>
                  <a:pt x="73786" y="1548293"/>
                  <a:pt x="13998" y="1404562"/>
                </a:cubicBezTo>
                <a:lnTo>
                  <a:pt x="0" y="1404562"/>
                </a:lnTo>
                <a:lnTo>
                  <a:pt x="0" y="1338542"/>
                </a:lnTo>
                <a:lnTo>
                  <a:pt x="0" y="317516"/>
                </a:lnTo>
                <a:lnTo>
                  <a:pt x="0" y="280764"/>
                </a:lnTo>
                <a:cubicBezTo>
                  <a:pt x="2442" y="280764"/>
                  <a:pt x="4882" y="233138"/>
                  <a:pt x="7323" y="233138"/>
                </a:cubicBezTo>
                <a:cubicBezTo>
                  <a:pt x="40799" y="74804"/>
                  <a:pt x="420845" y="801"/>
                  <a:pt x="627606" y="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a:endParaRPr lang="en-US" sz="1350">
              <a:gradFill>
                <a:gsLst>
                  <a:gs pos="1250">
                    <a:srgbClr val="505050"/>
                  </a:gs>
                  <a:gs pos="74000">
                    <a:srgbClr val="505050"/>
                  </a:gs>
                </a:gsLst>
                <a:lin ang="5400000" scaled="0"/>
              </a:gradFill>
            </a:endParaRPr>
          </a:p>
        </p:txBody>
      </p:sp>
      <p:sp>
        <p:nvSpPr>
          <p:cNvPr id="187" name="TextBox 186"/>
          <p:cNvSpPr txBox="1"/>
          <p:nvPr/>
        </p:nvSpPr>
        <p:spPr>
          <a:xfrm>
            <a:off x="10717602" y="4581839"/>
            <a:ext cx="1535609" cy="397528"/>
          </a:xfrm>
          <a:prstGeom prst="rect">
            <a:avLst/>
          </a:prstGeom>
          <a:noFill/>
        </p:spPr>
        <p:txBody>
          <a:bodyPr wrap="square" lIns="0" tIns="149195" rIns="186494" bIns="149195" rtlCol="0">
            <a:noAutofit/>
          </a:bodyPr>
          <a:lstStyle/>
          <a:p>
            <a:pPr algn="ctr" defTabSz="951121">
              <a:lnSpc>
                <a:spcPct val="90000"/>
              </a:lnSpc>
              <a:spcAft>
                <a:spcPts val="612"/>
              </a:spcAft>
            </a:pPr>
            <a:r>
              <a:rPr lang="en-US" sz="1200" spc="-31" dirty="0">
                <a:solidFill>
                  <a:schemeClr val="accent1"/>
                </a:solidFill>
                <a:cs typeface="Segoe UI Semilight" panose="020B0402040204020203" pitchFamily="34" charset="0"/>
              </a:rPr>
              <a:t>Power BI</a:t>
            </a:r>
          </a:p>
        </p:txBody>
      </p:sp>
      <p:sp>
        <p:nvSpPr>
          <p:cNvPr id="188" name="TextBox 187"/>
          <p:cNvSpPr txBox="1"/>
          <p:nvPr/>
        </p:nvSpPr>
        <p:spPr>
          <a:xfrm>
            <a:off x="9014309" y="4562789"/>
            <a:ext cx="1504993" cy="397528"/>
          </a:xfrm>
          <a:prstGeom prst="rect">
            <a:avLst/>
          </a:prstGeom>
          <a:noFill/>
        </p:spPr>
        <p:txBody>
          <a:bodyPr wrap="square" lIns="0" tIns="149195" rIns="186494" bIns="149195" rtlCol="0">
            <a:noAutofit/>
          </a:bodyPr>
          <a:lstStyle/>
          <a:p>
            <a:pPr algn="ctr" defTabSz="951121">
              <a:lnSpc>
                <a:spcPct val="90000"/>
              </a:lnSpc>
              <a:spcAft>
                <a:spcPts val="612"/>
              </a:spcAft>
            </a:pPr>
            <a:r>
              <a:rPr lang="en-US" sz="1200" spc="-31" dirty="0">
                <a:solidFill>
                  <a:schemeClr val="accent1"/>
                </a:solidFill>
                <a:cs typeface="Segoe UI Semilight" panose="020B0402040204020203" pitchFamily="34" charset="0"/>
              </a:rPr>
              <a:t>Stream Analytics</a:t>
            </a:r>
          </a:p>
        </p:txBody>
      </p:sp>
      <p:cxnSp>
        <p:nvCxnSpPr>
          <p:cNvPr id="193" name="Straight Arrow Connector 192"/>
          <p:cNvCxnSpPr/>
          <p:nvPr/>
        </p:nvCxnSpPr>
        <p:spPr>
          <a:xfrm rot="5400000" flipV="1">
            <a:off x="10462670" y="2735259"/>
            <a:ext cx="0" cy="91440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4" name="Straight Arrow Connector 193"/>
          <p:cNvCxnSpPr/>
          <p:nvPr/>
        </p:nvCxnSpPr>
        <p:spPr>
          <a:xfrm rot="5400000" flipV="1">
            <a:off x="10462670" y="3896337"/>
            <a:ext cx="0" cy="91440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5" name="Straight Arrow Connector 194"/>
          <p:cNvCxnSpPr/>
          <p:nvPr/>
        </p:nvCxnSpPr>
        <p:spPr>
          <a:xfrm rot="5400000" flipV="1">
            <a:off x="3703668" y="2875386"/>
            <a:ext cx="0" cy="64008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6" name="Straight Arrow Connector 195"/>
          <p:cNvCxnSpPr/>
          <p:nvPr/>
        </p:nvCxnSpPr>
        <p:spPr>
          <a:xfrm rot="5400000" flipV="1">
            <a:off x="6167435" y="2921106"/>
            <a:ext cx="0" cy="54864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a:off x="8417453" y="4370383"/>
            <a:ext cx="707209" cy="2762"/>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8417453" y="2017708"/>
            <a:ext cx="707209" cy="2762"/>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Freeform 73"/>
          <p:cNvSpPr/>
          <p:nvPr/>
        </p:nvSpPr>
        <p:spPr bwMode="auto">
          <a:xfrm rot="10800000">
            <a:off x="3226105" y="2017708"/>
            <a:ext cx="159285" cy="2352675"/>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p>
        </p:txBody>
      </p:sp>
      <p:cxnSp>
        <p:nvCxnSpPr>
          <p:cNvPr id="19" name="Straight Connector 18"/>
          <p:cNvCxnSpPr/>
          <p:nvPr/>
        </p:nvCxnSpPr>
        <p:spPr>
          <a:xfrm>
            <a:off x="8415648" y="2017708"/>
            <a:ext cx="0" cy="2342757"/>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9966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dirty="0">
                <a:solidFill>
                  <a:schemeClr val="bg1"/>
                </a:solidFill>
              </a:rPr>
              <a:t>Big Data Stores</a:t>
            </a:r>
          </a:p>
        </p:txBody>
      </p:sp>
      <p:grpSp>
        <p:nvGrpSpPr>
          <p:cNvPr id="4" name="Group 3"/>
          <p:cNvGrpSpPr/>
          <p:nvPr/>
        </p:nvGrpSpPr>
        <p:grpSpPr>
          <a:xfrm>
            <a:off x="249407" y="1649550"/>
            <a:ext cx="5694513" cy="4292632"/>
            <a:chOff x="249407" y="1649550"/>
            <a:chExt cx="5694513" cy="4292632"/>
          </a:xfrm>
        </p:grpSpPr>
        <p:sp>
          <p:nvSpPr>
            <p:cNvPr id="84" name="Rectangle 83"/>
            <p:cNvSpPr/>
            <p:nvPr/>
          </p:nvSpPr>
          <p:spPr bwMode="auto">
            <a:xfrm>
              <a:off x="4152200" y="1649550"/>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Big Data Stores</a:t>
              </a:r>
            </a:p>
          </p:txBody>
        </p:sp>
        <p:sp>
          <p:nvSpPr>
            <p:cNvPr id="123" name="Rectangle 122"/>
            <p:cNvSpPr/>
            <p:nvPr/>
          </p:nvSpPr>
          <p:spPr>
            <a:xfrm>
              <a:off x="4647601" y="3269842"/>
              <a:ext cx="1296319" cy="446397"/>
            </a:xfrm>
            <a:prstGeom prst="rect">
              <a:avLst/>
            </a:prstGeom>
          </p:spPr>
          <p:txBody>
            <a:bodyPr wrap="square">
              <a:spAutoFit/>
            </a:bodyPr>
            <a:lstStyle/>
            <a:p>
              <a:r>
                <a:rPr lang="en-US" sz="1122" dirty="0">
                  <a:cs typeface="Segoe UI Semilight" panose="020B0402040204020203" pitchFamily="34" charset="0"/>
                </a:rPr>
                <a:t>SQL Data </a:t>
              </a:r>
            </a:p>
            <a:p>
              <a:r>
                <a:rPr lang="en-US" sz="1122" dirty="0">
                  <a:cs typeface="Segoe UI Semilight" panose="020B0402040204020203" pitchFamily="34" charset="0"/>
                </a:rPr>
                <a:t>Warehouse</a:t>
              </a:r>
            </a:p>
          </p:txBody>
        </p:sp>
        <p:sp>
          <p:nvSpPr>
            <p:cNvPr id="124" name="Rectangle 123"/>
            <p:cNvSpPr/>
            <p:nvPr/>
          </p:nvSpPr>
          <p:spPr>
            <a:xfrm>
              <a:off x="4633509" y="2538073"/>
              <a:ext cx="1296319" cy="270285"/>
            </a:xfrm>
            <a:prstGeom prst="rect">
              <a:avLst/>
            </a:prstGeom>
          </p:spPr>
          <p:txBody>
            <a:bodyPr wrap="square">
              <a:spAutoFit/>
            </a:bodyPr>
            <a:lstStyle/>
            <a:p>
              <a:r>
                <a:rPr lang="en-US" sz="1122" dirty="0">
                  <a:cs typeface="Segoe UI Semilight" panose="020B0402040204020203" pitchFamily="34" charset="0"/>
                </a:rPr>
                <a:t>Data Lake Store</a:t>
              </a:r>
            </a:p>
          </p:txBody>
        </p:sp>
        <p:grpSp>
          <p:nvGrpSpPr>
            <p:cNvPr id="125" name="Group 124"/>
            <p:cNvGrpSpPr/>
            <p:nvPr/>
          </p:nvGrpSpPr>
          <p:grpSpPr>
            <a:xfrm>
              <a:off x="4318834" y="2530939"/>
              <a:ext cx="256193" cy="256193"/>
              <a:chOff x="4042591" y="3594124"/>
              <a:chExt cx="324957" cy="324958"/>
            </a:xfrm>
          </p:grpSpPr>
          <p:sp>
            <p:nvSpPr>
              <p:cNvPr id="155" name="Rounded Rectangle 154"/>
              <p:cNvSpPr/>
              <p:nvPr/>
            </p:nvSpPr>
            <p:spPr bwMode="auto">
              <a:xfrm>
                <a:off x="4042591" y="3594124"/>
                <a:ext cx="324957" cy="324958"/>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6" name="Rectangle 155"/>
              <p:cNvSpPr/>
              <p:nvPr/>
            </p:nvSpPr>
            <p:spPr bwMode="auto">
              <a:xfrm>
                <a:off x="4080951" y="3631475"/>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7" name="Rectangle 156"/>
              <p:cNvSpPr/>
              <p:nvPr/>
            </p:nvSpPr>
            <p:spPr bwMode="auto">
              <a:xfrm>
                <a:off x="4220302" y="3631475"/>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8" name="Oval 157"/>
              <p:cNvSpPr/>
              <p:nvPr/>
            </p:nvSpPr>
            <p:spPr bwMode="auto">
              <a:xfrm>
                <a:off x="4149026" y="3631863"/>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9" name="Oval 158"/>
              <p:cNvSpPr/>
              <p:nvPr/>
            </p:nvSpPr>
            <p:spPr bwMode="auto">
              <a:xfrm>
                <a:off x="4288377" y="3631863"/>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0" name="Rectangle 159"/>
              <p:cNvSpPr/>
              <p:nvPr/>
            </p:nvSpPr>
            <p:spPr bwMode="auto">
              <a:xfrm>
                <a:off x="4080951" y="3780652"/>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1" name="Rectangle 160"/>
              <p:cNvSpPr/>
              <p:nvPr/>
            </p:nvSpPr>
            <p:spPr bwMode="auto">
              <a:xfrm>
                <a:off x="4220302" y="3780652"/>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2" name="Oval 161"/>
              <p:cNvSpPr/>
              <p:nvPr/>
            </p:nvSpPr>
            <p:spPr bwMode="auto">
              <a:xfrm>
                <a:off x="4149026" y="3781040"/>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3" name="Oval 162"/>
              <p:cNvSpPr/>
              <p:nvPr/>
            </p:nvSpPr>
            <p:spPr bwMode="auto">
              <a:xfrm>
                <a:off x="4288377" y="3781040"/>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4" name="Rectangle 163"/>
              <p:cNvSpPr/>
              <p:nvPr/>
            </p:nvSpPr>
            <p:spPr bwMode="auto">
              <a:xfrm>
                <a:off x="4152616" y="3851970"/>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5" name="Rectangle 164"/>
              <p:cNvSpPr/>
              <p:nvPr/>
            </p:nvSpPr>
            <p:spPr bwMode="auto">
              <a:xfrm>
                <a:off x="4291969" y="3851969"/>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6" name="Oval 165"/>
              <p:cNvSpPr/>
              <p:nvPr/>
            </p:nvSpPr>
            <p:spPr bwMode="auto">
              <a:xfrm>
                <a:off x="4081340" y="3852359"/>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7" name="Oval 166"/>
              <p:cNvSpPr/>
              <p:nvPr/>
            </p:nvSpPr>
            <p:spPr bwMode="auto">
              <a:xfrm>
                <a:off x="4220692" y="3852359"/>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8" name="Rectangle 167"/>
              <p:cNvSpPr/>
              <p:nvPr/>
            </p:nvSpPr>
            <p:spPr bwMode="auto">
              <a:xfrm>
                <a:off x="4152616" y="3696279"/>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0" name="Rectangle 169"/>
              <p:cNvSpPr/>
              <p:nvPr/>
            </p:nvSpPr>
            <p:spPr bwMode="auto">
              <a:xfrm>
                <a:off x="4291971" y="3696279"/>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1" name="Oval 170"/>
              <p:cNvSpPr/>
              <p:nvPr/>
            </p:nvSpPr>
            <p:spPr bwMode="auto">
              <a:xfrm>
                <a:off x="4081340" y="3696669"/>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2" name="Oval 171"/>
              <p:cNvSpPr/>
              <p:nvPr/>
            </p:nvSpPr>
            <p:spPr bwMode="auto">
              <a:xfrm>
                <a:off x="4220691" y="3696669"/>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73" name="Group 172"/>
            <p:cNvGrpSpPr/>
            <p:nvPr/>
          </p:nvGrpSpPr>
          <p:grpSpPr>
            <a:xfrm>
              <a:off x="4319493" y="3334520"/>
              <a:ext cx="253198" cy="310108"/>
              <a:chOff x="-3301039" y="5360349"/>
              <a:chExt cx="2716213" cy="3363914"/>
            </a:xfrm>
            <a:solidFill>
              <a:schemeClr val="tx1"/>
            </a:solidFill>
          </p:grpSpPr>
          <p:sp>
            <p:nvSpPr>
              <p:cNvPr id="174" name="Freeform 40"/>
              <p:cNvSpPr>
                <a:spLocks noEditPoints="1"/>
              </p:cNvSpPr>
              <p:nvPr/>
            </p:nvSpPr>
            <p:spPr bwMode="auto">
              <a:xfrm>
                <a:off x="-3301039" y="5360349"/>
                <a:ext cx="2716213" cy="3363914"/>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5" name="Freeform 41"/>
              <p:cNvSpPr>
                <a:spLocks/>
              </p:cNvSpPr>
              <p:nvPr/>
            </p:nvSpPr>
            <p:spPr bwMode="auto">
              <a:xfrm>
                <a:off x="-2104061" y="6885938"/>
                <a:ext cx="373064" cy="511180"/>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77" name="TextBox 76"/>
            <p:cNvSpPr txBox="1"/>
            <p:nvPr/>
          </p:nvSpPr>
          <p:spPr>
            <a:xfrm>
              <a:off x="1164202" y="1958379"/>
              <a:ext cx="528754" cy="323165"/>
            </a:xfrm>
            <a:prstGeom prst="rect">
              <a:avLst/>
            </a:prstGeom>
            <a:noFill/>
          </p:spPr>
          <p:txBody>
            <a:bodyPr wrap="square" lIns="0" tIns="0" rIns="0" bIns="0" rtlCol="0" anchor="ctr" anchorCtr="0">
              <a:spAutoFit/>
            </a:bodyPr>
            <a:lstStyle/>
            <a:p>
              <a:pPr defTabSz="932563">
                <a:spcAft>
                  <a:spcPts val="600"/>
                </a:spcAft>
              </a:pPr>
              <a:r>
                <a:rPr lang="en-US" sz="1050" dirty="0">
                  <a:solidFill>
                    <a:schemeClr val="bg2"/>
                  </a:solidFill>
                  <a:cs typeface="Segoe UI Semilight" panose="020B0402040204020203" pitchFamily="34" charset="0"/>
                </a:rPr>
                <a:t>Data Sources</a:t>
              </a:r>
            </a:p>
          </p:txBody>
        </p:sp>
        <p:sp>
          <p:nvSpPr>
            <p:cNvPr id="79" name="TextBox 78"/>
            <p:cNvSpPr txBox="1"/>
            <p:nvPr/>
          </p:nvSpPr>
          <p:spPr>
            <a:xfrm>
              <a:off x="1164202" y="3351045"/>
              <a:ext cx="528754" cy="161583"/>
            </a:xfrm>
            <a:prstGeom prst="rect">
              <a:avLst/>
            </a:prstGeom>
            <a:noFill/>
          </p:spPr>
          <p:txBody>
            <a:bodyPr wrap="square" lIns="0" tIns="0" rIns="0" bIns="0" rtlCol="0" anchor="ctr" anchorCtr="0">
              <a:spAutoFit/>
            </a:bodyPr>
            <a:lstStyle/>
            <a:p>
              <a:pPr defTabSz="932563">
                <a:spcBef>
                  <a:spcPct val="0"/>
                </a:spcBef>
                <a:spcAft>
                  <a:spcPts val="600"/>
                </a:spcAft>
              </a:pPr>
              <a:r>
                <a:rPr lang="en-US" sz="1050" dirty="0">
                  <a:solidFill>
                    <a:schemeClr val="bg2"/>
                  </a:solidFill>
                  <a:cs typeface="Segoe UI Semilight" panose="020B0402040204020203" pitchFamily="34" charset="0"/>
                </a:rPr>
                <a:t>Apps</a:t>
              </a:r>
            </a:p>
          </p:txBody>
        </p:sp>
        <p:sp>
          <p:nvSpPr>
            <p:cNvPr id="85" name="TextBox 84"/>
            <p:cNvSpPr txBox="1"/>
            <p:nvPr/>
          </p:nvSpPr>
          <p:spPr>
            <a:xfrm>
              <a:off x="1164202" y="4768746"/>
              <a:ext cx="735728" cy="323165"/>
            </a:xfrm>
            <a:prstGeom prst="rect">
              <a:avLst/>
            </a:prstGeom>
            <a:noFill/>
          </p:spPr>
          <p:txBody>
            <a:bodyPr wrap="square" lIns="0" tIns="0" rIns="0" bIns="0" rtlCol="0" anchor="ctr" anchorCtr="0">
              <a:spAutoFit/>
            </a:bodyPr>
            <a:lstStyle/>
            <a:p>
              <a:pPr defTabSz="932563">
                <a:spcBef>
                  <a:spcPct val="0"/>
                </a:spcBef>
                <a:spcAft>
                  <a:spcPts val="600"/>
                </a:spcAft>
              </a:pPr>
              <a:r>
                <a:rPr lang="en-US" sz="1050" dirty="0">
                  <a:solidFill>
                    <a:schemeClr val="bg2"/>
                  </a:solidFill>
                  <a:cs typeface="Segoe UI Semilight" panose="020B0402040204020203" pitchFamily="34" charset="0"/>
                </a:rPr>
                <a:t>Sensors </a:t>
              </a:r>
              <a:br>
                <a:rPr lang="en-US" sz="1050" dirty="0">
                  <a:solidFill>
                    <a:schemeClr val="bg2"/>
                  </a:solidFill>
                  <a:cs typeface="Segoe UI Semilight" panose="020B0402040204020203" pitchFamily="34" charset="0"/>
                </a:rPr>
              </a:br>
              <a:r>
                <a:rPr lang="en-US" sz="1050" dirty="0">
                  <a:solidFill>
                    <a:schemeClr val="bg2"/>
                  </a:solidFill>
                  <a:cs typeface="Segoe UI Semilight" panose="020B0402040204020203" pitchFamily="34" charset="0"/>
                </a:rPr>
                <a:t>and devices</a:t>
              </a:r>
            </a:p>
          </p:txBody>
        </p:sp>
        <p:sp>
          <p:nvSpPr>
            <p:cNvPr id="86" name="TextBox 85"/>
            <p:cNvSpPr txBox="1"/>
            <p:nvPr/>
          </p:nvSpPr>
          <p:spPr>
            <a:xfrm>
              <a:off x="806041" y="5665183"/>
              <a:ext cx="474490" cy="276999"/>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r>
                <a:rPr lang="en-US" sz="1800" dirty="0">
                  <a:solidFill>
                    <a:schemeClr val="bg2"/>
                  </a:solidFill>
                  <a:latin typeface="+mn-lt"/>
                </a:rPr>
                <a:t>Data</a:t>
              </a:r>
            </a:p>
          </p:txBody>
        </p:sp>
        <p:grpSp>
          <p:nvGrpSpPr>
            <p:cNvPr id="87" name="Group 86"/>
            <p:cNvGrpSpPr/>
            <p:nvPr/>
          </p:nvGrpSpPr>
          <p:grpSpPr>
            <a:xfrm>
              <a:off x="1776319" y="1668481"/>
              <a:ext cx="308472" cy="3830198"/>
              <a:chOff x="1810439" y="1858178"/>
              <a:chExt cx="308472" cy="3830198"/>
            </a:xfrm>
            <a:solidFill>
              <a:srgbClr val="0078D7"/>
            </a:solidFill>
          </p:grpSpPr>
          <p:sp>
            <p:nvSpPr>
              <p:cNvPr id="88" name="Freeform 87"/>
              <p:cNvSpPr/>
              <p:nvPr/>
            </p:nvSpPr>
            <p:spPr bwMode="auto">
              <a:xfrm>
                <a:off x="1995054" y="1858178"/>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cxnSp>
            <p:nvCxnSpPr>
              <p:cNvPr id="89" name="Straight Connector 88"/>
              <p:cNvCxnSpPr/>
              <p:nvPr/>
            </p:nvCxnSpPr>
            <p:spPr>
              <a:xfrm>
                <a:off x="1810439" y="3639239"/>
                <a:ext cx="308472" cy="0"/>
              </a:xfrm>
              <a:prstGeom prst="line">
                <a:avLst/>
              </a:prstGeom>
              <a:grp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6" name="Rectangle 65"/>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67" name="Rectangle 66"/>
            <p:cNvSpPr/>
            <p:nvPr/>
          </p:nvSpPr>
          <p:spPr>
            <a:xfrm>
              <a:off x="2833488" y="4199155"/>
              <a:ext cx="1296319" cy="270285"/>
            </a:xfrm>
            <a:prstGeom prst="rect">
              <a:avLst/>
            </a:prstGeom>
          </p:spPr>
          <p:txBody>
            <a:bodyPr wrap="square">
              <a:spAutoFit/>
            </a:bodyPr>
            <a:lstStyle/>
            <a:p>
              <a:r>
                <a:rPr lang="en-US" sz="1122" dirty="0">
                  <a:cs typeface="Segoe UI Semilight" panose="020B0402040204020203" pitchFamily="34" charset="0"/>
                </a:rPr>
                <a:t>Event Hubs</a:t>
              </a:r>
              <a:endParaRPr lang="en-US" sz="1122" dirty="0"/>
            </a:p>
          </p:txBody>
        </p:sp>
        <p:sp>
          <p:nvSpPr>
            <p:cNvPr id="68" name="Rectangle 67"/>
            <p:cNvSpPr/>
            <p:nvPr/>
          </p:nvSpPr>
          <p:spPr>
            <a:xfrm>
              <a:off x="2833488" y="3390244"/>
              <a:ext cx="1296319" cy="270285"/>
            </a:xfrm>
            <a:prstGeom prst="rect">
              <a:avLst/>
            </a:prstGeom>
          </p:spPr>
          <p:txBody>
            <a:bodyPr wrap="square">
              <a:spAutoFit/>
            </a:bodyPr>
            <a:lstStyle/>
            <a:p>
              <a:r>
                <a:rPr lang="en-US" sz="1122" dirty="0">
                  <a:cs typeface="Segoe UI Semilight" panose="020B0402040204020203" pitchFamily="34" charset="0"/>
                </a:rPr>
                <a:t>Data Catalog</a:t>
              </a:r>
            </a:p>
          </p:txBody>
        </p:sp>
        <p:grpSp>
          <p:nvGrpSpPr>
            <p:cNvPr id="69" name="Group 68"/>
            <p:cNvGrpSpPr/>
            <p:nvPr/>
          </p:nvGrpSpPr>
          <p:grpSpPr>
            <a:xfrm>
              <a:off x="2512312" y="3346955"/>
              <a:ext cx="280471" cy="298350"/>
              <a:chOff x="3232150" y="382588"/>
              <a:chExt cx="5727700" cy="6092825"/>
            </a:xfrm>
            <a:solidFill>
              <a:schemeClr val="tx1"/>
            </a:solidFill>
          </p:grpSpPr>
          <p:sp>
            <p:nvSpPr>
              <p:cNvPr id="73"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5"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70" name="Rectangle 69"/>
            <p:cNvSpPr/>
            <p:nvPr/>
          </p:nvSpPr>
          <p:spPr>
            <a:xfrm>
              <a:off x="2833488" y="2538073"/>
              <a:ext cx="1296319" cy="270285"/>
            </a:xfrm>
            <a:prstGeom prst="rect">
              <a:avLst/>
            </a:prstGeom>
          </p:spPr>
          <p:txBody>
            <a:bodyPr wrap="square">
              <a:spAutoFit/>
            </a:bodyPr>
            <a:lstStyle/>
            <a:p>
              <a:r>
                <a:rPr lang="en-US" sz="1122" dirty="0">
                  <a:cs typeface="Segoe UI Semilight" panose="020B0402040204020203" pitchFamily="34" charset="0"/>
                </a:rPr>
                <a:t>Data Factory </a:t>
              </a:r>
              <a:endParaRPr lang="en-US" sz="1122" dirty="0"/>
            </a:p>
          </p:txBody>
        </p:sp>
        <p:sp>
          <p:nvSpPr>
            <p:cNvPr id="71" name="Freeform 70"/>
            <p:cNvSpPr/>
            <p:nvPr/>
          </p:nvSpPr>
          <p:spPr bwMode="auto">
            <a:xfrm>
              <a:off x="2508225" y="2475589"/>
              <a:ext cx="292163" cy="307023"/>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72" name="Freeform 71"/>
            <p:cNvSpPr/>
            <p:nvPr/>
          </p:nvSpPr>
          <p:spPr bwMode="auto">
            <a:xfrm>
              <a:off x="2528952" y="4204179"/>
              <a:ext cx="236184" cy="247159"/>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pic>
          <p:nvPicPr>
            <p:cNvPr id="141" name="Picture 14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9407" y="3043119"/>
              <a:ext cx="776178" cy="908180"/>
            </a:xfrm>
            <a:prstGeom prst="rect">
              <a:avLst/>
            </a:prstGeom>
          </p:spPr>
        </p:pic>
        <p:pic>
          <p:nvPicPr>
            <p:cNvPr id="142" name="Picture 14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2823" y="4489811"/>
              <a:ext cx="752976" cy="881033"/>
            </a:xfrm>
            <a:prstGeom prst="rect">
              <a:avLst/>
            </a:prstGeom>
          </p:spPr>
        </p:pic>
        <p:pic>
          <p:nvPicPr>
            <p:cNvPr id="143" name="Picture 14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32969" y="1695508"/>
              <a:ext cx="685793" cy="802425"/>
            </a:xfrm>
            <a:prstGeom prst="rect">
              <a:avLst/>
            </a:prstGeom>
          </p:spPr>
        </p:pic>
      </p:grpSp>
    </p:spTree>
    <p:extLst>
      <p:ext uri="{BB962C8B-B14F-4D97-AF65-F5344CB8AC3E}">
        <p14:creationId xmlns:p14="http://schemas.microsoft.com/office/powerpoint/2010/main" val="2468544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1.47307E-6 9.12392E-7 L -0.33419 9.12392E-7 " pathEditMode="relative" rAng="0" ptsTypes="AA">
                                      <p:cBhvr>
                                        <p:cTn id="6" dur="2000" fill="hold"/>
                                        <p:tgtEl>
                                          <p:spTgt spid="4"/>
                                        </p:tgtEl>
                                        <p:attrNameLst>
                                          <p:attrName>ppt_x</p:attrName>
                                          <p:attrName>ppt_y</p:attrName>
                                        </p:attrNameLst>
                                      </p:cBhvr>
                                      <p:rCtr x="-1670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56" name="Rectangle 155"/>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lvl="0" defTabSz="914400">
              <a:spcBef>
                <a:spcPts val="0"/>
              </a:spcBef>
              <a:spcAft>
                <a:spcPts val="600"/>
              </a:spcAft>
              <a:defRPr/>
            </a:pPr>
            <a:r>
              <a:rPr lang="en-US" sz="3600" kern="0" spc="0" dirty="0">
                <a:ln>
                  <a:noFill/>
                </a:ln>
                <a:solidFill>
                  <a:schemeClr val="bg1"/>
                </a:solidFill>
              </a:rPr>
              <a:t>A hyper-scale repository for big data analytics workloads</a:t>
            </a:r>
          </a:p>
        </p:txBody>
      </p:sp>
      <p:grpSp>
        <p:nvGrpSpPr>
          <p:cNvPr id="4" name="Group 3"/>
          <p:cNvGrpSpPr/>
          <p:nvPr/>
        </p:nvGrpSpPr>
        <p:grpSpPr>
          <a:xfrm>
            <a:off x="2229582" y="5258103"/>
            <a:ext cx="9461826" cy="1191095"/>
            <a:chOff x="2229582" y="5576080"/>
            <a:chExt cx="9461826" cy="1191095"/>
          </a:xfrm>
        </p:grpSpPr>
        <p:sp>
          <p:nvSpPr>
            <p:cNvPr id="12" name="TextBox 11"/>
            <p:cNvSpPr txBox="1"/>
            <p:nvPr/>
          </p:nvSpPr>
          <p:spPr>
            <a:xfrm>
              <a:off x="2229582" y="5576080"/>
              <a:ext cx="5276572" cy="1191095"/>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A Hadoop Distributed File System for the cloud</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No fixed limits on file size</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No fixed limits on account size</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Unstructured and structured data in their native format</a:t>
              </a:r>
            </a:p>
          </p:txBody>
        </p:sp>
        <p:sp>
          <p:nvSpPr>
            <p:cNvPr id="13" name="TextBox 12"/>
            <p:cNvSpPr txBox="1"/>
            <p:nvPr/>
          </p:nvSpPr>
          <p:spPr>
            <a:xfrm>
              <a:off x="7163449" y="5578138"/>
              <a:ext cx="4527959" cy="947952"/>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Massive throughput to increase analytic performance</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High durability, availability, and reliability</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Azure Active Directory access control</a:t>
              </a:r>
            </a:p>
          </p:txBody>
        </p:sp>
      </p:grpSp>
      <p:grpSp>
        <p:nvGrpSpPr>
          <p:cNvPr id="196" name="Group 195"/>
          <p:cNvGrpSpPr/>
          <p:nvPr/>
        </p:nvGrpSpPr>
        <p:grpSpPr>
          <a:xfrm>
            <a:off x="2163786" y="2657632"/>
            <a:ext cx="1001557" cy="641373"/>
            <a:chOff x="787287" y="2926584"/>
            <a:chExt cx="1070933" cy="685800"/>
          </a:xfrm>
        </p:grpSpPr>
        <p:sp>
          <p:nvSpPr>
            <p:cNvPr id="224" name="Rectangle 223"/>
            <p:cNvSpPr/>
            <p:nvPr>
              <p:custDataLst>
                <p:tags r:id="rId8"/>
              </p:custDataLst>
            </p:nvPr>
          </p:nvSpPr>
          <p:spPr bwMode="auto">
            <a:xfrm>
              <a:off x="787287" y="2926584"/>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marL="0" marR="0" lvl="0" indent="0" algn="ctr" defTabSz="932472"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1"/>
                  </a:solidFill>
                  <a:effectLst/>
                  <a:uLnTx/>
                  <a:uFillTx/>
                </a:rPr>
                <a:t>LOB Applications</a:t>
              </a:r>
            </a:p>
          </p:txBody>
        </p:sp>
        <p:sp>
          <p:nvSpPr>
            <p:cNvPr id="225" name="Round Diagonal Corner Rectangle 53"/>
            <p:cNvSpPr/>
            <p:nvPr/>
          </p:nvSpPr>
          <p:spPr bwMode="auto">
            <a:xfrm>
              <a:off x="1225625" y="2973815"/>
              <a:ext cx="239150" cy="272214"/>
            </a:xfrm>
            <a:custGeom>
              <a:avLst/>
              <a:gdLst/>
              <a:ahLst/>
              <a:cxnLst/>
              <a:rect l="l" t="t" r="r" b="b"/>
              <a:pathLst>
                <a:path w="3235820" h="3683194">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nvGrpSpPr>
          <p:cNvPr id="197" name="Group 196"/>
          <p:cNvGrpSpPr/>
          <p:nvPr/>
        </p:nvGrpSpPr>
        <p:grpSpPr>
          <a:xfrm>
            <a:off x="3223729" y="1973814"/>
            <a:ext cx="1001557" cy="641373"/>
            <a:chOff x="1589220" y="3614946"/>
            <a:chExt cx="1070933" cy="685800"/>
          </a:xfrm>
        </p:grpSpPr>
        <p:sp>
          <p:nvSpPr>
            <p:cNvPr id="222" name="Rectangle 221"/>
            <p:cNvSpPr/>
            <p:nvPr>
              <p:custDataLst>
                <p:tags r:id="rId7"/>
              </p:custDataLst>
            </p:nvPr>
          </p:nvSpPr>
          <p:spPr bwMode="auto">
            <a:xfrm>
              <a:off x="1589220" y="3614946"/>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marL="0" marR="0" lvl="0" indent="0" algn="ctr" defTabSz="932472"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1"/>
                  </a:solidFill>
                  <a:effectLst/>
                  <a:uLnTx/>
                  <a:uFillTx/>
                </a:rPr>
                <a:t>Social</a:t>
              </a:r>
            </a:p>
          </p:txBody>
        </p:sp>
        <p:sp>
          <p:nvSpPr>
            <p:cNvPr id="223" name="Freeform 13"/>
            <p:cNvSpPr>
              <a:spLocks noChangeAspect="1" noEditPoints="1"/>
            </p:cNvSpPr>
            <p:nvPr/>
          </p:nvSpPr>
          <p:spPr bwMode="black">
            <a:xfrm>
              <a:off x="1907537" y="3679555"/>
              <a:ext cx="434298" cy="401077"/>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42" tIns="89642" rIns="89642" bIns="89642" numCol="1" rtlCol="0" anchor="ctr" anchorCtr="0" compatLnSpc="1">
              <a:prstTxWarp prst="textNoShape">
                <a:avLst/>
              </a:prstTxWarp>
            </a:bodyPr>
            <a:lstStyle/>
            <a:p>
              <a:pPr marL="0" marR="0" lvl="0" indent="0" defTabSz="711705" eaLnBrk="1" fontAlgn="auto" latinLnBrk="0" hangingPunct="1">
                <a:lnSpc>
                  <a:spcPct val="100000"/>
                </a:lnSpc>
                <a:spcBef>
                  <a:spcPts val="0"/>
                </a:spcBef>
                <a:spcAft>
                  <a:spcPts val="0"/>
                </a:spcAft>
                <a:buClrTx/>
                <a:buSzTx/>
                <a:buFontTx/>
                <a:buNone/>
                <a:tabLst/>
                <a:defRPr/>
              </a:pPr>
              <a:endParaRPr kumimoji="0" lang="en-US" sz="900" b="0" i="0" u="none" strike="noStrike" kern="0" cap="none" spc="-118" normalizeH="0" baseline="0" noProof="0" dirty="0">
                <a:ln>
                  <a:noFill/>
                </a:ln>
                <a:solidFill>
                  <a:schemeClr val="bg1"/>
                </a:solidFill>
                <a:effectLst/>
                <a:uLnTx/>
                <a:uFillTx/>
              </a:endParaRPr>
            </a:p>
          </p:txBody>
        </p:sp>
      </p:grpSp>
      <p:sp>
        <p:nvSpPr>
          <p:cNvPr id="217" name="Rectangle 216"/>
          <p:cNvSpPr/>
          <p:nvPr>
            <p:custDataLst>
              <p:tags r:id="rId1"/>
            </p:custDataLst>
          </p:nvPr>
        </p:nvSpPr>
        <p:spPr bwMode="auto">
          <a:xfrm>
            <a:off x="2163786" y="1973814"/>
            <a:ext cx="1001557" cy="641373"/>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marL="0" marR="0" lvl="0" indent="0" algn="ctr" defTabSz="932472"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1"/>
                </a:solidFill>
                <a:effectLst/>
                <a:uLnTx/>
                <a:uFillTx/>
              </a:rPr>
              <a:t>Devices</a:t>
            </a:r>
          </a:p>
        </p:txBody>
      </p:sp>
      <p:grpSp>
        <p:nvGrpSpPr>
          <p:cNvPr id="218" name="Group 217"/>
          <p:cNvGrpSpPr/>
          <p:nvPr/>
        </p:nvGrpSpPr>
        <p:grpSpPr>
          <a:xfrm>
            <a:off x="2360768" y="2064960"/>
            <a:ext cx="607592" cy="319133"/>
            <a:chOff x="2769908" y="1409697"/>
            <a:chExt cx="1965320" cy="890690"/>
          </a:xfrm>
          <a:solidFill>
            <a:schemeClr val="accent1"/>
          </a:solidFill>
        </p:grpSpPr>
        <p:sp>
          <p:nvSpPr>
            <p:cNvPr id="219" name="Round Same Side Corner Rectangle 11"/>
            <p:cNvSpPr/>
            <p:nvPr/>
          </p:nvSpPr>
          <p:spPr>
            <a:xfrm>
              <a:off x="3138524" y="1579153"/>
              <a:ext cx="998086"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lIns="43940" rIns="0" rtlCol="0" anchor="ct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marL="0" marR="0" lvl="0" indent="0" algn="l" defTabSz="878727" rtl="0" eaLnBrk="0" fontAlgn="base" latinLnBrk="0" hangingPunct="0">
                <a:lnSpc>
                  <a:spcPct val="100000"/>
                </a:lnSpc>
                <a:spcBef>
                  <a:spcPct val="0"/>
                </a:spcBef>
                <a:spcAft>
                  <a:spcPct val="0"/>
                </a:spcAft>
                <a:buClrTx/>
                <a:buSzTx/>
                <a:buFontTx/>
                <a:buNone/>
                <a:tabLst/>
                <a:defRPr/>
              </a:pPr>
              <a:endParaRPr kumimoji="0" lang="en-US" sz="480" b="0" i="0" u="none" strike="noStrike" kern="0" cap="none" spc="0" normalizeH="0" baseline="0" noProof="0" dirty="0">
                <a:ln>
                  <a:noFill/>
                </a:ln>
                <a:solidFill>
                  <a:schemeClr val="accent3"/>
                </a:solidFill>
                <a:effectLst/>
                <a:uLnTx/>
                <a:uFillTx/>
                <a:latin typeface="Segoe"/>
                <a:ea typeface="MS PGothic" panose="020B0600070205080204" pitchFamily="34" charset="-128"/>
                <a:cs typeface="+mn-cs"/>
              </a:endParaRPr>
            </a:p>
          </p:txBody>
        </p:sp>
        <p:sp>
          <p:nvSpPr>
            <p:cNvPr id="220"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3940" tIns="43940" rIns="0" bIns="87880"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l" defTabSz="878438" rtl="0" eaLnBrk="0" fontAlgn="base" latinLnBrk="0" hangingPunct="0">
                <a:lnSpc>
                  <a:spcPct val="100000"/>
                </a:lnSpc>
                <a:spcBef>
                  <a:spcPct val="0"/>
                </a:spcBef>
                <a:spcAft>
                  <a:spcPct val="0"/>
                </a:spcAft>
                <a:buClrTx/>
                <a:buSzTx/>
                <a:buFontTx/>
                <a:buNone/>
                <a:tabLst/>
                <a:defRPr/>
              </a:pPr>
              <a:endParaRPr kumimoji="0" lang="en-US" sz="480" b="0" i="0" u="none" strike="noStrike" kern="1200" cap="none" spc="-48"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221"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940" tIns="43938" rIns="0" bIns="43938"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l" defTabSz="790848" rtl="0" eaLnBrk="0" fontAlgn="base" latinLnBrk="0" hangingPunct="0">
                <a:lnSpc>
                  <a:spcPct val="100000"/>
                </a:lnSpc>
                <a:spcBef>
                  <a:spcPct val="0"/>
                </a:spcBef>
                <a:spcAft>
                  <a:spcPct val="0"/>
                </a:spcAft>
                <a:buClrTx/>
                <a:buSzTx/>
                <a:buFontTx/>
                <a:buNone/>
                <a:tabLst/>
                <a:defRPr/>
              </a:pPr>
              <a:endParaRPr kumimoji="0" lang="en-US" sz="480" b="0" i="0" u="none" strike="noStrike" kern="1200" cap="none" spc="-129" normalizeH="0" baseline="0" noProof="0" dirty="0">
                <a:ln>
                  <a:noFill/>
                </a:ln>
                <a:gradFill>
                  <a:gsLst>
                    <a:gs pos="0">
                      <a:srgbClr val="FFFFFF"/>
                    </a:gs>
                    <a:gs pos="100000">
                      <a:srgbClr val="FFFFFF"/>
                    </a:gs>
                  </a:gsLst>
                  <a:lin ang="5400000" scaled="0"/>
                </a:gradFill>
                <a:effectLst/>
                <a:uLnTx/>
                <a:uFillTx/>
                <a:latin typeface="Segoe Light" pitchFamily="34" charset="0"/>
                <a:ea typeface="+mn-ea"/>
                <a:cs typeface="+mn-cs"/>
              </a:endParaRPr>
            </a:p>
          </p:txBody>
        </p:sp>
      </p:grpSp>
      <p:grpSp>
        <p:nvGrpSpPr>
          <p:cNvPr id="199" name="Group 198"/>
          <p:cNvGrpSpPr/>
          <p:nvPr/>
        </p:nvGrpSpPr>
        <p:grpSpPr>
          <a:xfrm>
            <a:off x="3223729" y="4025268"/>
            <a:ext cx="1001557" cy="641373"/>
            <a:chOff x="787287" y="5120138"/>
            <a:chExt cx="1070933" cy="685800"/>
          </a:xfrm>
        </p:grpSpPr>
        <p:sp>
          <p:nvSpPr>
            <p:cNvPr id="215" name="Rectangle 214"/>
            <p:cNvSpPr/>
            <p:nvPr>
              <p:custDataLst>
                <p:tags r:id="rId6"/>
              </p:custDataLst>
            </p:nvPr>
          </p:nvSpPr>
          <p:spPr bwMode="auto">
            <a:xfrm>
              <a:off x="787287" y="5120138"/>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marL="0" marR="0" lvl="0" indent="0" algn="ctr" defTabSz="932472"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1"/>
                  </a:solidFill>
                  <a:effectLst/>
                  <a:uLnTx/>
                  <a:uFillTx/>
                </a:rPr>
                <a:t>Clickstream</a:t>
              </a:r>
            </a:p>
          </p:txBody>
        </p:sp>
        <p:sp>
          <p:nvSpPr>
            <p:cNvPr id="216" name="Freeform 215"/>
            <p:cNvSpPr/>
            <p:nvPr/>
          </p:nvSpPr>
          <p:spPr bwMode="auto">
            <a:xfrm>
              <a:off x="1150008" y="5241702"/>
              <a:ext cx="345491" cy="345489"/>
            </a:xfrm>
            <a:custGeom>
              <a:avLst/>
              <a:gdLst/>
              <a:ahLst/>
              <a:cxnLst/>
              <a:rect l="l" t="t" r="r" b="b"/>
              <a:pathLst>
                <a:path w="3771688" h="3771678">
                  <a:moveTo>
                    <a:pt x="1170813" y="2357992"/>
                  </a:moveTo>
                  <a:cubicBezTo>
                    <a:pt x="1111992" y="2382777"/>
                    <a:pt x="1047346" y="2396330"/>
                    <a:pt x="979535" y="2396330"/>
                  </a:cubicBezTo>
                  <a:lnTo>
                    <a:pt x="966453" y="2395012"/>
                  </a:lnTo>
                  <a:cubicBezTo>
                    <a:pt x="883319" y="2612303"/>
                    <a:pt x="833420" y="2858368"/>
                    <a:pt x="826353" y="3135160"/>
                  </a:cubicBezTo>
                  <a:cubicBezTo>
                    <a:pt x="1111538" y="3378474"/>
                    <a:pt x="1481600" y="3524821"/>
                    <a:pt x="1885843" y="3524821"/>
                  </a:cubicBezTo>
                  <a:cubicBezTo>
                    <a:pt x="2339009" y="3524821"/>
                    <a:pt x="2749219" y="3340908"/>
                    <a:pt x="3045852" y="3043597"/>
                  </a:cubicBezTo>
                  <a:cubicBezTo>
                    <a:pt x="2805887" y="3038579"/>
                    <a:pt x="2587112" y="3013186"/>
                    <a:pt x="2388278" y="2969814"/>
                  </a:cubicBezTo>
                  <a:cubicBezTo>
                    <a:pt x="2331347" y="3055619"/>
                    <a:pt x="2233838" y="3112082"/>
                    <a:pt x="2123141" y="3112082"/>
                  </a:cubicBezTo>
                  <a:cubicBezTo>
                    <a:pt x="1947210" y="3112082"/>
                    <a:pt x="1804590" y="2969463"/>
                    <a:pt x="1804590" y="2793533"/>
                  </a:cubicBezTo>
                  <a:lnTo>
                    <a:pt x="1805949" y="2780055"/>
                  </a:lnTo>
                  <a:cubicBezTo>
                    <a:pt x="1549285" y="2666155"/>
                    <a:pt x="1340216" y="2518864"/>
                    <a:pt x="1170813" y="2357992"/>
                  </a:cubicBezTo>
                  <a:close/>
                  <a:moveTo>
                    <a:pt x="1917963" y="1269900"/>
                  </a:moveTo>
                  <a:cubicBezTo>
                    <a:pt x="1742858" y="1377541"/>
                    <a:pt x="1571623" y="1510227"/>
                    <a:pt x="1421807" y="1673923"/>
                  </a:cubicBezTo>
                  <a:cubicBezTo>
                    <a:pt x="1458137" y="1740622"/>
                    <a:pt x="1477533" y="1817212"/>
                    <a:pt x="1477533" y="1898333"/>
                  </a:cubicBezTo>
                  <a:cubicBezTo>
                    <a:pt x="1477533" y="1995213"/>
                    <a:pt x="1449869" y="2085631"/>
                    <a:pt x="1400834" y="2161383"/>
                  </a:cubicBezTo>
                  <a:cubicBezTo>
                    <a:pt x="1556230" y="2298906"/>
                    <a:pt x="1738753" y="2424541"/>
                    <a:pt x="1949562" y="2526931"/>
                  </a:cubicBezTo>
                  <a:cubicBezTo>
                    <a:pt x="1999298" y="2493937"/>
                    <a:pt x="2059006" y="2474984"/>
                    <a:pt x="2123141" y="2474984"/>
                  </a:cubicBezTo>
                  <a:cubicBezTo>
                    <a:pt x="2266947" y="2474984"/>
                    <a:pt x="2388496" y="2570273"/>
                    <a:pt x="2426612" y="2701602"/>
                  </a:cubicBezTo>
                  <a:cubicBezTo>
                    <a:pt x="2672548" y="2766286"/>
                    <a:pt x="2946719" y="2800378"/>
                    <a:pt x="3250025" y="2793803"/>
                  </a:cubicBezTo>
                  <a:cubicBezTo>
                    <a:pt x="3324551" y="2682855"/>
                    <a:pt x="3385478" y="2562082"/>
                    <a:pt x="3429138" y="2433348"/>
                  </a:cubicBezTo>
                  <a:cubicBezTo>
                    <a:pt x="3338857" y="2361270"/>
                    <a:pt x="3226294" y="2282273"/>
                    <a:pt x="3097462" y="2192900"/>
                  </a:cubicBezTo>
                  <a:cubicBezTo>
                    <a:pt x="3035056" y="2253619"/>
                    <a:pt x="2949762" y="2290655"/>
                    <a:pt x="2855817" y="2290655"/>
                  </a:cubicBezTo>
                  <a:cubicBezTo>
                    <a:pt x="2662639" y="2290655"/>
                    <a:pt x="2506038" y="2134055"/>
                    <a:pt x="2506038" y="1940878"/>
                  </a:cubicBezTo>
                  <a:cubicBezTo>
                    <a:pt x="2506038" y="1888016"/>
                    <a:pt x="2517765" y="1837892"/>
                    <a:pt x="2539677" y="1793396"/>
                  </a:cubicBezTo>
                  <a:cubicBezTo>
                    <a:pt x="2341462" y="1643986"/>
                    <a:pt x="2130574" y="1471504"/>
                    <a:pt x="1917963" y="1269900"/>
                  </a:cubicBezTo>
                  <a:close/>
                  <a:moveTo>
                    <a:pt x="513102" y="991965"/>
                  </a:moveTo>
                  <a:cubicBezTo>
                    <a:pt x="344394" y="1248586"/>
                    <a:pt x="246856" y="1555822"/>
                    <a:pt x="246856" y="1885839"/>
                  </a:cubicBezTo>
                  <a:cubicBezTo>
                    <a:pt x="246856" y="2228384"/>
                    <a:pt x="351940" y="2546384"/>
                    <a:pt x="531953" y="2809142"/>
                  </a:cubicBezTo>
                  <a:cubicBezTo>
                    <a:pt x="549141" y="2611547"/>
                    <a:pt x="584950" y="2428200"/>
                    <a:pt x="638399" y="2259547"/>
                  </a:cubicBezTo>
                  <a:cubicBezTo>
                    <a:pt x="541504" y="2169601"/>
                    <a:pt x="481537" y="2040970"/>
                    <a:pt x="481537" y="1898333"/>
                  </a:cubicBezTo>
                  <a:cubicBezTo>
                    <a:pt x="481537" y="1763870"/>
                    <a:pt x="534828" y="1641853"/>
                    <a:pt x="621976" y="1552767"/>
                  </a:cubicBezTo>
                  <a:cubicBezTo>
                    <a:pt x="525006" y="1308454"/>
                    <a:pt x="497710" y="1099531"/>
                    <a:pt x="513102" y="991965"/>
                  </a:cubicBezTo>
                  <a:close/>
                  <a:moveTo>
                    <a:pt x="3156081" y="850671"/>
                  </a:moveTo>
                  <a:cubicBezTo>
                    <a:pt x="2974938" y="846231"/>
                    <a:pt x="2570313" y="925816"/>
                    <a:pt x="2149056" y="1140246"/>
                  </a:cubicBezTo>
                  <a:cubicBezTo>
                    <a:pt x="2305862" y="1298314"/>
                    <a:pt x="2480556" y="1465085"/>
                    <a:pt x="2679283" y="1640508"/>
                  </a:cubicBezTo>
                  <a:cubicBezTo>
                    <a:pt x="2730538" y="1608663"/>
                    <a:pt x="2791127" y="1591101"/>
                    <a:pt x="2855817" y="1591101"/>
                  </a:cubicBezTo>
                  <a:cubicBezTo>
                    <a:pt x="3048995" y="1591101"/>
                    <a:pt x="3205596" y="1747701"/>
                    <a:pt x="3205596" y="1940878"/>
                  </a:cubicBezTo>
                  <a:cubicBezTo>
                    <a:pt x="3205596" y="1983725"/>
                    <a:pt x="3197892" y="2024773"/>
                    <a:pt x="3182681" y="2062298"/>
                  </a:cubicBezTo>
                  <a:cubicBezTo>
                    <a:pt x="3274893" y="2136338"/>
                    <a:pt x="3371714" y="2211317"/>
                    <a:pt x="3473137" y="2287690"/>
                  </a:cubicBezTo>
                  <a:cubicBezTo>
                    <a:pt x="3507571" y="2159450"/>
                    <a:pt x="3524830" y="2024660"/>
                    <a:pt x="3524830" y="1885839"/>
                  </a:cubicBezTo>
                  <a:cubicBezTo>
                    <a:pt x="3524830" y="1493128"/>
                    <a:pt x="3386712" y="1132675"/>
                    <a:pt x="3156081" y="850671"/>
                  </a:cubicBezTo>
                  <a:close/>
                  <a:moveTo>
                    <a:pt x="1167372" y="414437"/>
                  </a:moveTo>
                  <a:cubicBezTo>
                    <a:pt x="994754" y="496757"/>
                    <a:pt x="839843" y="609954"/>
                    <a:pt x="709006" y="746596"/>
                  </a:cubicBezTo>
                  <a:cubicBezTo>
                    <a:pt x="656695" y="881549"/>
                    <a:pt x="694723" y="1138245"/>
                    <a:pt x="834094" y="1424446"/>
                  </a:cubicBezTo>
                  <a:cubicBezTo>
                    <a:pt x="879599" y="1407960"/>
                    <a:pt x="928677" y="1400336"/>
                    <a:pt x="979535" y="1400336"/>
                  </a:cubicBezTo>
                  <a:cubicBezTo>
                    <a:pt x="1017560" y="1400336"/>
                    <a:pt x="1054590" y="1404598"/>
                    <a:pt x="1089967" y="1413579"/>
                  </a:cubicBezTo>
                  <a:cubicBezTo>
                    <a:pt x="1244168" y="1226717"/>
                    <a:pt x="1421621" y="1074480"/>
                    <a:pt x="1607991" y="955200"/>
                  </a:cubicBezTo>
                  <a:cubicBezTo>
                    <a:pt x="1457566" y="792176"/>
                    <a:pt x="1309542" y="612523"/>
                    <a:pt x="1167372" y="414437"/>
                  </a:cubicBezTo>
                  <a:close/>
                  <a:moveTo>
                    <a:pt x="1885843" y="246857"/>
                  </a:moveTo>
                  <a:cubicBezTo>
                    <a:pt x="1714273" y="246857"/>
                    <a:pt x="1548861" y="273219"/>
                    <a:pt x="1393510" y="322354"/>
                  </a:cubicBezTo>
                  <a:cubicBezTo>
                    <a:pt x="1529569" y="475615"/>
                    <a:pt x="1675197" y="641640"/>
                    <a:pt x="1842024" y="820292"/>
                  </a:cubicBezTo>
                  <a:cubicBezTo>
                    <a:pt x="2228189" y="624889"/>
                    <a:pt x="2625611" y="560552"/>
                    <a:pt x="2918518" y="613738"/>
                  </a:cubicBezTo>
                  <a:cubicBezTo>
                    <a:pt x="2636954" y="384188"/>
                    <a:pt x="2277437" y="246857"/>
                    <a:pt x="1885843" y="246857"/>
                  </a:cubicBezTo>
                  <a:close/>
                  <a:moveTo>
                    <a:pt x="1885844" y="0"/>
                  </a:moveTo>
                  <a:cubicBezTo>
                    <a:pt x="2927367" y="0"/>
                    <a:pt x="3771688" y="844319"/>
                    <a:pt x="3771688" y="1885839"/>
                  </a:cubicBezTo>
                  <a:cubicBezTo>
                    <a:pt x="3771688" y="2927359"/>
                    <a:pt x="2927367" y="3771678"/>
                    <a:pt x="1885844" y="3771678"/>
                  </a:cubicBezTo>
                  <a:cubicBezTo>
                    <a:pt x="844321" y="3771678"/>
                    <a:pt x="0" y="2927359"/>
                    <a:pt x="0" y="1885839"/>
                  </a:cubicBezTo>
                  <a:cubicBezTo>
                    <a:pt x="0" y="844319"/>
                    <a:pt x="844321" y="0"/>
                    <a:pt x="1885844" y="0"/>
                  </a:cubicBezTo>
                  <a:close/>
                </a:path>
              </a:pathLst>
            </a:cu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grpSp>
        <p:nvGrpSpPr>
          <p:cNvPr id="200" name="Group 199"/>
          <p:cNvGrpSpPr/>
          <p:nvPr/>
        </p:nvGrpSpPr>
        <p:grpSpPr>
          <a:xfrm>
            <a:off x="3223729" y="3341450"/>
            <a:ext cx="1001557" cy="641373"/>
            <a:chOff x="787287" y="4388954"/>
            <a:chExt cx="1070933" cy="685800"/>
          </a:xfrm>
        </p:grpSpPr>
        <p:sp>
          <p:nvSpPr>
            <p:cNvPr id="213" name="Rectangle 212"/>
            <p:cNvSpPr/>
            <p:nvPr>
              <p:custDataLst>
                <p:tags r:id="rId5"/>
              </p:custDataLst>
            </p:nvPr>
          </p:nvSpPr>
          <p:spPr bwMode="auto">
            <a:xfrm>
              <a:off x="787287" y="4388954"/>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marL="0" marR="0" lvl="0" indent="0" algn="ctr" defTabSz="932472"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1"/>
                  </a:solidFill>
                  <a:effectLst/>
                  <a:uLnTx/>
                  <a:uFillTx/>
                </a:rPr>
                <a:t>Sensors</a:t>
              </a:r>
            </a:p>
          </p:txBody>
        </p:sp>
        <p:sp>
          <p:nvSpPr>
            <p:cNvPr id="214" name="Frame 5"/>
            <p:cNvSpPr>
              <a:spLocks noChangeAspect="1"/>
            </p:cNvSpPr>
            <p:nvPr/>
          </p:nvSpPr>
          <p:spPr bwMode="auto">
            <a:xfrm>
              <a:off x="1152892" y="4477904"/>
              <a:ext cx="339723" cy="378672"/>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1"/>
            </a:solidFill>
            <a:ln w="9525" cap="flat" cmpd="sng" algn="ctr">
              <a:noFill/>
              <a:prstDash val="solid"/>
              <a:headEnd type="none" w="med" len="med"/>
              <a:tailEnd type="none" w="med" len="med"/>
            </a:ln>
            <a:effectLst/>
          </p:spPr>
          <p:txBody>
            <a:bodyPr rot="0" spcFirstLastPara="0" vert="horz" wrap="square" lIns="43940" tIns="51685" rIns="0" bIns="103368"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marL="0" marR="0" lvl="0" indent="0" algn="l" defTabSz="1033161" rtl="0" eaLnBrk="0" fontAlgn="base" latinLnBrk="0" hangingPunct="0">
                <a:lnSpc>
                  <a:spcPct val="100000"/>
                </a:lnSpc>
                <a:spcBef>
                  <a:spcPct val="0"/>
                </a:spcBef>
                <a:spcAft>
                  <a:spcPct val="0"/>
                </a:spcAft>
                <a:buClrTx/>
                <a:buSzTx/>
                <a:buFontTx/>
                <a:buNone/>
                <a:tabLst/>
                <a:defRPr/>
              </a:pPr>
              <a:endParaRPr kumimoji="0" lang="en-US" sz="480" b="0" i="0" u="none" strike="noStrike" kern="0" cap="none" spc="-57"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itchFamily="34" charset="0"/>
                <a:cs typeface="Segoe UI" pitchFamily="34" charset="0"/>
              </a:endParaRPr>
            </a:p>
          </p:txBody>
        </p:sp>
      </p:grpSp>
      <p:grpSp>
        <p:nvGrpSpPr>
          <p:cNvPr id="201" name="Group 200"/>
          <p:cNvGrpSpPr/>
          <p:nvPr/>
        </p:nvGrpSpPr>
        <p:grpSpPr>
          <a:xfrm>
            <a:off x="3223729" y="2657632"/>
            <a:ext cx="1001557" cy="641373"/>
            <a:chOff x="1589220" y="4346130"/>
            <a:chExt cx="1070933" cy="685800"/>
          </a:xfrm>
        </p:grpSpPr>
        <p:sp>
          <p:nvSpPr>
            <p:cNvPr id="211" name="Rectangle 210"/>
            <p:cNvSpPr/>
            <p:nvPr>
              <p:custDataLst>
                <p:tags r:id="rId4"/>
              </p:custDataLst>
            </p:nvPr>
          </p:nvSpPr>
          <p:spPr bwMode="auto">
            <a:xfrm>
              <a:off x="1589220" y="4346130"/>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marL="0" marR="0" lvl="0" indent="0" algn="ctr" defTabSz="932472"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1"/>
                  </a:solidFill>
                  <a:effectLst/>
                  <a:uLnTx/>
                  <a:uFillTx/>
                </a:rPr>
                <a:t>Video</a:t>
              </a:r>
            </a:p>
          </p:txBody>
        </p:sp>
        <p:sp>
          <p:nvSpPr>
            <p:cNvPr id="212" name="Freeform 211"/>
            <p:cNvSpPr>
              <a:spLocks noEditPoints="1"/>
            </p:cNvSpPr>
            <p:nvPr/>
          </p:nvSpPr>
          <p:spPr bwMode="auto">
            <a:xfrm>
              <a:off x="1981136" y="4447511"/>
              <a:ext cx="287101" cy="343924"/>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940" tIns="43938" rIns="0" bIns="43938"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l" defTabSz="790848" rtl="0" eaLnBrk="0" fontAlgn="base" latinLnBrk="0" hangingPunct="0">
                <a:lnSpc>
                  <a:spcPct val="100000"/>
                </a:lnSpc>
                <a:spcBef>
                  <a:spcPct val="0"/>
                </a:spcBef>
                <a:spcAft>
                  <a:spcPct val="0"/>
                </a:spcAft>
                <a:buClrTx/>
                <a:buSzTx/>
                <a:buFontTx/>
                <a:buNone/>
                <a:tabLst/>
                <a:defRPr/>
              </a:pPr>
              <a:endParaRPr kumimoji="0" lang="en-US" sz="480" b="0" i="0" u="none" strike="noStrike" kern="1200" cap="none" spc="-129" normalizeH="0" baseline="0" noProof="0" dirty="0">
                <a:ln>
                  <a:noFill/>
                </a:ln>
                <a:solidFill>
                  <a:schemeClr val="accent3"/>
                </a:solidFill>
                <a:effectLst/>
                <a:uLnTx/>
                <a:uFillTx/>
                <a:latin typeface="Segoe Light" pitchFamily="34" charset="0"/>
                <a:ea typeface="+mn-ea"/>
                <a:cs typeface="+mn-cs"/>
              </a:endParaRPr>
            </a:p>
          </p:txBody>
        </p:sp>
      </p:grpSp>
      <p:sp>
        <p:nvSpPr>
          <p:cNvPr id="206" name="Rectangle 205"/>
          <p:cNvSpPr/>
          <p:nvPr>
            <p:custDataLst>
              <p:tags r:id="rId2"/>
            </p:custDataLst>
          </p:nvPr>
        </p:nvSpPr>
        <p:spPr bwMode="auto">
          <a:xfrm>
            <a:off x="2163786" y="3341450"/>
            <a:ext cx="1001557" cy="641373"/>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marL="0" marR="0" lvl="0" indent="0" algn="ctr" defTabSz="932472"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1"/>
                </a:solidFill>
                <a:effectLst/>
                <a:uLnTx/>
                <a:uFillTx/>
              </a:rPr>
              <a:t>Web</a:t>
            </a:r>
          </a:p>
        </p:txBody>
      </p:sp>
      <p:grpSp>
        <p:nvGrpSpPr>
          <p:cNvPr id="207" name="Group 206"/>
          <p:cNvGrpSpPr/>
          <p:nvPr/>
        </p:nvGrpSpPr>
        <p:grpSpPr>
          <a:xfrm>
            <a:off x="2474675" y="3417376"/>
            <a:ext cx="379778" cy="372108"/>
            <a:chOff x="4030436" y="1511171"/>
            <a:chExt cx="4398164" cy="4309344"/>
          </a:xfrm>
          <a:solidFill>
            <a:schemeClr val="accent1"/>
          </a:solidFill>
        </p:grpSpPr>
        <p:sp>
          <p:nvSpPr>
            <p:cNvPr id="208" name="Oval 35"/>
            <p:cNvSpPr/>
            <p:nvPr/>
          </p:nvSpPr>
          <p:spPr>
            <a:xfrm>
              <a:off x="4411045" y="1909551"/>
              <a:ext cx="3592286" cy="3588790"/>
            </a:xfrm>
            <a:custGeom>
              <a:avLst/>
              <a:gdLst/>
              <a:ahLst/>
              <a:cxnLst/>
              <a:rect l="l" t="t" r="r" b="b"/>
              <a:pathLst>
                <a:path w="3592286" h="3588790">
                  <a:moveTo>
                    <a:pt x="856899" y="2807618"/>
                  </a:moveTo>
                  <a:cubicBezTo>
                    <a:pt x="1050936" y="3101840"/>
                    <a:pt x="1319084" y="3340075"/>
                    <a:pt x="1626253" y="3475527"/>
                  </a:cubicBezTo>
                  <a:cubicBezTo>
                    <a:pt x="1631223" y="3476765"/>
                    <a:pt x="1636270" y="3477223"/>
                    <a:pt x="1641325" y="3477658"/>
                  </a:cubicBezTo>
                  <a:cubicBezTo>
                    <a:pt x="1516509" y="3295597"/>
                    <a:pt x="1404916" y="3065936"/>
                    <a:pt x="1318985" y="2807618"/>
                  </a:cubicBezTo>
                  <a:close/>
                  <a:moveTo>
                    <a:pt x="442231" y="2807618"/>
                  </a:moveTo>
                  <a:cubicBezTo>
                    <a:pt x="659711" y="3099896"/>
                    <a:pt x="969924" y="3318794"/>
                    <a:pt x="1329899" y="3418883"/>
                  </a:cubicBezTo>
                  <a:cubicBezTo>
                    <a:pt x="1089904" y="3278379"/>
                    <a:pt x="880477" y="3064398"/>
                    <a:pt x="724038" y="2807618"/>
                  </a:cubicBezTo>
                  <a:close/>
                  <a:moveTo>
                    <a:pt x="2450248" y="1844143"/>
                  </a:moveTo>
                  <a:cubicBezTo>
                    <a:pt x="2439084" y="2145593"/>
                    <a:pt x="2386150" y="2439238"/>
                    <a:pt x="2304248" y="2705865"/>
                  </a:cubicBezTo>
                  <a:lnTo>
                    <a:pt x="2801418" y="2705865"/>
                  </a:lnTo>
                  <a:cubicBezTo>
                    <a:pt x="2959192" y="2445207"/>
                    <a:pt x="3059303" y="2147324"/>
                    <a:pt x="3081979" y="1844143"/>
                  </a:cubicBezTo>
                  <a:close/>
                  <a:moveTo>
                    <a:pt x="1254663" y="1844143"/>
                  </a:moveTo>
                  <a:cubicBezTo>
                    <a:pt x="1268316" y="2144192"/>
                    <a:pt x="1322349" y="2438934"/>
                    <a:pt x="1406891" y="2705865"/>
                  </a:cubicBezTo>
                  <a:lnTo>
                    <a:pt x="2185396" y="2705865"/>
                  </a:lnTo>
                  <a:cubicBezTo>
                    <a:pt x="2269937" y="2438934"/>
                    <a:pt x="2323970" y="2144192"/>
                    <a:pt x="2337624" y="1844143"/>
                  </a:cubicBezTo>
                  <a:close/>
                  <a:moveTo>
                    <a:pt x="510307" y="1844143"/>
                  </a:moveTo>
                  <a:cubicBezTo>
                    <a:pt x="532984" y="2147324"/>
                    <a:pt x="633095" y="2445207"/>
                    <a:pt x="790868" y="2705865"/>
                  </a:cubicBezTo>
                  <a:lnTo>
                    <a:pt x="1288039" y="2705865"/>
                  </a:lnTo>
                  <a:cubicBezTo>
                    <a:pt x="1206136" y="2439238"/>
                    <a:pt x="1153202" y="2145593"/>
                    <a:pt x="1142039" y="1844143"/>
                  </a:cubicBezTo>
                  <a:close/>
                  <a:moveTo>
                    <a:pt x="105056" y="1844143"/>
                  </a:moveTo>
                  <a:cubicBezTo>
                    <a:pt x="113791" y="2161330"/>
                    <a:pt x="209946" y="2456621"/>
                    <a:pt x="371868" y="2705865"/>
                  </a:cubicBezTo>
                  <a:lnTo>
                    <a:pt x="662862" y="2705865"/>
                  </a:lnTo>
                  <a:cubicBezTo>
                    <a:pt x="516487" y="2445076"/>
                    <a:pt x="423528" y="2147271"/>
                    <a:pt x="402177" y="1844143"/>
                  </a:cubicBezTo>
                  <a:close/>
                  <a:moveTo>
                    <a:pt x="2991928" y="880669"/>
                  </a:moveTo>
                  <a:cubicBezTo>
                    <a:pt x="3140148" y="1150938"/>
                    <a:pt x="3202326" y="1447530"/>
                    <a:pt x="3195093" y="1742390"/>
                  </a:cubicBezTo>
                  <a:lnTo>
                    <a:pt x="3487230" y="1742390"/>
                  </a:lnTo>
                  <a:cubicBezTo>
                    <a:pt x="3478495" y="1425203"/>
                    <a:pt x="3382340" y="1129913"/>
                    <a:pt x="3220418" y="880669"/>
                  </a:cubicBezTo>
                  <a:close/>
                  <a:moveTo>
                    <a:pt x="2335746" y="880669"/>
                  </a:moveTo>
                  <a:cubicBezTo>
                    <a:pt x="2421574" y="1162075"/>
                    <a:pt x="2456761" y="1454793"/>
                    <a:pt x="2451714" y="1742390"/>
                  </a:cubicBezTo>
                  <a:lnTo>
                    <a:pt x="3087241" y="1742390"/>
                  </a:lnTo>
                  <a:cubicBezTo>
                    <a:pt x="3094660" y="1447457"/>
                    <a:pt x="3027007" y="1150835"/>
                    <a:pt x="2866350" y="880669"/>
                  </a:cubicBezTo>
                  <a:close/>
                  <a:moveTo>
                    <a:pt x="1367135" y="880669"/>
                  </a:moveTo>
                  <a:cubicBezTo>
                    <a:pt x="1282114" y="1157161"/>
                    <a:pt x="1247328" y="1451118"/>
                    <a:pt x="1253877" y="1742390"/>
                  </a:cubicBezTo>
                  <a:lnTo>
                    <a:pt x="2338410" y="1742390"/>
                  </a:lnTo>
                  <a:cubicBezTo>
                    <a:pt x="2344959" y="1451118"/>
                    <a:pt x="2310172" y="1157161"/>
                    <a:pt x="2225152" y="880669"/>
                  </a:cubicBezTo>
                  <a:close/>
                  <a:moveTo>
                    <a:pt x="725937" y="880669"/>
                  </a:moveTo>
                  <a:cubicBezTo>
                    <a:pt x="565279" y="1150835"/>
                    <a:pt x="497627" y="1447457"/>
                    <a:pt x="505046" y="1742390"/>
                  </a:cubicBezTo>
                  <a:lnTo>
                    <a:pt x="1140573" y="1742390"/>
                  </a:lnTo>
                  <a:cubicBezTo>
                    <a:pt x="1135526" y="1454793"/>
                    <a:pt x="1170712" y="1162075"/>
                    <a:pt x="1256541" y="880669"/>
                  </a:cubicBezTo>
                  <a:close/>
                  <a:moveTo>
                    <a:pt x="2248579" y="164328"/>
                  </a:moveTo>
                  <a:cubicBezTo>
                    <a:pt x="2555388" y="331327"/>
                    <a:pt x="2778580" y="542975"/>
                    <a:pt x="2930516" y="778916"/>
                  </a:cubicBezTo>
                  <a:lnTo>
                    <a:pt x="3150056" y="778916"/>
                  </a:lnTo>
                  <a:cubicBezTo>
                    <a:pt x="2929802" y="482911"/>
                    <a:pt x="2614435" y="262169"/>
                    <a:pt x="2248579" y="164328"/>
                  </a:cubicBezTo>
                  <a:close/>
                  <a:moveTo>
                    <a:pt x="1937815" y="108552"/>
                  </a:moveTo>
                  <a:cubicBezTo>
                    <a:pt x="2102992" y="314323"/>
                    <a:pt x="2221669" y="541474"/>
                    <a:pt x="2300881" y="778916"/>
                  </a:cubicBezTo>
                  <a:lnTo>
                    <a:pt x="2799582" y="778916"/>
                  </a:lnTo>
                  <a:cubicBezTo>
                    <a:pt x="2615287" y="515202"/>
                    <a:pt x="2334724" y="282038"/>
                    <a:pt x="1938828" y="108687"/>
                  </a:cubicBezTo>
                  <a:cubicBezTo>
                    <a:pt x="1938493" y="108605"/>
                    <a:pt x="1938154" y="108578"/>
                    <a:pt x="1937815" y="108552"/>
                  </a:cubicBezTo>
                  <a:close/>
                  <a:moveTo>
                    <a:pt x="1853094" y="0"/>
                  </a:moveTo>
                  <a:cubicBezTo>
                    <a:pt x="2818755" y="28121"/>
                    <a:pt x="3592286" y="820360"/>
                    <a:pt x="3592286" y="1793267"/>
                  </a:cubicBezTo>
                  <a:cubicBezTo>
                    <a:pt x="3592286" y="2081519"/>
                    <a:pt x="3524385" y="2353911"/>
                    <a:pt x="3401976" y="2594458"/>
                  </a:cubicBezTo>
                  <a:lnTo>
                    <a:pt x="3325255" y="2517737"/>
                  </a:lnTo>
                  <a:cubicBezTo>
                    <a:pt x="3423612" y="2313010"/>
                    <a:pt x="3480601" y="2084883"/>
                    <a:pt x="3487230" y="1844143"/>
                  </a:cubicBezTo>
                  <a:lnTo>
                    <a:pt x="3190110" y="1844143"/>
                  </a:lnTo>
                  <a:cubicBezTo>
                    <a:pt x="3168759" y="2147271"/>
                    <a:pt x="3075799" y="2445076"/>
                    <a:pt x="2929425" y="2705865"/>
                  </a:cubicBezTo>
                  <a:lnTo>
                    <a:pt x="3220418" y="2705865"/>
                  </a:lnTo>
                  <a:lnTo>
                    <a:pt x="3303597" y="2556602"/>
                  </a:lnTo>
                  <a:lnTo>
                    <a:pt x="3303597" y="2767773"/>
                  </a:lnTo>
                  <a:cubicBezTo>
                    <a:pt x="3280445" y="2805980"/>
                    <a:pt x="3254809" y="2842496"/>
                    <a:pt x="3226272" y="2876756"/>
                  </a:cubicBezTo>
                  <a:lnTo>
                    <a:pt x="3094122" y="2876756"/>
                  </a:lnTo>
                  <a:cubicBezTo>
                    <a:pt x="3114010" y="2854748"/>
                    <a:pt x="3132341" y="2831426"/>
                    <a:pt x="3150056" y="2807618"/>
                  </a:cubicBezTo>
                  <a:lnTo>
                    <a:pt x="2868249" y="2807618"/>
                  </a:lnTo>
                  <a:lnTo>
                    <a:pt x="2820582" y="2876756"/>
                  </a:lnTo>
                  <a:lnTo>
                    <a:pt x="2682941" y="2876756"/>
                  </a:lnTo>
                  <a:cubicBezTo>
                    <a:pt x="2702988" y="2855609"/>
                    <a:pt x="2719438" y="2831803"/>
                    <a:pt x="2735387" y="2807618"/>
                  </a:cubicBezTo>
                  <a:lnTo>
                    <a:pt x="2273301" y="2807618"/>
                  </a:lnTo>
                  <a:lnTo>
                    <a:pt x="2247912" y="2876756"/>
                  </a:lnTo>
                  <a:lnTo>
                    <a:pt x="2126765" y="2876756"/>
                  </a:lnTo>
                  <a:cubicBezTo>
                    <a:pt x="2136798" y="2854347"/>
                    <a:pt x="2145074" y="2831106"/>
                    <a:pt x="2153121" y="2807618"/>
                  </a:cubicBezTo>
                  <a:lnTo>
                    <a:pt x="1439165" y="2807618"/>
                  </a:lnTo>
                  <a:cubicBezTo>
                    <a:pt x="1529282" y="3070629"/>
                    <a:pt x="1647990" y="3302680"/>
                    <a:pt x="1783852" y="3480422"/>
                  </a:cubicBezTo>
                  <a:lnTo>
                    <a:pt x="1783852" y="3588790"/>
                  </a:lnTo>
                  <a:cubicBezTo>
                    <a:pt x="797525" y="3582757"/>
                    <a:pt x="0" y="2781148"/>
                    <a:pt x="0" y="1793267"/>
                  </a:cubicBezTo>
                  <a:cubicBezTo>
                    <a:pt x="0" y="1473619"/>
                    <a:pt x="83499" y="1173473"/>
                    <a:pt x="230835" y="913991"/>
                  </a:cubicBezTo>
                  <a:lnTo>
                    <a:pt x="309476" y="992632"/>
                  </a:lnTo>
                  <a:cubicBezTo>
                    <a:pt x="184125" y="1215203"/>
                    <a:pt x="112536" y="1470768"/>
                    <a:pt x="105056" y="1742390"/>
                  </a:cubicBezTo>
                  <a:lnTo>
                    <a:pt x="397194" y="1742390"/>
                  </a:lnTo>
                  <a:cubicBezTo>
                    <a:pt x="389961" y="1447530"/>
                    <a:pt x="452139" y="1150938"/>
                    <a:pt x="600359" y="880669"/>
                  </a:cubicBezTo>
                  <a:lnTo>
                    <a:pt x="371868" y="880669"/>
                  </a:lnTo>
                  <a:lnTo>
                    <a:pt x="333349" y="949791"/>
                  </a:lnTo>
                  <a:lnTo>
                    <a:pt x="333349" y="753460"/>
                  </a:lnTo>
                  <a:cubicBezTo>
                    <a:pt x="360802" y="712185"/>
                    <a:pt x="391169" y="673066"/>
                    <a:pt x="423716" y="635829"/>
                  </a:cubicBezTo>
                  <a:lnTo>
                    <a:pt x="563325" y="635829"/>
                  </a:lnTo>
                  <a:cubicBezTo>
                    <a:pt x="519731" y="680610"/>
                    <a:pt x="479611" y="728679"/>
                    <a:pt x="442230" y="778916"/>
                  </a:cubicBezTo>
                  <a:lnTo>
                    <a:pt x="661771" y="778916"/>
                  </a:lnTo>
                  <a:lnTo>
                    <a:pt x="767803" y="635829"/>
                  </a:lnTo>
                  <a:lnTo>
                    <a:pt x="906577" y="635829"/>
                  </a:lnTo>
                  <a:cubicBezTo>
                    <a:pt x="864624" y="681831"/>
                    <a:pt x="826998" y="729845"/>
                    <a:pt x="792704" y="778916"/>
                  </a:cubicBezTo>
                  <a:lnTo>
                    <a:pt x="1291405" y="778916"/>
                  </a:lnTo>
                  <a:lnTo>
                    <a:pt x="1345823" y="635829"/>
                  </a:lnTo>
                  <a:lnTo>
                    <a:pt x="1459900" y="635829"/>
                  </a:lnTo>
                  <a:cubicBezTo>
                    <a:pt x="1438327" y="682375"/>
                    <a:pt x="1419944" y="730313"/>
                    <a:pt x="1403283" y="778916"/>
                  </a:cubicBezTo>
                  <a:lnTo>
                    <a:pt x="2189004" y="778916"/>
                  </a:lnTo>
                  <a:cubicBezTo>
                    <a:pt x="2114289" y="560837"/>
                    <a:pt x="2004846" y="356159"/>
                    <a:pt x="1853094" y="17797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9" name="Left Arrow 208"/>
            <p:cNvSpPr/>
            <p:nvPr/>
          </p:nvSpPr>
          <p:spPr>
            <a:xfrm>
              <a:off x="4030436" y="1511171"/>
              <a:ext cx="2157701" cy="1268964"/>
            </a:xfrm>
            <a:prstGeom prst="lef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0" name="Left Arrow 209"/>
            <p:cNvSpPr/>
            <p:nvPr/>
          </p:nvSpPr>
          <p:spPr>
            <a:xfrm flipH="1">
              <a:off x="6270899" y="4551551"/>
              <a:ext cx="2157701" cy="1268964"/>
            </a:xfrm>
            <a:prstGeom prst="lef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203" name="Group 202"/>
          <p:cNvGrpSpPr/>
          <p:nvPr/>
        </p:nvGrpSpPr>
        <p:grpSpPr>
          <a:xfrm>
            <a:off x="2163786" y="4025268"/>
            <a:ext cx="1001557" cy="641373"/>
            <a:chOff x="787287" y="3657769"/>
            <a:chExt cx="1070933" cy="685800"/>
          </a:xfrm>
        </p:grpSpPr>
        <p:sp>
          <p:nvSpPr>
            <p:cNvPr id="204" name="Rectangle 203"/>
            <p:cNvSpPr/>
            <p:nvPr>
              <p:custDataLst>
                <p:tags r:id="rId3"/>
              </p:custDataLst>
            </p:nvPr>
          </p:nvSpPr>
          <p:spPr bwMode="auto">
            <a:xfrm>
              <a:off x="787287" y="3657769"/>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marL="0" marR="0" lvl="0" indent="0" algn="ctr" defTabSz="932472"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1"/>
                  </a:solidFill>
                  <a:effectLst/>
                  <a:uLnTx/>
                  <a:uFillTx/>
                </a:rPr>
                <a:t>Relational</a:t>
              </a:r>
            </a:p>
          </p:txBody>
        </p:sp>
        <p:sp>
          <p:nvSpPr>
            <p:cNvPr id="205" name="Donut 18"/>
            <p:cNvSpPr/>
            <p:nvPr/>
          </p:nvSpPr>
          <p:spPr>
            <a:xfrm rot="20250901">
              <a:off x="1104429" y="3737122"/>
              <a:ext cx="474972" cy="391893"/>
            </a:xfrm>
            <a:custGeom>
              <a:avLst/>
              <a:gdLst/>
              <a:ahLst/>
              <a:cxnLst/>
              <a:rect l="l" t="t" r="r" b="b"/>
              <a:pathLst>
                <a:path w="1871663" h="1544284">
                  <a:moveTo>
                    <a:pt x="544841" y="1200434"/>
                  </a:moveTo>
                  <a:cubicBezTo>
                    <a:pt x="543042" y="1206654"/>
                    <a:pt x="542601" y="1212993"/>
                    <a:pt x="543107" y="1219347"/>
                  </a:cubicBezTo>
                  <a:close/>
                  <a:moveTo>
                    <a:pt x="275352" y="900100"/>
                  </a:moveTo>
                  <a:lnTo>
                    <a:pt x="261597" y="901547"/>
                  </a:lnTo>
                  <a:cubicBezTo>
                    <a:pt x="266283" y="902015"/>
                    <a:pt x="270885" y="901513"/>
                    <a:pt x="275352" y="900100"/>
                  </a:cubicBezTo>
                  <a:close/>
                  <a:moveTo>
                    <a:pt x="1460612" y="1146325"/>
                  </a:moveTo>
                  <a:cubicBezTo>
                    <a:pt x="1462787" y="1148843"/>
                    <a:pt x="1465229" y="1151093"/>
                    <a:pt x="1468262" y="1152682"/>
                  </a:cubicBezTo>
                  <a:close/>
                  <a:moveTo>
                    <a:pt x="517145" y="294317"/>
                  </a:moveTo>
                  <a:cubicBezTo>
                    <a:pt x="517303" y="296695"/>
                    <a:pt x="518089" y="298856"/>
                    <a:pt x="519165" y="300906"/>
                  </a:cubicBezTo>
                  <a:close/>
                  <a:moveTo>
                    <a:pt x="1670936" y="734747"/>
                  </a:moveTo>
                  <a:cubicBezTo>
                    <a:pt x="1667510" y="733888"/>
                    <a:pt x="1664036" y="733381"/>
                    <a:pt x="1660460" y="733786"/>
                  </a:cubicBezTo>
                  <a:close/>
                  <a:moveTo>
                    <a:pt x="942463" y="179722"/>
                  </a:moveTo>
                  <a:lnTo>
                    <a:pt x="942506" y="180134"/>
                  </a:lnTo>
                  <a:cubicBezTo>
                    <a:pt x="942525" y="179990"/>
                    <a:pt x="942500" y="179855"/>
                    <a:pt x="942463" y="179722"/>
                  </a:cubicBezTo>
                  <a:close/>
                  <a:moveTo>
                    <a:pt x="1564371" y="435391"/>
                  </a:moveTo>
                  <a:cubicBezTo>
                    <a:pt x="1564370" y="435395"/>
                    <a:pt x="1564369" y="435398"/>
                    <a:pt x="1564368" y="435401"/>
                  </a:cubicBezTo>
                  <a:lnTo>
                    <a:pt x="1564365" y="435407"/>
                  </a:lnTo>
                  <a:cubicBezTo>
                    <a:pt x="1564367" y="435405"/>
                    <a:pt x="1564368" y="435403"/>
                    <a:pt x="1564368" y="435401"/>
                  </a:cubicBezTo>
                  <a:close/>
                  <a:moveTo>
                    <a:pt x="1185541" y="268540"/>
                  </a:moveTo>
                  <a:cubicBezTo>
                    <a:pt x="1114425" y="246221"/>
                    <a:pt x="1036961" y="234960"/>
                    <a:pt x="956104" y="234960"/>
                  </a:cubicBezTo>
                  <a:lnTo>
                    <a:pt x="945214" y="235811"/>
                  </a:lnTo>
                  <a:cubicBezTo>
                    <a:pt x="944675" y="259402"/>
                    <a:pt x="939319" y="283081"/>
                    <a:pt x="929802" y="306075"/>
                  </a:cubicBezTo>
                  <a:cubicBezTo>
                    <a:pt x="883047" y="419035"/>
                    <a:pt x="753573" y="472705"/>
                    <a:pt x="640612" y="425950"/>
                  </a:cubicBezTo>
                  <a:cubicBezTo>
                    <a:pt x="600538" y="409363"/>
                    <a:pt x="567925" y="382365"/>
                    <a:pt x="545071" y="349062"/>
                  </a:cubicBezTo>
                  <a:cubicBezTo>
                    <a:pt x="545072" y="349063"/>
                    <a:pt x="545072" y="349064"/>
                    <a:pt x="545072" y="349064"/>
                  </a:cubicBezTo>
                  <a:cubicBezTo>
                    <a:pt x="485701" y="382929"/>
                    <a:pt x="435647" y="426353"/>
                    <a:pt x="397284" y="476398"/>
                  </a:cubicBezTo>
                  <a:cubicBezTo>
                    <a:pt x="476893" y="541622"/>
                    <a:pt x="507560" y="653613"/>
                    <a:pt x="466115" y="753745"/>
                  </a:cubicBezTo>
                  <a:cubicBezTo>
                    <a:pt x="438914" y="819461"/>
                    <a:pt x="386130" y="866839"/>
                    <a:pt x="323795" y="888325"/>
                  </a:cubicBezTo>
                  <a:cubicBezTo>
                    <a:pt x="323803" y="888325"/>
                    <a:pt x="323809" y="888322"/>
                    <a:pt x="323815" y="888320"/>
                  </a:cubicBezTo>
                  <a:cubicBezTo>
                    <a:pt x="360376" y="995422"/>
                    <a:pt x="442737" y="1087363"/>
                    <a:pt x="553687" y="1151157"/>
                  </a:cubicBezTo>
                  <a:cubicBezTo>
                    <a:pt x="555838" y="1137455"/>
                    <a:pt x="560305" y="1124202"/>
                    <a:pt x="565725" y="1111107"/>
                  </a:cubicBezTo>
                  <a:cubicBezTo>
                    <a:pt x="631895" y="951239"/>
                    <a:pt x="815137" y="875282"/>
                    <a:pt x="975006" y="941452"/>
                  </a:cubicBezTo>
                  <a:cubicBezTo>
                    <a:pt x="1095448" y="991304"/>
                    <a:pt x="1168263" y="1107604"/>
                    <a:pt x="1168398" y="1230296"/>
                  </a:cubicBezTo>
                  <a:cubicBezTo>
                    <a:pt x="1267673" y="1206553"/>
                    <a:pt x="1355859" y="1162942"/>
                    <a:pt x="1427062" y="1106198"/>
                  </a:cubicBezTo>
                  <a:cubicBezTo>
                    <a:pt x="1384456" y="1041457"/>
                    <a:pt x="1373677" y="957433"/>
                    <a:pt x="1405552" y="880423"/>
                  </a:cubicBezTo>
                  <a:cubicBezTo>
                    <a:pt x="1442194" y="791895"/>
                    <a:pt x="1525264" y="736646"/>
                    <a:pt x="1614928" y="732108"/>
                  </a:cubicBezTo>
                  <a:cubicBezTo>
                    <a:pt x="1613318" y="644779"/>
                    <a:pt x="1581876" y="562987"/>
                    <a:pt x="1526926" y="493543"/>
                  </a:cubicBezTo>
                  <a:lnTo>
                    <a:pt x="1526931" y="493536"/>
                  </a:lnTo>
                  <a:cubicBezTo>
                    <a:pt x="1470532" y="558140"/>
                    <a:pt x="1377141" y="582359"/>
                    <a:pt x="1293429" y="547710"/>
                  </a:cubicBezTo>
                  <a:cubicBezTo>
                    <a:pt x="1187599" y="503906"/>
                    <a:pt x="1137316" y="382602"/>
                    <a:pt x="1181120" y="276772"/>
                  </a:cubicBezTo>
                  <a:close/>
                  <a:moveTo>
                    <a:pt x="1221415" y="215198"/>
                  </a:moveTo>
                  <a:cubicBezTo>
                    <a:pt x="1220583" y="215820"/>
                    <a:pt x="1219878" y="216565"/>
                    <a:pt x="1219447" y="217566"/>
                  </a:cubicBezTo>
                  <a:close/>
                  <a:moveTo>
                    <a:pt x="1452058" y="164462"/>
                  </a:moveTo>
                  <a:cubicBezTo>
                    <a:pt x="1540327" y="200997"/>
                    <a:pt x="1589954" y="291445"/>
                    <a:pt x="1577690" y="381749"/>
                  </a:cubicBezTo>
                  <a:cubicBezTo>
                    <a:pt x="1577691" y="381748"/>
                    <a:pt x="1577691" y="381747"/>
                    <a:pt x="1577691" y="381746"/>
                  </a:cubicBezTo>
                  <a:cubicBezTo>
                    <a:pt x="1672266" y="483314"/>
                    <a:pt x="1727215" y="610152"/>
                    <a:pt x="1727215" y="747355"/>
                  </a:cubicBezTo>
                  <a:lnTo>
                    <a:pt x="1726932" y="751888"/>
                  </a:lnTo>
                  <a:cubicBezTo>
                    <a:pt x="1847235" y="804348"/>
                    <a:pt x="1903640" y="943811"/>
                    <a:pt x="1853189" y="1065702"/>
                  </a:cubicBezTo>
                  <a:cubicBezTo>
                    <a:pt x="1802026" y="1189313"/>
                    <a:pt x="1660343" y="1248044"/>
                    <a:pt x="1536731" y="1196880"/>
                  </a:cubicBezTo>
                  <a:lnTo>
                    <a:pt x="1507818" y="1181350"/>
                  </a:lnTo>
                  <a:cubicBezTo>
                    <a:pt x="1507818" y="1181350"/>
                    <a:pt x="1507819" y="1181351"/>
                    <a:pt x="1507819" y="1181351"/>
                  </a:cubicBezTo>
                  <a:cubicBezTo>
                    <a:pt x="1410579" y="1262953"/>
                    <a:pt x="1285739" y="1322514"/>
                    <a:pt x="1145194" y="1348960"/>
                  </a:cubicBezTo>
                  <a:lnTo>
                    <a:pt x="1145235" y="1348825"/>
                  </a:lnTo>
                  <a:cubicBezTo>
                    <a:pt x="1145165" y="1349510"/>
                    <a:pt x="1144914" y="1350121"/>
                    <a:pt x="1144661" y="1350732"/>
                  </a:cubicBezTo>
                  <a:cubicBezTo>
                    <a:pt x="1078491" y="1510600"/>
                    <a:pt x="895250" y="1586557"/>
                    <a:pt x="735381" y="1520387"/>
                  </a:cubicBezTo>
                  <a:cubicBezTo>
                    <a:pt x="628649" y="1476210"/>
                    <a:pt x="559318" y="1379852"/>
                    <a:pt x="546018" y="1272927"/>
                  </a:cubicBezTo>
                  <a:cubicBezTo>
                    <a:pt x="546017" y="1272929"/>
                    <a:pt x="546018" y="1272932"/>
                    <a:pt x="546018" y="1272934"/>
                  </a:cubicBezTo>
                  <a:cubicBezTo>
                    <a:pt x="380574" y="1190518"/>
                    <a:pt x="257944" y="1057677"/>
                    <a:pt x="211243" y="900385"/>
                  </a:cubicBezTo>
                  <a:lnTo>
                    <a:pt x="211253" y="900385"/>
                  </a:lnTo>
                  <a:cubicBezTo>
                    <a:pt x="190468" y="898691"/>
                    <a:pt x="169822" y="893269"/>
                    <a:pt x="149657" y="884922"/>
                  </a:cubicBezTo>
                  <a:cubicBezTo>
                    <a:pt x="26045" y="833759"/>
                    <a:pt x="-32686" y="692076"/>
                    <a:pt x="18478" y="568465"/>
                  </a:cubicBezTo>
                  <a:cubicBezTo>
                    <a:pt x="64692" y="456811"/>
                    <a:pt x="184761" y="398093"/>
                    <a:pt x="298454" y="426323"/>
                  </a:cubicBezTo>
                  <a:cubicBezTo>
                    <a:pt x="350193" y="353180"/>
                    <a:pt x="421361" y="291040"/>
                    <a:pt x="506025" y="243624"/>
                  </a:cubicBezTo>
                  <a:lnTo>
                    <a:pt x="506026" y="243626"/>
                  </a:lnTo>
                  <a:cubicBezTo>
                    <a:pt x="501390" y="208461"/>
                    <a:pt x="506228" y="171816"/>
                    <a:pt x="520737" y="136760"/>
                  </a:cubicBezTo>
                  <a:cubicBezTo>
                    <a:pt x="567492" y="23800"/>
                    <a:pt x="696966" y="-29869"/>
                    <a:pt x="809927" y="16885"/>
                  </a:cubicBezTo>
                  <a:cubicBezTo>
                    <a:pt x="862855" y="38793"/>
                    <a:pt x="902766" y="78861"/>
                    <a:pt x="924737" y="127208"/>
                  </a:cubicBezTo>
                  <a:cubicBezTo>
                    <a:pt x="924737" y="127208"/>
                    <a:pt x="924737" y="127208"/>
                    <a:pt x="924737" y="127208"/>
                  </a:cubicBezTo>
                  <a:cubicBezTo>
                    <a:pt x="935097" y="124825"/>
                    <a:pt x="945576" y="124655"/>
                    <a:pt x="956104" y="124655"/>
                  </a:cubicBezTo>
                  <a:cubicBezTo>
                    <a:pt x="1062572" y="124655"/>
                    <a:pt x="1164001" y="142079"/>
                    <a:pt x="1256255" y="173590"/>
                  </a:cubicBezTo>
                  <a:lnTo>
                    <a:pt x="1270314" y="179752"/>
                  </a:lnTo>
                  <a:cubicBezTo>
                    <a:pt x="1322540" y="145450"/>
                    <a:pt x="1389962" y="138760"/>
                    <a:pt x="1452058" y="16446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tx1"/>
                </a:solidFill>
                <a:effectLst/>
                <a:uLnTx/>
                <a:uFillTx/>
              </a:endParaRPr>
            </a:p>
          </p:txBody>
        </p:sp>
      </p:grpSp>
      <p:cxnSp>
        <p:nvCxnSpPr>
          <p:cNvPr id="228" name="Straight Arrow Connector 227"/>
          <p:cNvCxnSpPr>
            <a:endCxn id="249" idx="2"/>
          </p:cNvCxnSpPr>
          <p:nvPr/>
        </p:nvCxnSpPr>
        <p:spPr>
          <a:xfrm flipH="1">
            <a:off x="5623883" y="2970867"/>
            <a:ext cx="359395" cy="283173"/>
          </a:xfrm>
          <a:prstGeom prst="straightConnector1">
            <a:avLst/>
          </a:prstGeom>
          <a:ln w="25400">
            <a:solidFill>
              <a:schemeClr val="bg1">
                <a:lumMod val="50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0" name="Straight Arrow Connector 229"/>
          <p:cNvCxnSpPr/>
          <p:nvPr/>
        </p:nvCxnSpPr>
        <p:spPr>
          <a:xfrm>
            <a:off x="9296379" y="2103635"/>
            <a:ext cx="498846"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1" name="Straight Arrow Connector 230"/>
          <p:cNvCxnSpPr/>
          <p:nvPr/>
        </p:nvCxnSpPr>
        <p:spPr>
          <a:xfrm>
            <a:off x="9296379" y="2711975"/>
            <a:ext cx="498846"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2" name="Straight Arrow Connector 231"/>
          <p:cNvCxnSpPr/>
          <p:nvPr/>
        </p:nvCxnSpPr>
        <p:spPr>
          <a:xfrm>
            <a:off x="9312883" y="3928655"/>
            <a:ext cx="498846"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3" name="Straight Arrow Connector 232"/>
          <p:cNvCxnSpPr/>
          <p:nvPr/>
        </p:nvCxnSpPr>
        <p:spPr>
          <a:xfrm>
            <a:off x="9312883" y="3320315"/>
            <a:ext cx="498846"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4" name="Straight Arrow Connector 233"/>
          <p:cNvCxnSpPr/>
          <p:nvPr/>
        </p:nvCxnSpPr>
        <p:spPr>
          <a:xfrm>
            <a:off x="9329390" y="4536996"/>
            <a:ext cx="498846"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5" name="Straight Connector 234"/>
          <p:cNvCxnSpPr/>
          <p:nvPr/>
        </p:nvCxnSpPr>
        <p:spPr>
          <a:xfrm>
            <a:off x="9296379" y="2112649"/>
            <a:ext cx="16504" cy="2424945"/>
          </a:xfrm>
          <a:prstGeom prst="line">
            <a:avLst/>
          </a:prstGeom>
          <a:ln w="9525">
            <a:solidFill>
              <a:srgbClr val="0078D7"/>
            </a:solidFill>
            <a:miter lim="800000"/>
            <a:headEnd type="none"/>
            <a:tailEnd type="none" w="lg" len="med"/>
          </a:ln>
        </p:spPr>
        <p:style>
          <a:lnRef idx="1">
            <a:schemeClr val="accent1"/>
          </a:lnRef>
          <a:fillRef idx="0">
            <a:schemeClr val="accent1"/>
          </a:fillRef>
          <a:effectRef idx="0">
            <a:schemeClr val="accent1"/>
          </a:effectRef>
          <a:fontRef idx="minor">
            <a:schemeClr val="tx1"/>
          </a:fontRef>
        </p:style>
      </p:cxnSp>
      <p:sp>
        <p:nvSpPr>
          <p:cNvPr id="238" name="TextBox 237"/>
          <p:cNvSpPr txBox="1"/>
          <p:nvPr/>
        </p:nvSpPr>
        <p:spPr>
          <a:xfrm>
            <a:off x="9921286" y="2573057"/>
            <a:ext cx="1014701" cy="276999"/>
          </a:xfrm>
          <a:prstGeom prst="rect">
            <a:avLst/>
          </a:prstGeom>
          <a:noFill/>
        </p:spPr>
        <p:txBody>
          <a:bodyPr wrap="none" lIns="0" tIns="0" rIns="0" bIns="0" rtlCol="0">
            <a:spAutoFit/>
          </a:bodyPr>
          <a:lstStyle/>
          <a:p>
            <a:pPr marL="0" marR="0" lvl="0" indent="0" defTabSz="932418"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accent1"/>
                </a:solidFill>
                <a:effectLst/>
                <a:uLnTx/>
                <a:uFillTx/>
              </a:rPr>
              <a:t>HDInsight</a:t>
            </a:r>
          </a:p>
        </p:txBody>
      </p:sp>
      <p:sp>
        <p:nvSpPr>
          <p:cNvPr id="239" name="TextBox 238"/>
          <p:cNvSpPr txBox="1"/>
          <p:nvPr/>
        </p:nvSpPr>
        <p:spPr>
          <a:xfrm>
            <a:off x="9921286" y="1961087"/>
            <a:ext cx="1386598" cy="276999"/>
          </a:xfrm>
          <a:prstGeom prst="rect">
            <a:avLst/>
          </a:prstGeom>
          <a:noFill/>
        </p:spPr>
        <p:txBody>
          <a:bodyPr wrap="none" lIns="0" tIns="0" rIns="0" bIns="0" rtlCol="0">
            <a:spAutoFit/>
          </a:bodyPr>
          <a:lstStyle/>
          <a:p>
            <a:pPr marL="0" marR="0" lvl="0" indent="0" defTabSz="932418" eaLnBrk="1" fontAlgn="auto" latinLnBrk="0" hangingPunct="1">
              <a:lnSpc>
                <a:spcPct val="100000"/>
              </a:lnSpc>
              <a:spcBef>
                <a:spcPts val="0"/>
              </a:spcBef>
              <a:spcAft>
                <a:spcPts val="0"/>
              </a:spcAft>
              <a:buClrTx/>
              <a:buSzTx/>
              <a:buFontTx/>
              <a:buNone/>
              <a:tabLst/>
              <a:defRPr/>
            </a:pPr>
            <a:r>
              <a:rPr lang="en-US" kern="0" dirty="0">
                <a:solidFill>
                  <a:schemeClr val="accent1"/>
                </a:solidFill>
              </a:rPr>
              <a:t>ADL </a:t>
            </a:r>
            <a:r>
              <a:rPr kumimoji="0" lang="en-US" sz="1800" b="0" i="0" u="none" strike="noStrike" kern="0" cap="none" spc="0" normalizeH="0" baseline="0" noProof="0" dirty="0">
                <a:ln>
                  <a:noFill/>
                </a:ln>
                <a:solidFill>
                  <a:schemeClr val="accent1"/>
                </a:solidFill>
                <a:effectLst/>
                <a:uLnTx/>
                <a:uFillTx/>
              </a:rPr>
              <a:t>Analytics</a:t>
            </a:r>
          </a:p>
        </p:txBody>
      </p:sp>
      <p:sp>
        <p:nvSpPr>
          <p:cNvPr id="240" name="TextBox 239"/>
          <p:cNvSpPr txBox="1"/>
          <p:nvPr/>
        </p:nvSpPr>
        <p:spPr>
          <a:xfrm>
            <a:off x="9921286" y="4408969"/>
            <a:ext cx="1807739" cy="276999"/>
          </a:xfrm>
          <a:prstGeom prst="rect">
            <a:avLst/>
          </a:prstGeom>
          <a:noFill/>
        </p:spPr>
        <p:txBody>
          <a:bodyPr wrap="none" lIns="0" tIns="0" rIns="0" bIns="0" rtlCol="0">
            <a:spAutoFit/>
          </a:bodyPr>
          <a:lstStyle/>
          <a:p>
            <a:pPr marL="0" marR="0" lvl="0" indent="0" defTabSz="932418"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accent1"/>
                </a:solidFill>
                <a:effectLst/>
                <a:uLnTx/>
                <a:uFillTx/>
              </a:rPr>
              <a:t>Machine Learning</a:t>
            </a:r>
          </a:p>
        </p:txBody>
      </p:sp>
      <p:sp>
        <p:nvSpPr>
          <p:cNvPr id="241" name="TextBox 240"/>
          <p:cNvSpPr txBox="1"/>
          <p:nvPr/>
        </p:nvSpPr>
        <p:spPr>
          <a:xfrm>
            <a:off x="9921286" y="3796997"/>
            <a:ext cx="569258" cy="276999"/>
          </a:xfrm>
          <a:prstGeom prst="rect">
            <a:avLst/>
          </a:prstGeom>
          <a:noFill/>
        </p:spPr>
        <p:txBody>
          <a:bodyPr wrap="none" lIns="0" tIns="0" rIns="0" bIns="0" rtlCol="0">
            <a:spAutoFit/>
          </a:bodyPr>
          <a:lstStyle/>
          <a:p>
            <a:pPr marL="0" marR="0" lvl="0" indent="0" defTabSz="932418"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accent1"/>
                </a:solidFill>
                <a:effectLst/>
                <a:uLnTx/>
                <a:uFillTx/>
              </a:rPr>
              <a:t>Spark</a:t>
            </a:r>
          </a:p>
        </p:txBody>
      </p:sp>
      <p:sp>
        <p:nvSpPr>
          <p:cNvPr id="242" name="TextBox 241"/>
          <p:cNvSpPr txBox="1"/>
          <p:nvPr/>
        </p:nvSpPr>
        <p:spPr>
          <a:xfrm>
            <a:off x="9921286" y="3185027"/>
            <a:ext cx="137858" cy="276999"/>
          </a:xfrm>
          <a:prstGeom prst="rect">
            <a:avLst/>
          </a:prstGeom>
          <a:noFill/>
        </p:spPr>
        <p:txBody>
          <a:bodyPr wrap="none" lIns="0" tIns="0" rIns="0" bIns="0" rtlCol="0">
            <a:spAutoFit/>
          </a:bodyPr>
          <a:lstStyle/>
          <a:p>
            <a:pPr marL="0" marR="0" lvl="0" indent="0" defTabSz="932418"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accent1"/>
                </a:solidFill>
                <a:effectLst/>
                <a:uLnTx/>
                <a:uFillTx/>
              </a:rPr>
              <a:t>R</a:t>
            </a:r>
          </a:p>
        </p:txBody>
      </p:sp>
      <p:pic>
        <p:nvPicPr>
          <p:cNvPr id="243" name="Picture 242"/>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1683980" y="1904585"/>
            <a:ext cx="406834" cy="406834"/>
          </a:xfrm>
          <a:prstGeom prst="rect">
            <a:avLst/>
          </a:prstGeom>
        </p:spPr>
      </p:pic>
      <p:pic>
        <p:nvPicPr>
          <p:cNvPr id="244" name="Picture 243"/>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11652363" y="3109496"/>
            <a:ext cx="494749" cy="457682"/>
          </a:xfrm>
          <a:prstGeom prst="rect">
            <a:avLst/>
          </a:prstGeom>
          <a:noFill/>
        </p:spPr>
      </p:pic>
      <p:pic>
        <p:nvPicPr>
          <p:cNvPr id="245" name="Picture 2" descr="http://www.ebaytechblog.com/wp-content/uploads/2014/05/spark_logo.png"/>
          <p:cNvPicPr>
            <a:picLocks noChangeAspect="1" noChangeArrowheads="1"/>
          </p:cNvPicPr>
          <p:nvPr/>
        </p:nvPicPr>
        <p:blipFill>
          <a:blip r:embed="rId13" cstate="email">
            <a:duotone>
              <a:schemeClr val="accent3">
                <a:shade val="45000"/>
                <a:satMod val="135000"/>
              </a:schemeClr>
              <a:prstClr val="white"/>
            </a:duotone>
            <a:extLst>
              <a:ext uri="{BEBA8EAE-BF5A-486C-A8C5-ECC9F3942E4B}">
                <a14:imgProps xmlns:a14="http://schemas.microsoft.com/office/drawing/2010/main">
                  <a14:imgLayer r:embed="rId14">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11596320" y="3744147"/>
            <a:ext cx="606835" cy="322234"/>
          </a:xfrm>
          <a:prstGeom prst="rect">
            <a:avLst/>
          </a:prstGeom>
          <a:noFill/>
          <a:ln>
            <a:noFill/>
          </a:ln>
          <a:extLst/>
        </p:spPr>
      </p:pic>
      <p:sp>
        <p:nvSpPr>
          <p:cNvPr id="247" name="Freeform 246"/>
          <p:cNvSpPr>
            <a:spLocks noChangeAspect="1"/>
          </p:cNvSpPr>
          <p:nvPr/>
        </p:nvSpPr>
        <p:spPr bwMode="auto">
          <a:xfrm>
            <a:off x="11630312" y="2534710"/>
            <a:ext cx="538851" cy="377912"/>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a:noFill/>
          </a:ln>
        </p:spPr>
        <p:txBody>
          <a:bodyPr vert="horz" wrap="square" lIns="89592" tIns="44796" rIns="89592" bIns="44796" numCol="1" anchor="t" anchorCtr="0" compatLnSpc="1">
            <a:prstTxWarp prst="textNoShape">
              <a:avLst/>
            </a:prstTxWarp>
          </a:bodyPr>
          <a:lstStyle/>
          <a:p>
            <a:pPr marL="0" marR="0" lvl="0" indent="0" defTabSz="912803" eaLnBrk="1" fontAlgn="base" latinLnBrk="0" hangingPunct="1">
              <a:lnSpc>
                <a:spcPct val="100000"/>
              </a:lnSpc>
              <a:spcBef>
                <a:spcPct val="0"/>
              </a:spcBef>
              <a:spcAft>
                <a:spcPct val="0"/>
              </a:spcAft>
              <a:buClrTx/>
              <a:buSzTx/>
              <a:buFontTx/>
              <a:buNone/>
              <a:tabLst/>
              <a:defRPr/>
            </a:pPr>
            <a:endParaRPr kumimoji="0" lang="en-IN" sz="1567" b="0" i="0" u="none" strike="noStrike" kern="0" cap="none" spc="0" normalizeH="0" baseline="0" noProof="0" dirty="0">
              <a:ln>
                <a:noFill/>
              </a:ln>
              <a:solidFill>
                <a:srgbClr val="000000"/>
              </a:solidFill>
              <a:effectLst/>
              <a:uLnTx/>
              <a:uFillTx/>
            </a:endParaRPr>
          </a:p>
        </p:txBody>
      </p:sp>
      <p:grpSp>
        <p:nvGrpSpPr>
          <p:cNvPr id="248" name="Group 247"/>
          <p:cNvGrpSpPr/>
          <p:nvPr/>
        </p:nvGrpSpPr>
        <p:grpSpPr>
          <a:xfrm>
            <a:off x="5623883" y="1951371"/>
            <a:ext cx="2605337" cy="2605337"/>
            <a:chOff x="4378256" y="2618105"/>
            <a:chExt cx="3657600" cy="3657600"/>
          </a:xfrm>
        </p:grpSpPr>
        <p:sp>
          <p:nvSpPr>
            <p:cNvPr id="249" name="Oval 248"/>
            <p:cNvSpPr/>
            <p:nvPr/>
          </p:nvSpPr>
          <p:spPr bwMode="auto">
            <a:xfrm>
              <a:off x="4378256" y="2618105"/>
              <a:ext cx="3657600" cy="3657600"/>
            </a:xfrm>
            <a:prstGeom prst="ellipse">
              <a:avLst/>
            </a:prstGeom>
            <a:solidFill>
              <a:schemeClr val="tx1"/>
            </a:solidFill>
            <a:ln w="3175" cap="flat" cmpd="sng" algn="ctr">
              <a:solidFill>
                <a:srgbClr val="0078D7"/>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250" name="Group 249"/>
            <p:cNvGrpSpPr/>
            <p:nvPr/>
          </p:nvGrpSpPr>
          <p:grpSpPr>
            <a:xfrm>
              <a:off x="4867139" y="4302842"/>
              <a:ext cx="2679835" cy="1127373"/>
              <a:chOff x="4724189" y="4328405"/>
              <a:chExt cx="3043313" cy="1280282"/>
            </a:xfrm>
            <a:solidFill>
              <a:schemeClr val="bg1">
                <a:lumMod val="95000"/>
              </a:schemeClr>
            </a:solidFill>
          </p:grpSpPr>
          <p:sp>
            <p:nvSpPr>
              <p:cNvPr id="252" name="TextBox 251"/>
              <p:cNvSpPr txBox="1"/>
              <p:nvPr/>
            </p:nvSpPr>
            <p:spPr>
              <a:xfrm>
                <a:off x="5875137" y="4328405"/>
                <a:ext cx="809241" cy="378565"/>
              </a:xfrm>
              <a:prstGeom prst="rect">
                <a:avLst/>
              </a:prstGeom>
              <a:solidFill>
                <a:schemeClr val="accent1"/>
              </a:solidFill>
              <a:ln>
                <a:noFill/>
              </a:ln>
            </p:spPr>
            <p:txBody>
              <a:bodyPr wrap="square" lIns="182880" tIns="146304" rIns="182880" bIns="146304" rtlCol="0">
                <a:spAutoFit/>
              </a:bodyPr>
              <a:lstStyle/>
              <a:p>
                <a:pPr marL="0" marR="0" lvl="0" indent="0" algn="ctr" defTabSz="932742" eaLnBrk="1" fontAlgn="auto" latinLnBrk="0" hangingPunct="1">
                  <a:lnSpc>
                    <a:spcPct val="90000"/>
                  </a:lnSpc>
                  <a:spcBef>
                    <a:spcPts val="0"/>
                  </a:spcBef>
                  <a:spcAft>
                    <a:spcPts val="600"/>
                  </a:spcAft>
                  <a:buClrTx/>
                  <a:buSzTx/>
                  <a:buFontTx/>
                  <a:buNone/>
                  <a:tabLst/>
                  <a:defRPr/>
                </a:pPr>
                <a:endParaRPr kumimoji="0" lang="en-US" sz="600" b="0" i="0" u="none" strike="noStrike" kern="0" cap="none" spc="0" normalizeH="0" baseline="0" noProof="0" dirty="0">
                  <a:ln>
                    <a:noFill/>
                  </a:ln>
                  <a:solidFill>
                    <a:srgbClr val="505050"/>
                  </a:solidFill>
                  <a:effectLst/>
                  <a:uLnTx/>
                  <a:uFillTx/>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253" name="TextBox 252"/>
              <p:cNvSpPr txBox="1"/>
              <p:nvPr/>
            </p:nvSpPr>
            <p:spPr>
              <a:xfrm>
                <a:off x="4724189" y="5230122"/>
                <a:ext cx="577788" cy="378565"/>
              </a:xfrm>
              <a:prstGeom prst="rect">
                <a:avLst/>
              </a:prstGeom>
              <a:solidFill>
                <a:schemeClr val="accent1"/>
              </a:solidFill>
              <a:ln>
                <a:noFill/>
              </a:ln>
            </p:spPr>
            <p:txBody>
              <a:bodyPr wrap="square" lIns="182880" tIns="146304" rIns="182880" bIns="146304" rtlCol="0">
                <a:spAutoFit/>
              </a:bodyPr>
              <a:lstStyle/>
              <a:p>
                <a:pPr marL="0" marR="0" lvl="0" indent="0" algn="ctr" defTabSz="932742" eaLnBrk="1" fontAlgn="auto" latinLnBrk="0" hangingPunct="1">
                  <a:lnSpc>
                    <a:spcPct val="90000"/>
                  </a:lnSpc>
                  <a:spcBef>
                    <a:spcPts val="0"/>
                  </a:spcBef>
                  <a:spcAft>
                    <a:spcPts val="600"/>
                  </a:spcAft>
                  <a:buClrTx/>
                  <a:buSzTx/>
                  <a:buFontTx/>
                  <a:buNone/>
                  <a:tabLst/>
                  <a:defRPr/>
                </a:pPr>
                <a:endParaRPr kumimoji="0" lang="en-US" sz="600" b="0" i="0" u="none" strike="noStrike" kern="0" cap="none" spc="0" normalizeH="0" baseline="0" noProof="0" dirty="0">
                  <a:ln>
                    <a:noFill/>
                  </a:ln>
                  <a:solidFill>
                    <a:srgbClr val="505050"/>
                  </a:solidFill>
                  <a:effectLst/>
                  <a:uLnTx/>
                  <a:uFillTx/>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254" name="TextBox 253"/>
              <p:cNvSpPr txBox="1"/>
              <p:nvPr/>
            </p:nvSpPr>
            <p:spPr>
              <a:xfrm>
                <a:off x="5340571" y="5230122"/>
                <a:ext cx="577788" cy="378565"/>
              </a:xfrm>
              <a:prstGeom prst="rect">
                <a:avLst/>
              </a:prstGeom>
              <a:solidFill>
                <a:schemeClr val="accent1"/>
              </a:solidFill>
              <a:ln>
                <a:noFill/>
              </a:ln>
            </p:spPr>
            <p:txBody>
              <a:bodyPr wrap="square" lIns="182880" tIns="146304" rIns="182880" bIns="146304" rtlCol="0">
                <a:spAutoFit/>
              </a:bodyPr>
              <a:lstStyle/>
              <a:p>
                <a:pPr marL="0" marR="0" lvl="0" indent="0" algn="ctr" defTabSz="932742" eaLnBrk="1" fontAlgn="auto" latinLnBrk="0" hangingPunct="1">
                  <a:lnSpc>
                    <a:spcPct val="90000"/>
                  </a:lnSpc>
                  <a:spcBef>
                    <a:spcPts val="0"/>
                  </a:spcBef>
                  <a:spcAft>
                    <a:spcPts val="600"/>
                  </a:spcAft>
                  <a:buClrTx/>
                  <a:buSzTx/>
                  <a:buFontTx/>
                  <a:buNone/>
                  <a:tabLst/>
                  <a:defRPr/>
                </a:pPr>
                <a:endParaRPr kumimoji="0" lang="en-US" sz="600" b="0" i="0" u="none" strike="noStrike" kern="0" cap="none" spc="0" normalizeH="0" baseline="0" noProof="0" dirty="0">
                  <a:ln>
                    <a:noFill/>
                  </a:ln>
                  <a:solidFill>
                    <a:srgbClr val="505050"/>
                  </a:solidFill>
                  <a:effectLst/>
                  <a:uLnTx/>
                  <a:uFillTx/>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255" name="TextBox 254"/>
              <p:cNvSpPr txBox="1"/>
              <p:nvPr/>
            </p:nvSpPr>
            <p:spPr>
              <a:xfrm>
                <a:off x="5956951" y="5230122"/>
                <a:ext cx="577788" cy="378565"/>
              </a:xfrm>
              <a:prstGeom prst="rect">
                <a:avLst/>
              </a:prstGeom>
              <a:solidFill>
                <a:schemeClr val="accent1"/>
              </a:solidFill>
              <a:ln>
                <a:noFill/>
              </a:ln>
            </p:spPr>
            <p:txBody>
              <a:bodyPr wrap="square" lIns="182880" tIns="146304" rIns="182880" bIns="146304" rtlCol="0">
                <a:spAutoFit/>
              </a:bodyPr>
              <a:lstStyle/>
              <a:p>
                <a:pPr marL="0" marR="0" lvl="0" indent="0" algn="ctr" defTabSz="932742" eaLnBrk="1" fontAlgn="auto" latinLnBrk="0" hangingPunct="1">
                  <a:lnSpc>
                    <a:spcPct val="90000"/>
                  </a:lnSpc>
                  <a:spcBef>
                    <a:spcPts val="0"/>
                  </a:spcBef>
                  <a:spcAft>
                    <a:spcPts val="600"/>
                  </a:spcAft>
                  <a:buClrTx/>
                  <a:buSzTx/>
                  <a:buFontTx/>
                  <a:buNone/>
                  <a:tabLst/>
                  <a:defRPr/>
                </a:pPr>
                <a:endParaRPr kumimoji="0" lang="en-US" sz="600" b="0" i="0" u="none" strike="noStrike" kern="0" cap="none" spc="0" normalizeH="0" baseline="0" noProof="0" dirty="0">
                  <a:ln>
                    <a:noFill/>
                  </a:ln>
                  <a:solidFill>
                    <a:srgbClr val="505050"/>
                  </a:solidFill>
                  <a:effectLst/>
                  <a:uLnTx/>
                  <a:uFillTx/>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256" name="TextBox 255"/>
              <p:cNvSpPr txBox="1"/>
              <p:nvPr/>
            </p:nvSpPr>
            <p:spPr>
              <a:xfrm>
                <a:off x="6573332" y="5230121"/>
                <a:ext cx="577788" cy="378565"/>
              </a:xfrm>
              <a:prstGeom prst="rect">
                <a:avLst/>
              </a:prstGeom>
              <a:solidFill>
                <a:schemeClr val="accent1"/>
              </a:solidFill>
              <a:ln>
                <a:noFill/>
              </a:ln>
            </p:spPr>
            <p:txBody>
              <a:bodyPr wrap="square" lIns="182880" tIns="146304" rIns="182880" bIns="146304" rtlCol="0">
                <a:spAutoFit/>
              </a:bodyPr>
              <a:lstStyle/>
              <a:p>
                <a:pPr marL="0" marR="0" lvl="0" indent="0" algn="ctr" defTabSz="932742" eaLnBrk="1" fontAlgn="auto" latinLnBrk="0" hangingPunct="1">
                  <a:lnSpc>
                    <a:spcPct val="90000"/>
                  </a:lnSpc>
                  <a:spcBef>
                    <a:spcPts val="0"/>
                  </a:spcBef>
                  <a:spcAft>
                    <a:spcPts val="600"/>
                  </a:spcAft>
                  <a:buClrTx/>
                  <a:buSzTx/>
                  <a:buFontTx/>
                  <a:buNone/>
                  <a:tabLst/>
                  <a:defRPr/>
                </a:pPr>
                <a:endParaRPr kumimoji="0" lang="en-US" sz="600" b="0" i="0" u="none" strike="noStrike" kern="0" cap="none" spc="0" normalizeH="0" baseline="0" noProof="0" dirty="0">
                  <a:ln>
                    <a:noFill/>
                  </a:ln>
                  <a:solidFill>
                    <a:srgbClr val="505050"/>
                  </a:solidFill>
                  <a:effectLst/>
                  <a:uLnTx/>
                  <a:uFillTx/>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257" name="TextBox 256"/>
              <p:cNvSpPr txBox="1"/>
              <p:nvPr/>
            </p:nvSpPr>
            <p:spPr>
              <a:xfrm>
                <a:off x="7189714" y="5230121"/>
                <a:ext cx="577788" cy="378565"/>
              </a:xfrm>
              <a:prstGeom prst="rect">
                <a:avLst/>
              </a:prstGeom>
              <a:solidFill>
                <a:schemeClr val="accent1"/>
              </a:solidFill>
              <a:ln>
                <a:noFill/>
              </a:ln>
            </p:spPr>
            <p:txBody>
              <a:bodyPr wrap="square" lIns="182880" tIns="146304" rIns="182880" bIns="146304" rtlCol="0">
                <a:spAutoFit/>
              </a:bodyPr>
              <a:lstStyle/>
              <a:p>
                <a:pPr marL="0" marR="0" lvl="0" indent="0" algn="ctr" defTabSz="932742" eaLnBrk="1" fontAlgn="auto" latinLnBrk="0" hangingPunct="1">
                  <a:lnSpc>
                    <a:spcPct val="90000"/>
                  </a:lnSpc>
                  <a:spcBef>
                    <a:spcPts val="0"/>
                  </a:spcBef>
                  <a:spcAft>
                    <a:spcPts val="600"/>
                  </a:spcAft>
                  <a:buClrTx/>
                  <a:buSzTx/>
                  <a:buFontTx/>
                  <a:buNone/>
                  <a:tabLst/>
                  <a:defRPr/>
                </a:pPr>
                <a:endParaRPr kumimoji="0" lang="en-US" sz="600" b="0" i="0" u="none" strike="noStrike" kern="0" cap="none" spc="0" normalizeH="0" baseline="0" noProof="0" dirty="0">
                  <a:ln>
                    <a:noFill/>
                  </a:ln>
                  <a:solidFill>
                    <a:srgbClr val="505050"/>
                  </a:solidFill>
                  <a:effectLst/>
                  <a:uLnTx/>
                  <a:uFillTx/>
                  <a:latin typeface="Cambria" panose="02040503050406030204" pitchFamily="18" charset="0"/>
                  <a:ea typeface="Arial Unicode MS" panose="020B0604020202020204" pitchFamily="34" charset="-128"/>
                  <a:cs typeface="Arial Unicode MS" panose="020B0604020202020204" pitchFamily="34" charset="-128"/>
                </a:endParaRPr>
              </a:p>
            </p:txBody>
          </p:sp>
          <p:cxnSp>
            <p:nvCxnSpPr>
              <p:cNvPr id="258" name="Straight Connector 257"/>
              <p:cNvCxnSpPr/>
              <p:nvPr/>
            </p:nvCxnSpPr>
            <p:spPr>
              <a:xfrm>
                <a:off x="4992236" y="4917731"/>
                <a:ext cx="2518252" cy="0"/>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p:nvCxnSpPr>
            <p:spPr>
              <a:xfrm>
                <a:off x="5014649" y="4917731"/>
                <a:ext cx="2" cy="276106"/>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0" name="Straight Connector 259"/>
              <p:cNvCxnSpPr/>
              <p:nvPr/>
            </p:nvCxnSpPr>
            <p:spPr>
              <a:xfrm>
                <a:off x="5615864" y="4917731"/>
                <a:ext cx="2" cy="276106"/>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p:nvCxnSpPr>
            <p:spPr>
              <a:xfrm>
                <a:off x="6281187" y="4917731"/>
                <a:ext cx="2" cy="276106"/>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Straight Connector 261"/>
              <p:cNvCxnSpPr/>
              <p:nvPr/>
            </p:nvCxnSpPr>
            <p:spPr>
              <a:xfrm>
                <a:off x="7492655" y="4917731"/>
                <a:ext cx="2" cy="276106"/>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3" name="Straight Connector 262"/>
              <p:cNvCxnSpPr/>
              <p:nvPr/>
            </p:nvCxnSpPr>
            <p:spPr>
              <a:xfrm>
                <a:off x="6862359" y="4917731"/>
                <a:ext cx="2" cy="276106"/>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4" name="Straight Connector 263"/>
              <p:cNvCxnSpPr/>
              <p:nvPr/>
            </p:nvCxnSpPr>
            <p:spPr>
              <a:xfrm>
                <a:off x="6281187" y="4701643"/>
                <a:ext cx="2" cy="276106"/>
              </a:xfrm>
              <a:prstGeom prst="line">
                <a:avLst/>
              </a:prstGeom>
              <a:grpFill/>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51" name="TextBox 250"/>
            <p:cNvSpPr txBox="1"/>
            <p:nvPr/>
          </p:nvSpPr>
          <p:spPr>
            <a:xfrm>
              <a:off x="4882806" y="3706505"/>
              <a:ext cx="2635549" cy="490560"/>
            </a:xfrm>
            <a:prstGeom prst="rect">
              <a:avLst/>
            </a:prstGeom>
            <a:noFill/>
          </p:spPr>
          <p:txBody>
            <a:bodyPr wrap="square" lIns="0" tIns="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accent1"/>
                  </a:solidFill>
                  <a:effectLst/>
                  <a:uLnTx/>
                  <a:uFillTx/>
                </a:rPr>
                <a:t>ADL Store</a:t>
              </a:r>
            </a:p>
          </p:txBody>
        </p:sp>
      </p:grpSp>
      <p:cxnSp>
        <p:nvCxnSpPr>
          <p:cNvPr id="267" name="Elbow Connector 266"/>
          <p:cNvCxnSpPr/>
          <p:nvPr/>
        </p:nvCxnSpPr>
        <p:spPr>
          <a:xfrm>
            <a:off x="4296926" y="2103635"/>
            <a:ext cx="10687" cy="2433361"/>
          </a:xfrm>
          <a:prstGeom prst="bentConnector3">
            <a:avLst>
              <a:gd name="adj1" fmla="val 1800000"/>
            </a:avLst>
          </a:prstGeom>
          <a:ln w="9525">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8" name="Straight Arrow Connector 267"/>
          <p:cNvCxnSpPr/>
          <p:nvPr/>
        </p:nvCxnSpPr>
        <p:spPr>
          <a:xfrm>
            <a:off x="4480896" y="3320316"/>
            <a:ext cx="849127" cy="1"/>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272" name="Group 271"/>
          <p:cNvGrpSpPr/>
          <p:nvPr/>
        </p:nvGrpSpPr>
        <p:grpSpPr>
          <a:xfrm>
            <a:off x="6704067" y="2164172"/>
            <a:ext cx="487510" cy="487510"/>
            <a:chOff x="4068192" y="3363795"/>
            <a:chExt cx="324957" cy="324957"/>
          </a:xfrm>
        </p:grpSpPr>
        <p:sp>
          <p:nvSpPr>
            <p:cNvPr id="273" name="Rounded Rectangle 272"/>
            <p:cNvSpPr/>
            <p:nvPr/>
          </p:nvSpPr>
          <p:spPr bwMode="auto">
            <a:xfrm>
              <a:off x="4068192" y="3363795"/>
              <a:ext cx="324957" cy="32495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4" name="Rectangle 273"/>
            <p:cNvSpPr/>
            <p:nvPr/>
          </p:nvSpPr>
          <p:spPr bwMode="auto">
            <a:xfrm>
              <a:off x="4106551" y="3401141"/>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5" name="Rectangle 274"/>
            <p:cNvSpPr/>
            <p:nvPr/>
          </p:nvSpPr>
          <p:spPr bwMode="auto">
            <a:xfrm>
              <a:off x="4245904" y="3401141"/>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6" name="Oval 275"/>
            <p:cNvSpPr/>
            <p:nvPr/>
          </p:nvSpPr>
          <p:spPr bwMode="auto">
            <a:xfrm>
              <a:off x="4174625" y="3401529"/>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7" name="Oval 276"/>
            <p:cNvSpPr/>
            <p:nvPr/>
          </p:nvSpPr>
          <p:spPr bwMode="auto">
            <a:xfrm>
              <a:off x="4313978" y="3401529"/>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8" name="Rectangle 277"/>
            <p:cNvSpPr/>
            <p:nvPr/>
          </p:nvSpPr>
          <p:spPr bwMode="auto">
            <a:xfrm>
              <a:off x="4106551" y="3550317"/>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9" name="Rectangle 278"/>
            <p:cNvSpPr/>
            <p:nvPr/>
          </p:nvSpPr>
          <p:spPr bwMode="auto">
            <a:xfrm>
              <a:off x="4245904" y="3550317"/>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0" name="Oval 279"/>
            <p:cNvSpPr/>
            <p:nvPr/>
          </p:nvSpPr>
          <p:spPr bwMode="auto">
            <a:xfrm>
              <a:off x="4174625" y="3550705"/>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1" name="Oval 280"/>
            <p:cNvSpPr/>
            <p:nvPr/>
          </p:nvSpPr>
          <p:spPr bwMode="auto">
            <a:xfrm>
              <a:off x="4313978" y="3550705"/>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2" name="Rectangle 281"/>
            <p:cNvSpPr/>
            <p:nvPr/>
          </p:nvSpPr>
          <p:spPr bwMode="auto">
            <a:xfrm>
              <a:off x="4178218" y="3621636"/>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3" name="Rectangle 282"/>
            <p:cNvSpPr/>
            <p:nvPr/>
          </p:nvSpPr>
          <p:spPr bwMode="auto">
            <a:xfrm>
              <a:off x="4317571" y="3621636"/>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4" name="Oval 283"/>
            <p:cNvSpPr/>
            <p:nvPr/>
          </p:nvSpPr>
          <p:spPr bwMode="auto">
            <a:xfrm>
              <a:off x="4106939" y="3622024"/>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5" name="Oval 284"/>
            <p:cNvSpPr/>
            <p:nvPr/>
          </p:nvSpPr>
          <p:spPr bwMode="auto">
            <a:xfrm>
              <a:off x="4246293" y="3622024"/>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6" name="Rectangle 285"/>
            <p:cNvSpPr/>
            <p:nvPr/>
          </p:nvSpPr>
          <p:spPr bwMode="auto">
            <a:xfrm>
              <a:off x="4178218" y="3465945"/>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7" name="Rectangle 286"/>
            <p:cNvSpPr/>
            <p:nvPr/>
          </p:nvSpPr>
          <p:spPr bwMode="auto">
            <a:xfrm>
              <a:off x="4317571" y="3465945"/>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8" name="Oval 287"/>
            <p:cNvSpPr/>
            <p:nvPr/>
          </p:nvSpPr>
          <p:spPr bwMode="auto">
            <a:xfrm>
              <a:off x="4106939" y="3466334"/>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9" name="Oval 288"/>
            <p:cNvSpPr/>
            <p:nvPr/>
          </p:nvSpPr>
          <p:spPr bwMode="auto">
            <a:xfrm>
              <a:off x="4246293" y="3466334"/>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30" name="Group 129"/>
          <p:cNvGrpSpPr/>
          <p:nvPr/>
        </p:nvGrpSpPr>
        <p:grpSpPr>
          <a:xfrm>
            <a:off x="-9657" y="1649551"/>
            <a:ext cx="1801197" cy="3858349"/>
            <a:chOff x="2269406" y="1649551"/>
            <a:chExt cx="1801197" cy="3858349"/>
          </a:xfrm>
        </p:grpSpPr>
        <p:sp>
          <p:nvSpPr>
            <p:cNvPr id="157" name="Rectangle 156"/>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marL="0" marR="0" lvl="0" indent="0" algn="ctr" defTabSz="739440" eaLnBrk="1" fontAlgn="auto" latinLnBrk="0" hangingPunct="1">
                <a:lnSpc>
                  <a:spcPct val="100000"/>
                </a:lnSpc>
                <a:spcBef>
                  <a:spcPct val="0"/>
                </a:spcBef>
                <a:spcAft>
                  <a:spcPct val="35000"/>
                </a:spcAft>
                <a:buClrTx/>
                <a:buSzTx/>
                <a:buFontTx/>
                <a:buNone/>
                <a:tabLst/>
                <a:defRPr/>
              </a:pPr>
              <a:r>
                <a:rPr kumimoji="0" lang="en-US" sz="1428"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Big Data Stores</a:t>
              </a:r>
            </a:p>
          </p:txBody>
        </p:sp>
        <p:sp>
          <p:nvSpPr>
            <p:cNvPr id="132" name="Rectangle 131"/>
            <p:cNvSpPr/>
            <p:nvPr/>
          </p:nvSpPr>
          <p:spPr>
            <a:xfrm>
              <a:off x="2774284" y="3274196"/>
              <a:ext cx="1296319" cy="4463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SQL Data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Warehouse</a:t>
              </a:r>
            </a:p>
          </p:txBody>
        </p:sp>
        <p:sp>
          <p:nvSpPr>
            <p:cNvPr id="133" name="Rectangle 132"/>
            <p:cNvSpPr/>
            <p:nvPr/>
          </p:nvSpPr>
          <p:spPr>
            <a:xfrm>
              <a:off x="2754567" y="2530491"/>
              <a:ext cx="1296319" cy="27028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effectLst/>
                  <a:uLnTx/>
                  <a:uFillTx/>
                  <a:cs typeface="Segoe UI Semilight" panose="020B0402040204020203" pitchFamily="34" charset="0"/>
                </a:rPr>
                <a:t>Data Lake Store</a:t>
              </a:r>
            </a:p>
          </p:txBody>
        </p:sp>
        <p:grpSp>
          <p:nvGrpSpPr>
            <p:cNvPr id="134" name="Group 133"/>
            <p:cNvGrpSpPr/>
            <p:nvPr/>
          </p:nvGrpSpPr>
          <p:grpSpPr>
            <a:xfrm>
              <a:off x="2439892" y="2526826"/>
              <a:ext cx="256193" cy="256192"/>
              <a:chOff x="4061057" y="3607548"/>
              <a:chExt cx="324957" cy="324957"/>
            </a:xfrm>
          </p:grpSpPr>
          <p:sp>
            <p:nvSpPr>
              <p:cNvPr id="138" name="Rounded Rectangle 137"/>
              <p:cNvSpPr/>
              <p:nvPr/>
            </p:nvSpPr>
            <p:spPr bwMode="auto">
              <a:xfrm>
                <a:off x="4061057" y="3607548"/>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9" name="Rectangle 138"/>
              <p:cNvSpPr/>
              <p:nvPr/>
            </p:nvSpPr>
            <p:spPr bwMode="auto">
              <a:xfrm>
                <a:off x="4098073" y="3645565"/>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0" name="Rectangle 139"/>
              <p:cNvSpPr/>
              <p:nvPr/>
            </p:nvSpPr>
            <p:spPr bwMode="auto">
              <a:xfrm>
                <a:off x="4237426" y="3645565"/>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1" name="Oval 140"/>
              <p:cNvSpPr/>
              <p:nvPr/>
            </p:nvSpPr>
            <p:spPr bwMode="auto">
              <a:xfrm>
                <a:off x="4166147" y="3645952"/>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2" name="Oval 141"/>
              <p:cNvSpPr/>
              <p:nvPr/>
            </p:nvSpPr>
            <p:spPr bwMode="auto">
              <a:xfrm>
                <a:off x="4305501" y="3645952"/>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3" name="Rectangle 142"/>
              <p:cNvSpPr/>
              <p:nvPr/>
            </p:nvSpPr>
            <p:spPr bwMode="auto">
              <a:xfrm>
                <a:off x="4098073" y="3794740"/>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4" name="Rectangle 143"/>
              <p:cNvSpPr/>
              <p:nvPr/>
            </p:nvSpPr>
            <p:spPr bwMode="auto">
              <a:xfrm>
                <a:off x="4237426" y="3794740"/>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5" name="Oval 144"/>
              <p:cNvSpPr/>
              <p:nvPr/>
            </p:nvSpPr>
            <p:spPr bwMode="auto">
              <a:xfrm>
                <a:off x="4166147" y="3795128"/>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6" name="Oval 145"/>
              <p:cNvSpPr/>
              <p:nvPr/>
            </p:nvSpPr>
            <p:spPr bwMode="auto">
              <a:xfrm>
                <a:off x="4305501" y="3795128"/>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7" name="Rectangle 146"/>
              <p:cNvSpPr/>
              <p:nvPr/>
            </p:nvSpPr>
            <p:spPr bwMode="auto">
              <a:xfrm>
                <a:off x="4169740" y="3866061"/>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8" name="Rectangle 147"/>
              <p:cNvSpPr/>
              <p:nvPr/>
            </p:nvSpPr>
            <p:spPr bwMode="auto">
              <a:xfrm>
                <a:off x="4309093" y="3866061"/>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9" name="Oval 148"/>
              <p:cNvSpPr/>
              <p:nvPr/>
            </p:nvSpPr>
            <p:spPr bwMode="auto">
              <a:xfrm>
                <a:off x="4098461" y="3866446"/>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0" name="Oval 149"/>
              <p:cNvSpPr/>
              <p:nvPr/>
            </p:nvSpPr>
            <p:spPr bwMode="auto">
              <a:xfrm>
                <a:off x="4237815" y="3866447"/>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1" name="Rectangle 150"/>
              <p:cNvSpPr/>
              <p:nvPr/>
            </p:nvSpPr>
            <p:spPr bwMode="auto">
              <a:xfrm>
                <a:off x="4169740" y="3710368"/>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2" name="Rectangle 151"/>
              <p:cNvSpPr/>
              <p:nvPr/>
            </p:nvSpPr>
            <p:spPr bwMode="auto">
              <a:xfrm>
                <a:off x="4309093" y="3710368"/>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3" name="Oval 152"/>
              <p:cNvSpPr/>
              <p:nvPr/>
            </p:nvSpPr>
            <p:spPr bwMode="auto">
              <a:xfrm>
                <a:off x="4098461" y="3710759"/>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4" name="Oval 153"/>
              <p:cNvSpPr/>
              <p:nvPr/>
            </p:nvSpPr>
            <p:spPr bwMode="auto">
              <a:xfrm>
                <a:off x="4237815" y="3710759"/>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35" name="Group 134"/>
            <p:cNvGrpSpPr/>
            <p:nvPr/>
          </p:nvGrpSpPr>
          <p:grpSpPr>
            <a:xfrm>
              <a:off x="2446176" y="3338874"/>
              <a:ext cx="253198" cy="310108"/>
              <a:chOff x="-3084513" y="5566963"/>
              <a:chExt cx="2716213" cy="3363913"/>
            </a:xfrm>
            <a:solidFill>
              <a:schemeClr val="tx1"/>
            </a:solidFill>
          </p:grpSpPr>
          <p:sp>
            <p:nvSpPr>
              <p:cNvPr id="136" name="Freeform 40"/>
              <p:cNvSpPr>
                <a:spLocks noEditPoints="1"/>
              </p:cNvSpPr>
              <p:nvPr/>
            </p:nvSpPr>
            <p:spPr bwMode="auto">
              <a:xfrm>
                <a:off x="-3084513" y="5566963"/>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37" name="Freeform 41"/>
              <p:cNvSpPr>
                <a:spLocks/>
              </p:cNvSpPr>
              <p:nvPr/>
            </p:nvSpPr>
            <p:spPr bwMode="auto">
              <a:xfrm>
                <a:off x="-1887535" y="7092552"/>
                <a:ext cx="373064" cy="511180"/>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grpSp>
      <p:cxnSp>
        <p:nvCxnSpPr>
          <p:cNvPr id="189" name="Straight Arrow Connector 188"/>
          <p:cNvCxnSpPr/>
          <p:nvPr/>
        </p:nvCxnSpPr>
        <p:spPr>
          <a:xfrm>
            <a:off x="8321334" y="3320316"/>
            <a:ext cx="731520" cy="1"/>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91" name="Freeform 190"/>
          <p:cNvSpPr/>
          <p:nvPr/>
        </p:nvSpPr>
        <p:spPr bwMode="auto">
          <a:xfrm flipH="1">
            <a:off x="11857000" y="4400141"/>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124310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40" name="Rectangle 139"/>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defTabSz="914400">
              <a:spcBef>
                <a:spcPts val="0"/>
              </a:spcBef>
              <a:spcAft>
                <a:spcPts val="600"/>
              </a:spcAft>
              <a:defRPr/>
            </a:pPr>
            <a:r>
              <a:rPr lang="en-US" dirty="0"/>
              <a:t>Elastic data warehouse as a service with enterprise-class features</a:t>
            </a:r>
            <a:br>
              <a:rPr lang="en-US" dirty="0"/>
            </a:br>
            <a:endParaRPr lang="en-US" kern="0" spc="0" dirty="0">
              <a:ln>
                <a:noFill/>
              </a:ln>
              <a:solidFill>
                <a:schemeClr val="bg1"/>
              </a:solidFill>
            </a:endParaRPr>
          </a:p>
        </p:txBody>
      </p:sp>
      <p:grpSp>
        <p:nvGrpSpPr>
          <p:cNvPr id="3" name="Group 2"/>
          <p:cNvGrpSpPr/>
          <p:nvPr/>
        </p:nvGrpSpPr>
        <p:grpSpPr>
          <a:xfrm>
            <a:off x="2224968" y="5260441"/>
            <a:ext cx="9649501" cy="947952"/>
            <a:chOff x="2214694" y="5581573"/>
            <a:chExt cx="9649501" cy="947952"/>
          </a:xfrm>
        </p:grpSpPr>
        <p:sp>
          <p:nvSpPr>
            <p:cNvPr id="6" name="TextBox 5"/>
            <p:cNvSpPr txBox="1"/>
            <p:nvPr/>
          </p:nvSpPr>
          <p:spPr>
            <a:xfrm>
              <a:off x="2214694" y="5581573"/>
              <a:ext cx="5114992" cy="947952"/>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Petabyte scale with massively parallel processing</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Independent scaling of compute and storage—in seconds</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Transact-SQL queries across relational and non-relational data</a:t>
              </a:r>
            </a:p>
          </p:txBody>
        </p:sp>
        <p:sp>
          <p:nvSpPr>
            <p:cNvPr id="7" name="TextBox 6"/>
            <p:cNvSpPr txBox="1"/>
            <p:nvPr/>
          </p:nvSpPr>
          <p:spPr>
            <a:xfrm>
              <a:off x="7151925" y="5590585"/>
              <a:ext cx="4712270" cy="871008"/>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Full enterprise-class SQL Server experience</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Works seamlessly with Power BI, Machine Learning, HDInsight, and Data Factory</a:t>
              </a:r>
            </a:p>
          </p:txBody>
        </p:sp>
      </p:grpSp>
      <p:grpSp>
        <p:nvGrpSpPr>
          <p:cNvPr id="52" name="Group 51"/>
          <p:cNvGrpSpPr/>
          <p:nvPr/>
        </p:nvGrpSpPr>
        <p:grpSpPr>
          <a:xfrm>
            <a:off x="2104571" y="2668680"/>
            <a:ext cx="2046514" cy="1268320"/>
            <a:chOff x="2104571" y="2668680"/>
            <a:chExt cx="2046514" cy="1268320"/>
          </a:xfrm>
          <a:solidFill>
            <a:schemeClr val="accent1"/>
          </a:solidFill>
        </p:grpSpPr>
        <p:pic>
          <p:nvPicPr>
            <p:cNvPr id="53" name="Picture 52"/>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184400" y="2755900"/>
              <a:ext cx="1870075" cy="1030814"/>
            </a:xfrm>
            <a:prstGeom prst="rect">
              <a:avLst/>
            </a:prstGeom>
            <a:grpFill/>
            <a:ln>
              <a:solidFill>
                <a:schemeClr val="accent1"/>
              </a:solidFill>
            </a:ln>
          </p:spPr>
        </p:pic>
        <p:grpSp>
          <p:nvGrpSpPr>
            <p:cNvPr id="54" name="Group 53"/>
            <p:cNvGrpSpPr/>
            <p:nvPr/>
          </p:nvGrpSpPr>
          <p:grpSpPr>
            <a:xfrm>
              <a:off x="2104571" y="2668680"/>
              <a:ext cx="2046514" cy="1268320"/>
              <a:chOff x="2104571" y="2668680"/>
              <a:chExt cx="2046514" cy="1268320"/>
            </a:xfrm>
            <a:grpFill/>
          </p:grpSpPr>
          <p:sp>
            <p:nvSpPr>
              <p:cNvPr id="55" name="Freeform 54"/>
              <p:cNvSpPr/>
              <p:nvPr/>
            </p:nvSpPr>
            <p:spPr bwMode="auto">
              <a:xfrm>
                <a:off x="2104571" y="2668680"/>
                <a:ext cx="2046514" cy="1268320"/>
              </a:xfrm>
              <a:custGeom>
                <a:avLst/>
                <a:gdLst>
                  <a:gd name="connsiteX0" fmla="*/ 88225 w 2046514"/>
                  <a:gd name="connsiteY0" fmla="*/ 27078 h 1140006"/>
                  <a:gd name="connsiteX1" fmla="*/ 31240 w 2046514"/>
                  <a:gd name="connsiteY1" fmla="*/ 84063 h 1140006"/>
                  <a:gd name="connsiteX2" fmla="*/ 31240 w 2046514"/>
                  <a:gd name="connsiteY2" fmla="*/ 1055943 h 1140006"/>
                  <a:gd name="connsiteX3" fmla="*/ 88225 w 2046514"/>
                  <a:gd name="connsiteY3" fmla="*/ 1112928 h 1140006"/>
                  <a:gd name="connsiteX4" fmla="*/ 1958290 w 2046514"/>
                  <a:gd name="connsiteY4" fmla="*/ 1112928 h 1140006"/>
                  <a:gd name="connsiteX5" fmla="*/ 2015275 w 2046514"/>
                  <a:gd name="connsiteY5" fmla="*/ 1055943 h 1140006"/>
                  <a:gd name="connsiteX6" fmla="*/ 2015275 w 2046514"/>
                  <a:gd name="connsiteY6" fmla="*/ 84063 h 1140006"/>
                  <a:gd name="connsiteX7" fmla="*/ 1958290 w 2046514"/>
                  <a:gd name="connsiteY7" fmla="*/ 27078 h 1140006"/>
                  <a:gd name="connsiteX8" fmla="*/ 59828 w 2046514"/>
                  <a:gd name="connsiteY8" fmla="*/ 0 h 1140006"/>
                  <a:gd name="connsiteX9" fmla="*/ 1986686 w 2046514"/>
                  <a:gd name="connsiteY9" fmla="*/ 0 h 1140006"/>
                  <a:gd name="connsiteX10" fmla="*/ 2046514 w 2046514"/>
                  <a:gd name="connsiteY10" fmla="*/ 59828 h 1140006"/>
                  <a:gd name="connsiteX11" fmla="*/ 2046514 w 2046514"/>
                  <a:gd name="connsiteY11" fmla="*/ 1080178 h 1140006"/>
                  <a:gd name="connsiteX12" fmla="*/ 1986686 w 2046514"/>
                  <a:gd name="connsiteY12" fmla="*/ 1140006 h 1140006"/>
                  <a:gd name="connsiteX13" fmla="*/ 59828 w 2046514"/>
                  <a:gd name="connsiteY13" fmla="*/ 1140006 h 1140006"/>
                  <a:gd name="connsiteX14" fmla="*/ 0 w 2046514"/>
                  <a:gd name="connsiteY14" fmla="*/ 1080178 h 1140006"/>
                  <a:gd name="connsiteX15" fmla="*/ 0 w 2046514"/>
                  <a:gd name="connsiteY15" fmla="*/ 59828 h 1140006"/>
                  <a:gd name="connsiteX16" fmla="*/ 59828 w 2046514"/>
                  <a:gd name="connsiteY16" fmla="*/ 0 h 114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46514" h="1140006">
                    <a:moveTo>
                      <a:pt x="88225" y="27078"/>
                    </a:moveTo>
                    <a:cubicBezTo>
                      <a:pt x="56753" y="27078"/>
                      <a:pt x="31240" y="52591"/>
                      <a:pt x="31240" y="84063"/>
                    </a:cubicBezTo>
                    <a:lnTo>
                      <a:pt x="31240" y="1055943"/>
                    </a:lnTo>
                    <a:cubicBezTo>
                      <a:pt x="31240" y="1087415"/>
                      <a:pt x="56753" y="1112928"/>
                      <a:pt x="88225" y="1112928"/>
                    </a:cubicBezTo>
                    <a:lnTo>
                      <a:pt x="1958290" y="1112928"/>
                    </a:lnTo>
                    <a:cubicBezTo>
                      <a:pt x="1989762" y="1112928"/>
                      <a:pt x="2015275" y="1087415"/>
                      <a:pt x="2015275" y="1055943"/>
                    </a:cubicBezTo>
                    <a:lnTo>
                      <a:pt x="2015275" y="84063"/>
                    </a:lnTo>
                    <a:cubicBezTo>
                      <a:pt x="2015275" y="52591"/>
                      <a:pt x="1989762" y="27078"/>
                      <a:pt x="1958290" y="27078"/>
                    </a:cubicBezTo>
                    <a:close/>
                    <a:moveTo>
                      <a:pt x="59828" y="0"/>
                    </a:moveTo>
                    <a:lnTo>
                      <a:pt x="1986686" y="0"/>
                    </a:lnTo>
                    <a:cubicBezTo>
                      <a:pt x="2019728" y="0"/>
                      <a:pt x="2046514" y="26786"/>
                      <a:pt x="2046514" y="59828"/>
                    </a:cubicBezTo>
                    <a:lnTo>
                      <a:pt x="2046514" y="1080178"/>
                    </a:lnTo>
                    <a:cubicBezTo>
                      <a:pt x="2046514" y="1113220"/>
                      <a:pt x="2019728" y="1140006"/>
                      <a:pt x="1986686" y="1140006"/>
                    </a:cubicBezTo>
                    <a:lnTo>
                      <a:pt x="59828" y="1140006"/>
                    </a:lnTo>
                    <a:cubicBezTo>
                      <a:pt x="26786" y="1140006"/>
                      <a:pt x="0" y="1113220"/>
                      <a:pt x="0" y="1080178"/>
                    </a:cubicBezTo>
                    <a:lnTo>
                      <a:pt x="0" y="59828"/>
                    </a:lnTo>
                    <a:cubicBezTo>
                      <a:pt x="0" y="26786"/>
                      <a:pt x="26786" y="0"/>
                      <a:pt x="59828" y="0"/>
                    </a:cubicBezTo>
                    <a:close/>
                  </a:path>
                </a:pathLst>
              </a:custGeom>
              <a:grp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56" name="Freeform 55"/>
              <p:cNvSpPr/>
              <p:nvPr/>
            </p:nvSpPr>
            <p:spPr bwMode="auto">
              <a:xfrm>
                <a:off x="2176463" y="2733675"/>
                <a:ext cx="1900237" cy="1060450"/>
              </a:xfrm>
              <a:custGeom>
                <a:avLst/>
                <a:gdLst>
                  <a:gd name="connsiteX0" fmla="*/ 33337 w 1900237"/>
                  <a:gd name="connsiteY0" fmla="*/ 26193 h 926306"/>
                  <a:gd name="connsiteX1" fmla="*/ 33337 w 1900237"/>
                  <a:gd name="connsiteY1" fmla="*/ 900113 h 926306"/>
                  <a:gd name="connsiteX2" fmla="*/ 1866901 w 1900237"/>
                  <a:gd name="connsiteY2" fmla="*/ 900113 h 926306"/>
                  <a:gd name="connsiteX3" fmla="*/ 1866901 w 1900237"/>
                  <a:gd name="connsiteY3" fmla="*/ 26193 h 926306"/>
                  <a:gd name="connsiteX4" fmla="*/ 0 w 1900237"/>
                  <a:gd name="connsiteY4" fmla="*/ 0 h 926306"/>
                  <a:gd name="connsiteX5" fmla="*/ 1900237 w 1900237"/>
                  <a:gd name="connsiteY5" fmla="*/ 0 h 926306"/>
                  <a:gd name="connsiteX6" fmla="*/ 1900237 w 1900237"/>
                  <a:gd name="connsiteY6" fmla="*/ 926306 h 926306"/>
                  <a:gd name="connsiteX7" fmla="*/ 0 w 1900237"/>
                  <a:gd name="connsiteY7" fmla="*/ 926306 h 926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0237" h="926306">
                    <a:moveTo>
                      <a:pt x="33337" y="26193"/>
                    </a:moveTo>
                    <a:lnTo>
                      <a:pt x="33337" y="900113"/>
                    </a:lnTo>
                    <a:lnTo>
                      <a:pt x="1866901" y="900113"/>
                    </a:lnTo>
                    <a:lnTo>
                      <a:pt x="1866901" y="26193"/>
                    </a:lnTo>
                    <a:close/>
                    <a:moveTo>
                      <a:pt x="0" y="0"/>
                    </a:moveTo>
                    <a:lnTo>
                      <a:pt x="1900237" y="0"/>
                    </a:lnTo>
                    <a:lnTo>
                      <a:pt x="1900237" y="926306"/>
                    </a:lnTo>
                    <a:lnTo>
                      <a:pt x="0" y="926306"/>
                    </a:lnTo>
                    <a:close/>
                  </a:path>
                </a:pathLst>
              </a:custGeom>
              <a:grp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57" name="Oval 56"/>
              <p:cNvSpPr/>
              <p:nvPr/>
            </p:nvSpPr>
            <p:spPr bwMode="auto">
              <a:xfrm>
                <a:off x="3088594" y="3809537"/>
                <a:ext cx="78470" cy="78468"/>
              </a:xfrm>
              <a:prstGeom prst="ellipse">
                <a:avLst/>
              </a:prstGeom>
              <a:grp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grpSp>
      </p:grpSp>
      <p:grpSp>
        <p:nvGrpSpPr>
          <p:cNvPr id="58" name="Group 57"/>
          <p:cNvGrpSpPr/>
          <p:nvPr/>
        </p:nvGrpSpPr>
        <p:grpSpPr>
          <a:xfrm>
            <a:off x="5296931" y="2744880"/>
            <a:ext cx="1565276" cy="1147853"/>
            <a:chOff x="4921249" y="2668680"/>
            <a:chExt cx="1565276" cy="1147853"/>
          </a:xfrm>
          <a:solidFill>
            <a:schemeClr val="accent1"/>
          </a:solidFill>
        </p:grpSpPr>
        <p:sp>
          <p:nvSpPr>
            <p:cNvPr id="59" name="Freeform 58"/>
            <p:cNvSpPr>
              <a:spLocks/>
            </p:cNvSpPr>
            <p:nvPr/>
          </p:nvSpPr>
          <p:spPr bwMode="auto">
            <a:xfrm>
              <a:off x="5257530" y="2981926"/>
              <a:ext cx="900424" cy="538914"/>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0" name="Freeform 59"/>
            <p:cNvSpPr/>
            <p:nvPr/>
          </p:nvSpPr>
          <p:spPr bwMode="auto">
            <a:xfrm>
              <a:off x="4921249" y="2668680"/>
              <a:ext cx="774701" cy="570003"/>
            </a:xfrm>
            <a:custGeom>
              <a:avLst/>
              <a:gdLst>
                <a:gd name="connsiteX0" fmla="*/ 95002 w 774701"/>
                <a:gd name="connsiteY0" fmla="*/ 0 h 570003"/>
                <a:gd name="connsiteX1" fmla="*/ 679699 w 774701"/>
                <a:gd name="connsiteY1" fmla="*/ 0 h 570003"/>
                <a:gd name="connsiteX2" fmla="*/ 774701 w 774701"/>
                <a:gd name="connsiteY2" fmla="*/ 95002 h 570003"/>
                <a:gd name="connsiteX3" fmla="*/ 774701 w 774701"/>
                <a:gd name="connsiteY3" fmla="*/ 281548 h 570003"/>
                <a:gd name="connsiteX4" fmla="*/ 762719 w 774701"/>
                <a:gd name="connsiteY4" fmla="*/ 283662 h 570003"/>
                <a:gd name="connsiteX5" fmla="*/ 762719 w 774701"/>
                <a:gd name="connsiteY5" fmla="*/ 105707 h 570003"/>
                <a:gd name="connsiteX6" fmla="*/ 673069 w 774701"/>
                <a:gd name="connsiteY6" fmla="*/ 16057 h 570003"/>
                <a:gd name="connsiteX7" fmla="*/ 101631 w 774701"/>
                <a:gd name="connsiteY7" fmla="*/ 16057 h 570003"/>
                <a:gd name="connsiteX8" fmla="*/ 11981 w 774701"/>
                <a:gd name="connsiteY8" fmla="*/ 105707 h 570003"/>
                <a:gd name="connsiteX9" fmla="*/ 11981 w 774701"/>
                <a:gd name="connsiteY9" fmla="*/ 464295 h 570003"/>
                <a:gd name="connsiteX10" fmla="*/ 101631 w 774701"/>
                <a:gd name="connsiteY10" fmla="*/ 553945 h 570003"/>
                <a:gd name="connsiteX11" fmla="*/ 367763 w 774701"/>
                <a:gd name="connsiteY11" fmla="*/ 553945 h 570003"/>
                <a:gd name="connsiteX12" fmla="*/ 349312 w 774701"/>
                <a:gd name="connsiteY12" fmla="*/ 566385 h 570003"/>
                <a:gd name="connsiteX13" fmla="*/ 346873 w 774701"/>
                <a:gd name="connsiteY13" fmla="*/ 570003 h 570003"/>
                <a:gd name="connsiteX14" fmla="*/ 95002 w 774701"/>
                <a:gd name="connsiteY14" fmla="*/ 570003 h 570003"/>
                <a:gd name="connsiteX15" fmla="*/ 0 w 774701"/>
                <a:gd name="connsiteY15" fmla="*/ 475001 h 570003"/>
                <a:gd name="connsiteX16" fmla="*/ 0 w 774701"/>
                <a:gd name="connsiteY16" fmla="*/ 95002 h 570003"/>
                <a:gd name="connsiteX17" fmla="*/ 95002 w 774701"/>
                <a:gd name="connsiteY17" fmla="*/ 0 h 57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74701" h="570003">
                  <a:moveTo>
                    <a:pt x="95002" y="0"/>
                  </a:moveTo>
                  <a:lnTo>
                    <a:pt x="679699" y="0"/>
                  </a:lnTo>
                  <a:cubicBezTo>
                    <a:pt x="732167" y="0"/>
                    <a:pt x="774701" y="42534"/>
                    <a:pt x="774701" y="95002"/>
                  </a:cubicBezTo>
                  <a:lnTo>
                    <a:pt x="774701" y="281548"/>
                  </a:lnTo>
                  <a:lnTo>
                    <a:pt x="762719" y="283662"/>
                  </a:lnTo>
                  <a:lnTo>
                    <a:pt x="762719" y="105707"/>
                  </a:lnTo>
                  <a:cubicBezTo>
                    <a:pt x="762719" y="56195"/>
                    <a:pt x="722581" y="16057"/>
                    <a:pt x="673069" y="16057"/>
                  </a:cubicBezTo>
                  <a:lnTo>
                    <a:pt x="101631" y="16057"/>
                  </a:lnTo>
                  <a:cubicBezTo>
                    <a:pt x="52119" y="16057"/>
                    <a:pt x="11981" y="56195"/>
                    <a:pt x="11981" y="105707"/>
                  </a:cubicBezTo>
                  <a:lnTo>
                    <a:pt x="11981" y="464295"/>
                  </a:lnTo>
                  <a:cubicBezTo>
                    <a:pt x="11981" y="513807"/>
                    <a:pt x="52119" y="553945"/>
                    <a:pt x="101631" y="553945"/>
                  </a:cubicBezTo>
                  <a:lnTo>
                    <a:pt x="367763" y="553945"/>
                  </a:lnTo>
                  <a:lnTo>
                    <a:pt x="349312" y="566385"/>
                  </a:lnTo>
                  <a:lnTo>
                    <a:pt x="346873" y="570003"/>
                  </a:lnTo>
                  <a:lnTo>
                    <a:pt x="95002" y="570003"/>
                  </a:lnTo>
                  <a:cubicBezTo>
                    <a:pt x="42534" y="570003"/>
                    <a:pt x="0" y="527469"/>
                    <a:pt x="0" y="475001"/>
                  </a:cubicBezTo>
                  <a:lnTo>
                    <a:pt x="0" y="95002"/>
                  </a:lnTo>
                  <a:cubicBezTo>
                    <a:pt x="0" y="42534"/>
                    <a:pt x="42534" y="0"/>
                    <a:pt x="95002" y="0"/>
                  </a:cubicBez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61" name="Freeform 60"/>
            <p:cNvSpPr/>
            <p:nvPr/>
          </p:nvSpPr>
          <p:spPr bwMode="auto">
            <a:xfrm>
              <a:off x="4921249" y="3246530"/>
              <a:ext cx="774701" cy="570003"/>
            </a:xfrm>
            <a:custGeom>
              <a:avLst/>
              <a:gdLst>
                <a:gd name="connsiteX0" fmla="*/ 95002 w 774701"/>
                <a:gd name="connsiteY0" fmla="*/ 0 h 570003"/>
                <a:gd name="connsiteX1" fmla="*/ 341582 w 774701"/>
                <a:gd name="connsiteY1" fmla="*/ 0 h 570003"/>
                <a:gd name="connsiteX2" fmla="*/ 330756 w 774701"/>
                <a:gd name="connsiteY2" fmla="*/ 16057 h 570003"/>
                <a:gd name="connsiteX3" fmla="*/ 101631 w 774701"/>
                <a:gd name="connsiteY3" fmla="*/ 16057 h 570003"/>
                <a:gd name="connsiteX4" fmla="*/ 11981 w 774701"/>
                <a:gd name="connsiteY4" fmla="*/ 105707 h 570003"/>
                <a:gd name="connsiteX5" fmla="*/ 11981 w 774701"/>
                <a:gd name="connsiteY5" fmla="*/ 464295 h 570003"/>
                <a:gd name="connsiteX6" fmla="*/ 101631 w 774701"/>
                <a:gd name="connsiteY6" fmla="*/ 553945 h 570003"/>
                <a:gd name="connsiteX7" fmla="*/ 673069 w 774701"/>
                <a:gd name="connsiteY7" fmla="*/ 553945 h 570003"/>
                <a:gd name="connsiteX8" fmla="*/ 762719 w 774701"/>
                <a:gd name="connsiteY8" fmla="*/ 464295 h 570003"/>
                <a:gd name="connsiteX9" fmla="*/ 762719 w 774701"/>
                <a:gd name="connsiteY9" fmla="*/ 296770 h 570003"/>
                <a:gd name="connsiteX10" fmla="*/ 774701 w 774701"/>
                <a:gd name="connsiteY10" fmla="*/ 296770 h 570003"/>
                <a:gd name="connsiteX11" fmla="*/ 774701 w 774701"/>
                <a:gd name="connsiteY11" fmla="*/ 475001 h 570003"/>
                <a:gd name="connsiteX12" fmla="*/ 679699 w 774701"/>
                <a:gd name="connsiteY12" fmla="*/ 570003 h 570003"/>
                <a:gd name="connsiteX13" fmla="*/ 95002 w 774701"/>
                <a:gd name="connsiteY13" fmla="*/ 570003 h 570003"/>
                <a:gd name="connsiteX14" fmla="*/ 0 w 774701"/>
                <a:gd name="connsiteY14" fmla="*/ 475001 h 570003"/>
                <a:gd name="connsiteX15" fmla="*/ 0 w 774701"/>
                <a:gd name="connsiteY15" fmla="*/ 95002 h 570003"/>
                <a:gd name="connsiteX16" fmla="*/ 95002 w 774701"/>
                <a:gd name="connsiteY16" fmla="*/ 0 h 57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74701" h="570003">
                  <a:moveTo>
                    <a:pt x="95002" y="0"/>
                  </a:moveTo>
                  <a:lnTo>
                    <a:pt x="341582" y="0"/>
                  </a:lnTo>
                  <a:lnTo>
                    <a:pt x="330756" y="16057"/>
                  </a:lnTo>
                  <a:lnTo>
                    <a:pt x="101631" y="16057"/>
                  </a:lnTo>
                  <a:cubicBezTo>
                    <a:pt x="52119" y="16057"/>
                    <a:pt x="11981" y="56195"/>
                    <a:pt x="11981" y="105707"/>
                  </a:cubicBezTo>
                  <a:lnTo>
                    <a:pt x="11981" y="464295"/>
                  </a:lnTo>
                  <a:cubicBezTo>
                    <a:pt x="11981" y="513807"/>
                    <a:pt x="52119" y="553945"/>
                    <a:pt x="101631" y="553945"/>
                  </a:cubicBezTo>
                  <a:lnTo>
                    <a:pt x="673069" y="553945"/>
                  </a:lnTo>
                  <a:cubicBezTo>
                    <a:pt x="722581" y="553945"/>
                    <a:pt x="762719" y="513807"/>
                    <a:pt x="762719" y="464295"/>
                  </a:cubicBezTo>
                  <a:lnTo>
                    <a:pt x="762719" y="296770"/>
                  </a:lnTo>
                  <a:lnTo>
                    <a:pt x="774701" y="296770"/>
                  </a:lnTo>
                  <a:lnTo>
                    <a:pt x="774701" y="475001"/>
                  </a:lnTo>
                  <a:cubicBezTo>
                    <a:pt x="774701" y="527469"/>
                    <a:pt x="732167" y="570003"/>
                    <a:pt x="679699" y="570003"/>
                  </a:cubicBezTo>
                  <a:lnTo>
                    <a:pt x="95002" y="570003"/>
                  </a:lnTo>
                  <a:cubicBezTo>
                    <a:pt x="42534" y="570003"/>
                    <a:pt x="0" y="527469"/>
                    <a:pt x="0" y="475001"/>
                  </a:cubicBezTo>
                  <a:lnTo>
                    <a:pt x="0" y="95002"/>
                  </a:lnTo>
                  <a:cubicBezTo>
                    <a:pt x="0" y="42534"/>
                    <a:pt x="42534" y="0"/>
                    <a:pt x="95002" y="0"/>
                  </a:cubicBez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grpSp>
          <p:nvGrpSpPr>
            <p:cNvPr id="62" name="Group 61"/>
            <p:cNvGrpSpPr/>
            <p:nvPr/>
          </p:nvGrpSpPr>
          <p:grpSpPr>
            <a:xfrm flipH="1">
              <a:off x="5711824" y="2668680"/>
              <a:ext cx="774701" cy="1147853"/>
              <a:chOff x="4804567" y="2668680"/>
              <a:chExt cx="774701" cy="1147853"/>
            </a:xfrm>
            <a:grpFill/>
          </p:grpSpPr>
          <p:sp>
            <p:nvSpPr>
              <p:cNvPr id="63" name="Freeform 62"/>
              <p:cNvSpPr/>
              <p:nvPr/>
            </p:nvSpPr>
            <p:spPr bwMode="auto">
              <a:xfrm>
                <a:off x="4804567" y="2668680"/>
                <a:ext cx="774701" cy="570003"/>
              </a:xfrm>
              <a:custGeom>
                <a:avLst/>
                <a:gdLst>
                  <a:gd name="connsiteX0" fmla="*/ 95002 w 774701"/>
                  <a:gd name="connsiteY0" fmla="*/ 0 h 570003"/>
                  <a:gd name="connsiteX1" fmla="*/ 679699 w 774701"/>
                  <a:gd name="connsiteY1" fmla="*/ 0 h 570003"/>
                  <a:gd name="connsiteX2" fmla="*/ 774701 w 774701"/>
                  <a:gd name="connsiteY2" fmla="*/ 95002 h 570003"/>
                  <a:gd name="connsiteX3" fmla="*/ 774701 w 774701"/>
                  <a:gd name="connsiteY3" fmla="*/ 281548 h 570003"/>
                  <a:gd name="connsiteX4" fmla="*/ 762719 w 774701"/>
                  <a:gd name="connsiteY4" fmla="*/ 283662 h 570003"/>
                  <a:gd name="connsiteX5" fmla="*/ 762719 w 774701"/>
                  <a:gd name="connsiteY5" fmla="*/ 105707 h 570003"/>
                  <a:gd name="connsiteX6" fmla="*/ 673069 w 774701"/>
                  <a:gd name="connsiteY6" fmla="*/ 16057 h 570003"/>
                  <a:gd name="connsiteX7" fmla="*/ 101631 w 774701"/>
                  <a:gd name="connsiteY7" fmla="*/ 16057 h 570003"/>
                  <a:gd name="connsiteX8" fmla="*/ 11981 w 774701"/>
                  <a:gd name="connsiteY8" fmla="*/ 105707 h 570003"/>
                  <a:gd name="connsiteX9" fmla="*/ 11981 w 774701"/>
                  <a:gd name="connsiteY9" fmla="*/ 464295 h 570003"/>
                  <a:gd name="connsiteX10" fmla="*/ 101631 w 774701"/>
                  <a:gd name="connsiteY10" fmla="*/ 553945 h 570003"/>
                  <a:gd name="connsiteX11" fmla="*/ 367763 w 774701"/>
                  <a:gd name="connsiteY11" fmla="*/ 553945 h 570003"/>
                  <a:gd name="connsiteX12" fmla="*/ 349312 w 774701"/>
                  <a:gd name="connsiteY12" fmla="*/ 566385 h 570003"/>
                  <a:gd name="connsiteX13" fmla="*/ 346873 w 774701"/>
                  <a:gd name="connsiteY13" fmla="*/ 570003 h 570003"/>
                  <a:gd name="connsiteX14" fmla="*/ 95002 w 774701"/>
                  <a:gd name="connsiteY14" fmla="*/ 570003 h 570003"/>
                  <a:gd name="connsiteX15" fmla="*/ 0 w 774701"/>
                  <a:gd name="connsiteY15" fmla="*/ 475001 h 570003"/>
                  <a:gd name="connsiteX16" fmla="*/ 0 w 774701"/>
                  <a:gd name="connsiteY16" fmla="*/ 95002 h 570003"/>
                  <a:gd name="connsiteX17" fmla="*/ 95002 w 774701"/>
                  <a:gd name="connsiteY17" fmla="*/ 0 h 57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74701" h="570003">
                    <a:moveTo>
                      <a:pt x="95002" y="0"/>
                    </a:moveTo>
                    <a:lnTo>
                      <a:pt x="679699" y="0"/>
                    </a:lnTo>
                    <a:cubicBezTo>
                      <a:pt x="732167" y="0"/>
                      <a:pt x="774701" y="42534"/>
                      <a:pt x="774701" y="95002"/>
                    </a:cubicBezTo>
                    <a:lnTo>
                      <a:pt x="774701" y="281548"/>
                    </a:lnTo>
                    <a:lnTo>
                      <a:pt x="762719" y="283662"/>
                    </a:lnTo>
                    <a:lnTo>
                      <a:pt x="762719" y="105707"/>
                    </a:lnTo>
                    <a:cubicBezTo>
                      <a:pt x="762719" y="56195"/>
                      <a:pt x="722581" y="16057"/>
                      <a:pt x="673069" y="16057"/>
                    </a:cubicBezTo>
                    <a:lnTo>
                      <a:pt x="101631" y="16057"/>
                    </a:lnTo>
                    <a:cubicBezTo>
                      <a:pt x="52119" y="16057"/>
                      <a:pt x="11981" y="56195"/>
                      <a:pt x="11981" y="105707"/>
                    </a:cubicBezTo>
                    <a:lnTo>
                      <a:pt x="11981" y="464295"/>
                    </a:lnTo>
                    <a:cubicBezTo>
                      <a:pt x="11981" y="513807"/>
                      <a:pt x="52119" y="553945"/>
                      <a:pt x="101631" y="553945"/>
                    </a:cubicBezTo>
                    <a:lnTo>
                      <a:pt x="367763" y="553945"/>
                    </a:lnTo>
                    <a:lnTo>
                      <a:pt x="349312" y="566385"/>
                    </a:lnTo>
                    <a:lnTo>
                      <a:pt x="346873" y="570003"/>
                    </a:lnTo>
                    <a:lnTo>
                      <a:pt x="95002" y="570003"/>
                    </a:lnTo>
                    <a:cubicBezTo>
                      <a:pt x="42534" y="570003"/>
                      <a:pt x="0" y="527469"/>
                      <a:pt x="0" y="475001"/>
                    </a:cubicBezTo>
                    <a:lnTo>
                      <a:pt x="0" y="95002"/>
                    </a:lnTo>
                    <a:cubicBezTo>
                      <a:pt x="0" y="42534"/>
                      <a:pt x="42534" y="0"/>
                      <a:pt x="95002" y="0"/>
                    </a:cubicBez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64" name="Freeform 63"/>
              <p:cNvSpPr/>
              <p:nvPr/>
            </p:nvSpPr>
            <p:spPr bwMode="auto">
              <a:xfrm>
                <a:off x="4804567" y="3246530"/>
                <a:ext cx="774701" cy="570003"/>
              </a:xfrm>
              <a:custGeom>
                <a:avLst/>
                <a:gdLst>
                  <a:gd name="connsiteX0" fmla="*/ 95002 w 774701"/>
                  <a:gd name="connsiteY0" fmla="*/ 0 h 570003"/>
                  <a:gd name="connsiteX1" fmla="*/ 341582 w 774701"/>
                  <a:gd name="connsiteY1" fmla="*/ 0 h 570003"/>
                  <a:gd name="connsiteX2" fmla="*/ 330756 w 774701"/>
                  <a:gd name="connsiteY2" fmla="*/ 16057 h 570003"/>
                  <a:gd name="connsiteX3" fmla="*/ 101631 w 774701"/>
                  <a:gd name="connsiteY3" fmla="*/ 16057 h 570003"/>
                  <a:gd name="connsiteX4" fmla="*/ 11981 w 774701"/>
                  <a:gd name="connsiteY4" fmla="*/ 105707 h 570003"/>
                  <a:gd name="connsiteX5" fmla="*/ 11981 w 774701"/>
                  <a:gd name="connsiteY5" fmla="*/ 464295 h 570003"/>
                  <a:gd name="connsiteX6" fmla="*/ 101631 w 774701"/>
                  <a:gd name="connsiteY6" fmla="*/ 553945 h 570003"/>
                  <a:gd name="connsiteX7" fmla="*/ 673069 w 774701"/>
                  <a:gd name="connsiteY7" fmla="*/ 553945 h 570003"/>
                  <a:gd name="connsiteX8" fmla="*/ 762719 w 774701"/>
                  <a:gd name="connsiteY8" fmla="*/ 464295 h 570003"/>
                  <a:gd name="connsiteX9" fmla="*/ 762719 w 774701"/>
                  <a:gd name="connsiteY9" fmla="*/ 296770 h 570003"/>
                  <a:gd name="connsiteX10" fmla="*/ 774701 w 774701"/>
                  <a:gd name="connsiteY10" fmla="*/ 296770 h 570003"/>
                  <a:gd name="connsiteX11" fmla="*/ 774701 w 774701"/>
                  <a:gd name="connsiteY11" fmla="*/ 475001 h 570003"/>
                  <a:gd name="connsiteX12" fmla="*/ 679699 w 774701"/>
                  <a:gd name="connsiteY12" fmla="*/ 570003 h 570003"/>
                  <a:gd name="connsiteX13" fmla="*/ 95002 w 774701"/>
                  <a:gd name="connsiteY13" fmla="*/ 570003 h 570003"/>
                  <a:gd name="connsiteX14" fmla="*/ 0 w 774701"/>
                  <a:gd name="connsiteY14" fmla="*/ 475001 h 570003"/>
                  <a:gd name="connsiteX15" fmla="*/ 0 w 774701"/>
                  <a:gd name="connsiteY15" fmla="*/ 95002 h 570003"/>
                  <a:gd name="connsiteX16" fmla="*/ 95002 w 774701"/>
                  <a:gd name="connsiteY16" fmla="*/ 0 h 57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74701" h="570003">
                    <a:moveTo>
                      <a:pt x="95002" y="0"/>
                    </a:moveTo>
                    <a:lnTo>
                      <a:pt x="341582" y="0"/>
                    </a:lnTo>
                    <a:lnTo>
                      <a:pt x="330756" y="16057"/>
                    </a:lnTo>
                    <a:lnTo>
                      <a:pt x="101631" y="16057"/>
                    </a:lnTo>
                    <a:cubicBezTo>
                      <a:pt x="52119" y="16057"/>
                      <a:pt x="11981" y="56195"/>
                      <a:pt x="11981" y="105707"/>
                    </a:cubicBezTo>
                    <a:lnTo>
                      <a:pt x="11981" y="464295"/>
                    </a:lnTo>
                    <a:cubicBezTo>
                      <a:pt x="11981" y="513807"/>
                      <a:pt x="52119" y="553945"/>
                      <a:pt x="101631" y="553945"/>
                    </a:cubicBezTo>
                    <a:lnTo>
                      <a:pt x="673069" y="553945"/>
                    </a:lnTo>
                    <a:cubicBezTo>
                      <a:pt x="722581" y="553945"/>
                      <a:pt x="762719" y="513807"/>
                      <a:pt x="762719" y="464295"/>
                    </a:cubicBezTo>
                    <a:lnTo>
                      <a:pt x="762719" y="296770"/>
                    </a:lnTo>
                    <a:lnTo>
                      <a:pt x="774701" y="296770"/>
                    </a:lnTo>
                    <a:lnTo>
                      <a:pt x="774701" y="475001"/>
                    </a:lnTo>
                    <a:cubicBezTo>
                      <a:pt x="774701" y="527469"/>
                      <a:pt x="732167" y="570003"/>
                      <a:pt x="679699" y="570003"/>
                    </a:cubicBezTo>
                    <a:lnTo>
                      <a:pt x="95002" y="570003"/>
                    </a:lnTo>
                    <a:cubicBezTo>
                      <a:pt x="42534" y="570003"/>
                      <a:pt x="0" y="527469"/>
                      <a:pt x="0" y="475001"/>
                    </a:cubicBezTo>
                    <a:lnTo>
                      <a:pt x="0" y="95002"/>
                    </a:lnTo>
                    <a:cubicBezTo>
                      <a:pt x="0" y="42534"/>
                      <a:pt x="42534" y="0"/>
                      <a:pt x="95002" y="0"/>
                    </a:cubicBez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grpSp>
      </p:grpSp>
      <p:sp>
        <p:nvSpPr>
          <p:cNvPr id="67" name="Freeform 66"/>
          <p:cNvSpPr>
            <a:spLocks/>
          </p:cNvSpPr>
          <p:nvPr/>
        </p:nvSpPr>
        <p:spPr bwMode="auto">
          <a:xfrm>
            <a:off x="10169119" y="2741221"/>
            <a:ext cx="1048497" cy="1130692"/>
          </a:xfrm>
          <a:custGeom>
            <a:avLst/>
            <a:gdLst>
              <a:gd name="connsiteX0" fmla="*/ 623808 w 1048497"/>
              <a:gd name="connsiteY0" fmla="*/ 0 h 1130692"/>
              <a:gd name="connsiteX1" fmla="*/ 637293 w 1048497"/>
              <a:gd name="connsiteY1" fmla="*/ 5465 h 1130692"/>
              <a:gd name="connsiteX2" fmla="*/ 986311 w 1048497"/>
              <a:gd name="connsiteY2" fmla="*/ 320195 h 1130692"/>
              <a:gd name="connsiteX3" fmla="*/ 993661 w 1048497"/>
              <a:gd name="connsiteY3" fmla="*/ 326823 h 1130692"/>
              <a:gd name="connsiteX4" fmla="*/ 960731 w 1048497"/>
              <a:gd name="connsiteY4" fmla="*/ 342017 h 1130692"/>
              <a:gd name="connsiteX5" fmla="*/ 954333 w 1048497"/>
              <a:gd name="connsiteY5" fmla="*/ 346505 h 1130692"/>
              <a:gd name="connsiteX6" fmla="*/ 918802 w 1048497"/>
              <a:gd name="connsiteY6" fmla="*/ 314433 h 1130692"/>
              <a:gd name="connsiteX7" fmla="*/ 623833 w 1048497"/>
              <a:gd name="connsiteY7" fmla="*/ 48174 h 1130692"/>
              <a:gd name="connsiteX8" fmla="*/ 74942 w 1048497"/>
              <a:gd name="connsiteY8" fmla="*/ 544576 h 1130692"/>
              <a:gd name="connsiteX9" fmla="*/ 141348 w 1048497"/>
              <a:gd name="connsiteY9" fmla="*/ 544576 h 1130692"/>
              <a:gd name="connsiteX10" fmla="*/ 162101 w 1048497"/>
              <a:gd name="connsiteY10" fmla="*/ 565389 h 1130692"/>
              <a:gd name="connsiteX11" fmla="*/ 162101 w 1048497"/>
              <a:gd name="connsiteY11" fmla="*/ 1049303 h 1130692"/>
              <a:gd name="connsiteX12" fmla="*/ 201529 w 1048497"/>
              <a:gd name="connsiteY12" fmla="*/ 1088848 h 1130692"/>
              <a:gd name="connsiteX13" fmla="*/ 482719 w 1048497"/>
              <a:gd name="connsiteY13" fmla="*/ 1088848 h 1130692"/>
              <a:gd name="connsiteX14" fmla="*/ 482719 w 1048497"/>
              <a:gd name="connsiteY14" fmla="*/ 686107 h 1130692"/>
              <a:gd name="connsiteX15" fmla="*/ 503471 w 1048497"/>
              <a:gd name="connsiteY15" fmla="*/ 665294 h 1130692"/>
              <a:gd name="connsiteX16" fmla="*/ 744195 w 1048497"/>
              <a:gd name="connsiteY16" fmla="*/ 665294 h 1130692"/>
              <a:gd name="connsiteX17" fmla="*/ 764946 w 1048497"/>
              <a:gd name="connsiteY17" fmla="*/ 686107 h 1130692"/>
              <a:gd name="connsiteX18" fmla="*/ 764946 w 1048497"/>
              <a:gd name="connsiteY18" fmla="*/ 1088848 h 1130692"/>
              <a:gd name="connsiteX19" fmla="*/ 927509 w 1048497"/>
              <a:gd name="connsiteY19" fmla="*/ 1088848 h 1130692"/>
              <a:gd name="connsiteX20" fmla="*/ 947670 w 1048497"/>
              <a:gd name="connsiteY20" fmla="*/ 1088848 h 1130692"/>
              <a:gd name="connsiteX21" fmla="*/ 960731 w 1048497"/>
              <a:gd name="connsiteY21" fmla="*/ 1098009 h 1130692"/>
              <a:gd name="connsiteX22" fmla="*/ 1008113 w 1048497"/>
              <a:gd name="connsiteY22" fmla="*/ 1119872 h 1130692"/>
              <a:gd name="connsiteX23" fmla="*/ 1048497 w 1048497"/>
              <a:gd name="connsiteY23" fmla="*/ 1130236 h 1130692"/>
              <a:gd name="connsiteX24" fmla="*/ 1045988 w 1048497"/>
              <a:gd name="connsiteY24" fmla="*/ 1130692 h 1130692"/>
              <a:gd name="connsiteX25" fmla="*/ 744134 w 1048497"/>
              <a:gd name="connsiteY25" fmla="*/ 1130692 h 1130692"/>
              <a:gd name="connsiteX26" fmla="*/ 723388 w 1048497"/>
              <a:gd name="connsiteY26" fmla="*/ 1109874 h 1130692"/>
              <a:gd name="connsiteX27" fmla="*/ 723388 w 1048497"/>
              <a:gd name="connsiteY27" fmla="*/ 707041 h 1130692"/>
              <a:gd name="connsiteX28" fmla="*/ 524227 w 1048497"/>
              <a:gd name="connsiteY28" fmla="*/ 707041 h 1130692"/>
              <a:gd name="connsiteX29" fmla="*/ 524227 w 1048497"/>
              <a:gd name="connsiteY29" fmla="*/ 1109874 h 1130692"/>
              <a:gd name="connsiteX30" fmla="*/ 503482 w 1048497"/>
              <a:gd name="connsiteY30" fmla="*/ 1130692 h 1130692"/>
              <a:gd name="connsiteX31" fmla="*/ 201628 w 1048497"/>
              <a:gd name="connsiteY31" fmla="*/ 1130692 h 1130692"/>
              <a:gd name="connsiteX32" fmla="*/ 120719 w 1048497"/>
              <a:gd name="connsiteY32" fmla="*/ 1049501 h 1130692"/>
              <a:gd name="connsiteX33" fmla="*/ 120719 w 1048497"/>
              <a:gd name="connsiteY33" fmla="*/ 586295 h 1130692"/>
              <a:gd name="connsiteX34" fmla="*/ 20101 w 1048497"/>
              <a:gd name="connsiteY34" fmla="*/ 586295 h 1130692"/>
              <a:gd name="connsiteX35" fmla="*/ 1430 w 1048497"/>
              <a:gd name="connsiteY35" fmla="*/ 572763 h 1130692"/>
              <a:gd name="connsiteX36" fmla="*/ 6616 w 1048497"/>
              <a:gd name="connsiteY36" fmla="*/ 549863 h 1130692"/>
              <a:gd name="connsiteX37" fmla="*/ 610323 w 1048497"/>
              <a:gd name="connsiteY37" fmla="*/ 5465 h 1130692"/>
              <a:gd name="connsiteX38" fmla="*/ 623808 w 1048497"/>
              <a:gd name="connsiteY38" fmla="*/ 0 h 1130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48497" h="1130692">
                <a:moveTo>
                  <a:pt x="623808" y="0"/>
                </a:moveTo>
                <a:cubicBezTo>
                  <a:pt x="628735" y="0"/>
                  <a:pt x="633662" y="1822"/>
                  <a:pt x="637293" y="5465"/>
                </a:cubicBezTo>
                <a:cubicBezTo>
                  <a:pt x="788220" y="141564"/>
                  <a:pt x="901415" y="243639"/>
                  <a:pt x="986311" y="320195"/>
                </a:cubicBezTo>
                <a:lnTo>
                  <a:pt x="993661" y="326823"/>
                </a:lnTo>
                <a:lnTo>
                  <a:pt x="960731" y="342017"/>
                </a:lnTo>
                <a:lnTo>
                  <a:pt x="954333" y="346505"/>
                </a:lnTo>
                <a:lnTo>
                  <a:pt x="918802" y="314433"/>
                </a:lnTo>
                <a:cubicBezTo>
                  <a:pt x="623833" y="48174"/>
                  <a:pt x="623833" y="48174"/>
                  <a:pt x="623833" y="48174"/>
                </a:cubicBezTo>
                <a:cubicBezTo>
                  <a:pt x="74942" y="544576"/>
                  <a:pt x="74942" y="544576"/>
                  <a:pt x="74942" y="544576"/>
                </a:cubicBezTo>
                <a:cubicBezTo>
                  <a:pt x="141348" y="544576"/>
                  <a:pt x="141348" y="544576"/>
                  <a:pt x="141348" y="544576"/>
                </a:cubicBezTo>
                <a:cubicBezTo>
                  <a:pt x="152762" y="544576"/>
                  <a:pt x="162101" y="553942"/>
                  <a:pt x="162101" y="565389"/>
                </a:cubicBezTo>
                <a:cubicBezTo>
                  <a:pt x="162101" y="1049303"/>
                  <a:pt x="162101" y="1049303"/>
                  <a:pt x="162101" y="1049303"/>
                </a:cubicBezTo>
                <a:cubicBezTo>
                  <a:pt x="162101" y="1074279"/>
                  <a:pt x="176627" y="1088848"/>
                  <a:pt x="201529" y="1088848"/>
                </a:cubicBezTo>
                <a:cubicBezTo>
                  <a:pt x="482719" y="1088848"/>
                  <a:pt x="482719" y="1088848"/>
                  <a:pt x="482719" y="1088848"/>
                </a:cubicBezTo>
                <a:cubicBezTo>
                  <a:pt x="482719" y="686107"/>
                  <a:pt x="482719" y="686107"/>
                  <a:pt x="482719" y="686107"/>
                </a:cubicBezTo>
                <a:cubicBezTo>
                  <a:pt x="482719" y="674660"/>
                  <a:pt x="492058" y="665294"/>
                  <a:pt x="503471" y="665294"/>
                </a:cubicBezTo>
                <a:cubicBezTo>
                  <a:pt x="744195" y="665294"/>
                  <a:pt x="744195" y="665294"/>
                  <a:pt x="744195" y="665294"/>
                </a:cubicBezTo>
                <a:cubicBezTo>
                  <a:pt x="755608" y="665294"/>
                  <a:pt x="764946" y="674660"/>
                  <a:pt x="764946" y="686107"/>
                </a:cubicBezTo>
                <a:lnTo>
                  <a:pt x="764946" y="1088848"/>
                </a:lnTo>
                <a:cubicBezTo>
                  <a:pt x="835244" y="1088848"/>
                  <a:pt x="887967" y="1088848"/>
                  <a:pt x="927509" y="1088848"/>
                </a:cubicBezTo>
                <a:lnTo>
                  <a:pt x="947670" y="1088848"/>
                </a:lnTo>
                <a:lnTo>
                  <a:pt x="960731" y="1098009"/>
                </a:lnTo>
                <a:cubicBezTo>
                  <a:pt x="974677" y="1105868"/>
                  <a:pt x="990558" y="1113189"/>
                  <a:pt x="1008113" y="1119872"/>
                </a:cubicBezTo>
                <a:lnTo>
                  <a:pt x="1048497" y="1130236"/>
                </a:lnTo>
                <a:lnTo>
                  <a:pt x="1045988" y="1130692"/>
                </a:lnTo>
                <a:cubicBezTo>
                  <a:pt x="744134" y="1130692"/>
                  <a:pt x="744134" y="1130692"/>
                  <a:pt x="744134" y="1130692"/>
                </a:cubicBezTo>
                <a:cubicBezTo>
                  <a:pt x="732724" y="1130692"/>
                  <a:pt x="723388" y="1121324"/>
                  <a:pt x="723388" y="1109874"/>
                </a:cubicBezTo>
                <a:cubicBezTo>
                  <a:pt x="723388" y="707041"/>
                  <a:pt x="723388" y="707041"/>
                  <a:pt x="723388" y="707041"/>
                </a:cubicBezTo>
                <a:cubicBezTo>
                  <a:pt x="524227" y="707041"/>
                  <a:pt x="524227" y="707041"/>
                  <a:pt x="524227" y="707041"/>
                </a:cubicBezTo>
                <a:cubicBezTo>
                  <a:pt x="524227" y="1109874"/>
                  <a:pt x="524227" y="1109874"/>
                  <a:pt x="524227" y="1109874"/>
                </a:cubicBezTo>
                <a:cubicBezTo>
                  <a:pt x="524227" y="1121324"/>
                  <a:pt x="514892" y="1130692"/>
                  <a:pt x="503482" y="1130692"/>
                </a:cubicBezTo>
                <a:cubicBezTo>
                  <a:pt x="201628" y="1130692"/>
                  <a:pt x="201628" y="1130692"/>
                  <a:pt x="201628" y="1130692"/>
                </a:cubicBezTo>
                <a:cubicBezTo>
                  <a:pt x="153913" y="1130692"/>
                  <a:pt x="120719" y="1097383"/>
                  <a:pt x="120719" y="1049501"/>
                </a:cubicBezTo>
                <a:cubicBezTo>
                  <a:pt x="120719" y="586295"/>
                  <a:pt x="120719" y="586295"/>
                  <a:pt x="120719" y="586295"/>
                </a:cubicBezTo>
                <a:cubicBezTo>
                  <a:pt x="20101" y="586295"/>
                  <a:pt x="20101" y="586295"/>
                  <a:pt x="20101" y="586295"/>
                </a:cubicBezTo>
                <a:cubicBezTo>
                  <a:pt x="11803" y="586295"/>
                  <a:pt x="4542" y="581090"/>
                  <a:pt x="1430" y="572763"/>
                </a:cubicBezTo>
                <a:cubicBezTo>
                  <a:pt x="-1682" y="564435"/>
                  <a:pt x="393" y="556108"/>
                  <a:pt x="6616" y="549863"/>
                </a:cubicBezTo>
                <a:cubicBezTo>
                  <a:pt x="610323" y="5465"/>
                  <a:pt x="610323" y="5465"/>
                  <a:pt x="610323" y="5465"/>
                </a:cubicBezTo>
                <a:cubicBezTo>
                  <a:pt x="613954" y="1822"/>
                  <a:pt x="618881" y="0"/>
                  <a:pt x="623808" y="0"/>
                </a:cubicBezTo>
                <a:close/>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cxnSp>
        <p:nvCxnSpPr>
          <p:cNvPr id="69" name="Straight Arrow Connector 68"/>
          <p:cNvCxnSpPr/>
          <p:nvPr/>
        </p:nvCxnSpPr>
        <p:spPr>
          <a:xfrm>
            <a:off x="4203700" y="3302000"/>
            <a:ext cx="1016000" cy="0"/>
          </a:xfrm>
          <a:prstGeom prst="straightConnector1">
            <a:avLst/>
          </a:prstGeom>
          <a:ln w="12700">
            <a:solidFill>
              <a:srgbClr val="0078D7"/>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a:off x="6908800" y="3302000"/>
            <a:ext cx="1139038" cy="0"/>
          </a:xfrm>
          <a:prstGeom prst="straightConnector1">
            <a:avLst/>
          </a:prstGeom>
          <a:ln w="12700">
            <a:solidFill>
              <a:srgbClr val="0078D7"/>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flipV="1">
            <a:off x="8961407" y="3302000"/>
            <a:ext cx="1054787" cy="10238"/>
          </a:xfrm>
          <a:prstGeom prst="straightConnector1">
            <a:avLst/>
          </a:prstGeom>
          <a:ln w="12700">
            <a:solidFill>
              <a:srgbClr val="0078D7"/>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74" name="Elbow Connector 73"/>
          <p:cNvCxnSpPr/>
          <p:nvPr/>
        </p:nvCxnSpPr>
        <p:spPr>
          <a:xfrm>
            <a:off x="6126798" y="4183380"/>
            <a:ext cx="4297633" cy="430858"/>
          </a:xfrm>
          <a:prstGeom prst="bentConnector3">
            <a:avLst>
              <a:gd name="adj1" fmla="val 12"/>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75" name="Elbow Connector 74"/>
          <p:cNvCxnSpPr/>
          <p:nvPr/>
        </p:nvCxnSpPr>
        <p:spPr>
          <a:xfrm>
            <a:off x="8994458" y="2034238"/>
            <a:ext cx="1797126" cy="588050"/>
          </a:xfrm>
          <a:prstGeom prst="bentConnector3">
            <a:avLst>
              <a:gd name="adj1" fmla="val 100033"/>
            </a:avLst>
          </a:prstGeom>
          <a:ln w="12700">
            <a:solidFill>
              <a:srgbClr val="0078D7"/>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76" name="TextBox 75"/>
          <p:cNvSpPr txBox="1"/>
          <p:nvPr/>
        </p:nvSpPr>
        <p:spPr>
          <a:xfrm>
            <a:off x="2797175" y="2428875"/>
            <a:ext cx="585032" cy="166199"/>
          </a:xfrm>
          <a:prstGeom prst="rect">
            <a:avLst/>
          </a:prstGeom>
          <a:noFill/>
        </p:spPr>
        <p:txBody>
          <a:bodyPr wrap="none" lIns="0" tIns="0" rIns="0" bIns="0"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78D7"/>
                </a:solidFill>
                <a:effectLst/>
                <a:uLnTx/>
                <a:uFillTx/>
              </a:rPr>
              <a:t>Power BI</a:t>
            </a:r>
          </a:p>
        </p:txBody>
      </p:sp>
      <p:sp>
        <p:nvSpPr>
          <p:cNvPr id="77" name="TextBox 76"/>
          <p:cNvSpPr txBox="1"/>
          <p:nvPr/>
        </p:nvSpPr>
        <p:spPr>
          <a:xfrm>
            <a:off x="5663837" y="3949700"/>
            <a:ext cx="802847" cy="166199"/>
          </a:xfrm>
          <a:prstGeom prst="rect">
            <a:avLst/>
          </a:prstGeom>
          <a:noFill/>
        </p:spPr>
        <p:txBody>
          <a:bodyPr wrap="non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78D7"/>
                </a:solidFill>
                <a:effectLst/>
                <a:uLnTx/>
                <a:uFillTx/>
              </a:rPr>
              <a:t>App Service</a:t>
            </a:r>
          </a:p>
        </p:txBody>
      </p:sp>
      <p:sp>
        <p:nvSpPr>
          <p:cNvPr id="78" name="TextBox 77"/>
          <p:cNvSpPr txBox="1"/>
          <p:nvPr/>
        </p:nvSpPr>
        <p:spPr>
          <a:xfrm>
            <a:off x="8047838" y="3822350"/>
            <a:ext cx="942566" cy="166199"/>
          </a:xfrm>
          <a:prstGeom prst="rect">
            <a:avLst/>
          </a:prstGeom>
          <a:noFill/>
        </p:spPr>
        <p:txBody>
          <a:bodyPr wrap="non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78D7"/>
                </a:solidFill>
                <a:effectLst/>
                <a:uLnTx/>
                <a:uFillTx/>
              </a:rPr>
              <a:t>SQL Database</a:t>
            </a:r>
          </a:p>
        </p:txBody>
      </p:sp>
      <p:sp>
        <p:nvSpPr>
          <p:cNvPr id="79" name="TextBox 78"/>
          <p:cNvSpPr txBox="1"/>
          <p:nvPr/>
        </p:nvSpPr>
        <p:spPr>
          <a:xfrm>
            <a:off x="10045191" y="3974054"/>
            <a:ext cx="1819150" cy="166199"/>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78D7"/>
                </a:solidFill>
                <a:effectLst/>
                <a:uLnTx/>
                <a:uFillTx/>
              </a:rPr>
              <a:t>SQL Data Warehouse</a:t>
            </a:r>
          </a:p>
        </p:txBody>
      </p:sp>
      <p:sp>
        <p:nvSpPr>
          <p:cNvPr id="80" name="TextBox 79"/>
          <p:cNvSpPr txBox="1"/>
          <p:nvPr/>
        </p:nvSpPr>
        <p:spPr>
          <a:xfrm>
            <a:off x="9748313" y="4874020"/>
            <a:ext cx="2086540" cy="166199"/>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78D7"/>
                </a:solidFill>
                <a:effectLst/>
                <a:uLnTx/>
                <a:uFillTx/>
              </a:rPr>
              <a:t>Machine Learning</a:t>
            </a:r>
          </a:p>
        </p:txBody>
      </p:sp>
      <p:sp>
        <p:nvSpPr>
          <p:cNvPr id="81" name="TextBox 80"/>
          <p:cNvSpPr txBox="1"/>
          <p:nvPr/>
        </p:nvSpPr>
        <p:spPr>
          <a:xfrm>
            <a:off x="8214203" y="2399994"/>
            <a:ext cx="609836" cy="166199"/>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78D7"/>
                </a:solidFill>
                <a:effectLst/>
                <a:uLnTx/>
                <a:uFillTx/>
              </a:rPr>
              <a:t>Hadoop</a:t>
            </a:r>
          </a:p>
        </p:txBody>
      </p:sp>
      <p:sp>
        <p:nvSpPr>
          <p:cNvPr id="82" name="TextBox 81"/>
          <p:cNvSpPr txBox="1"/>
          <p:nvPr/>
        </p:nvSpPr>
        <p:spPr>
          <a:xfrm>
            <a:off x="7736655" y="4702648"/>
            <a:ext cx="1564932" cy="166199"/>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78D7"/>
                </a:solidFill>
                <a:effectLst/>
                <a:uLnTx/>
                <a:uFillTx/>
              </a:rPr>
              <a:t>Intelligent App</a:t>
            </a:r>
          </a:p>
        </p:txBody>
      </p:sp>
      <p:grpSp>
        <p:nvGrpSpPr>
          <p:cNvPr id="143" name="Group 142"/>
          <p:cNvGrpSpPr>
            <a:grpSpLocks noChangeAspect="1"/>
          </p:cNvGrpSpPr>
          <p:nvPr/>
        </p:nvGrpSpPr>
        <p:grpSpPr>
          <a:xfrm>
            <a:off x="10981568" y="3087948"/>
            <a:ext cx="642733" cy="787199"/>
            <a:chOff x="-3084513" y="3390510"/>
            <a:chExt cx="2716213" cy="3363913"/>
          </a:xfrm>
          <a:solidFill>
            <a:schemeClr val="accent2"/>
          </a:solidFill>
        </p:grpSpPr>
        <p:sp>
          <p:nvSpPr>
            <p:cNvPr id="144"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5"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46" name="Freeform 145"/>
          <p:cNvSpPr>
            <a:spLocks noChangeAspect="1"/>
          </p:cNvSpPr>
          <p:nvPr/>
        </p:nvSpPr>
        <p:spPr bwMode="auto">
          <a:xfrm flipH="1">
            <a:off x="10575566" y="4330650"/>
            <a:ext cx="432035" cy="457200"/>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147" name="Freeform 146"/>
          <p:cNvSpPr>
            <a:spLocks noChangeAspect="1"/>
          </p:cNvSpPr>
          <p:nvPr/>
        </p:nvSpPr>
        <p:spPr bwMode="auto">
          <a:xfrm>
            <a:off x="8283635" y="1849438"/>
            <a:ext cx="604165" cy="45720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93260" tIns="46630" rIns="93260" bIns="46630" numCol="1" anchor="t" anchorCtr="0" compatLnSpc="1">
            <a:prstTxWarp prst="textNoShape">
              <a:avLst/>
            </a:prstTxWarp>
          </a:bodyPr>
          <a:lstStyle/>
          <a:p>
            <a:endParaRPr lang="en-US" sz="1632" dirty="0"/>
          </a:p>
        </p:txBody>
      </p:sp>
      <p:grpSp>
        <p:nvGrpSpPr>
          <p:cNvPr id="148" name="Group 147"/>
          <p:cNvGrpSpPr>
            <a:grpSpLocks noChangeAspect="1"/>
          </p:cNvGrpSpPr>
          <p:nvPr/>
        </p:nvGrpSpPr>
        <p:grpSpPr>
          <a:xfrm>
            <a:off x="8214203" y="2955231"/>
            <a:ext cx="642733" cy="787199"/>
            <a:chOff x="-3084513" y="3390510"/>
            <a:chExt cx="2716213" cy="3363913"/>
          </a:xfrm>
          <a:solidFill>
            <a:schemeClr val="accent2"/>
          </a:solidFill>
        </p:grpSpPr>
        <p:sp>
          <p:nvSpPr>
            <p:cNvPr id="149"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0"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66" name="Group 65"/>
          <p:cNvGrpSpPr/>
          <p:nvPr/>
        </p:nvGrpSpPr>
        <p:grpSpPr>
          <a:xfrm>
            <a:off x="-9657" y="1649551"/>
            <a:ext cx="1801197" cy="3858349"/>
            <a:chOff x="2269406" y="1649551"/>
            <a:chExt cx="1801197" cy="3858349"/>
          </a:xfrm>
        </p:grpSpPr>
        <p:sp>
          <p:nvSpPr>
            <p:cNvPr id="68" name="Rectangle 67"/>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marL="0" marR="0" lvl="0" indent="0" algn="ctr" defTabSz="739440" eaLnBrk="1" fontAlgn="auto" latinLnBrk="0" hangingPunct="1">
                <a:lnSpc>
                  <a:spcPct val="100000"/>
                </a:lnSpc>
                <a:spcBef>
                  <a:spcPct val="0"/>
                </a:spcBef>
                <a:spcAft>
                  <a:spcPct val="35000"/>
                </a:spcAft>
                <a:buClrTx/>
                <a:buSzTx/>
                <a:buFontTx/>
                <a:buNone/>
                <a:tabLst/>
                <a:defRPr/>
              </a:pPr>
              <a:r>
                <a:rPr kumimoji="0" lang="en-US" sz="1428"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Big Data Stores</a:t>
              </a:r>
            </a:p>
          </p:txBody>
        </p:sp>
        <p:sp>
          <p:nvSpPr>
            <p:cNvPr id="72" name="Rectangle 71"/>
            <p:cNvSpPr/>
            <p:nvPr/>
          </p:nvSpPr>
          <p:spPr>
            <a:xfrm>
              <a:off x="2774284" y="3274196"/>
              <a:ext cx="1296319" cy="4463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effectLst/>
                  <a:uLnTx/>
                  <a:uFillTx/>
                  <a:cs typeface="Segoe UI Semilight" panose="020B0402040204020203" pitchFamily="34" charset="0"/>
                </a:rPr>
                <a:t>SQL Data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effectLst/>
                  <a:uLnTx/>
                  <a:uFillTx/>
                  <a:cs typeface="Segoe UI Semilight" panose="020B0402040204020203" pitchFamily="34" charset="0"/>
                </a:rPr>
                <a:t>Warehouse</a:t>
              </a:r>
            </a:p>
          </p:txBody>
        </p:sp>
        <p:sp>
          <p:nvSpPr>
            <p:cNvPr id="73" name="Rectangle 72"/>
            <p:cNvSpPr/>
            <p:nvPr/>
          </p:nvSpPr>
          <p:spPr>
            <a:xfrm>
              <a:off x="2754567" y="2530491"/>
              <a:ext cx="1296319" cy="27028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Data Lake Store</a:t>
              </a:r>
            </a:p>
          </p:txBody>
        </p:sp>
        <p:grpSp>
          <p:nvGrpSpPr>
            <p:cNvPr id="84" name="Group 83"/>
            <p:cNvGrpSpPr/>
            <p:nvPr/>
          </p:nvGrpSpPr>
          <p:grpSpPr>
            <a:xfrm>
              <a:off x="2439892" y="2526826"/>
              <a:ext cx="256193" cy="256192"/>
              <a:chOff x="4061057" y="3607548"/>
              <a:chExt cx="324957" cy="324957"/>
            </a:xfrm>
          </p:grpSpPr>
          <p:sp>
            <p:nvSpPr>
              <p:cNvPr id="112" name="Rounded Rectangle 111"/>
              <p:cNvSpPr/>
              <p:nvPr/>
            </p:nvSpPr>
            <p:spPr bwMode="auto">
              <a:xfrm>
                <a:off x="4061057" y="3607548"/>
                <a:ext cx="324957" cy="324957"/>
              </a:xfrm>
              <a:prstGeom prst="round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3" name="Rectangle 112"/>
              <p:cNvSpPr/>
              <p:nvPr/>
            </p:nvSpPr>
            <p:spPr bwMode="auto">
              <a:xfrm>
                <a:off x="4098073" y="3645565"/>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4" name="Rectangle 113"/>
              <p:cNvSpPr/>
              <p:nvPr/>
            </p:nvSpPr>
            <p:spPr bwMode="auto">
              <a:xfrm>
                <a:off x="4237426" y="3645565"/>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5" name="Oval 114"/>
              <p:cNvSpPr/>
              <p:nvPr/>
            </p:nvSpPr>
            <p:spPr bwMode="auto">
              <a:xfrm>
                <a:off x="4166147" y="3645952"/>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6" name="Oval 115"/>
              <p:cNvSpPr/>
              <p:nvPr/>
            </p:nvSpPr>
            <p:spPr bwMode="auto">
              <a:xfrm>
                <a:off x="4305501" y="3645952"/>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7" name="Rectangle 116"/>
              <p:cNvSpPr/>
              <p:nvPr/>
            </p:nvSpPr>
            <p:spPr bwMode="auto">
              <a:xfrm>
                <a:off x="4098073" y="3794740"/>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8" name="Rectangle 117"/>
              <p:cNvSpPr/>
              <p:nvPr/>
            </p:nvSpPr>
            <p:spPr bwMode="auto">
              <a:xfrm>
                <a:off x="4237426" y="3794740"/>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9" name="Oval 118"/>
              <p:cNvSpPr/>
              <p:nvPr/>
            </p:nvSpPr>
            <p:spPr bwMode="auto">
              <a:xfrm>
                <a:off x="4166147" y="3795128"/>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0" name="Oval 119"/>
              <p:cNvSpPr/>
              <p:nvPr/>
            </p:nvSpPr>
            <p:spPr bwMode="auto">
              <a:xfrm>
                <a:off x="4305501" y="3795128"/>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1" name="Rectangle 120"/>
              <p:cNvSpPr/>
              <p:nvPr/>
            </p:nvSpPr>
            <p:spPr bwMode="auto">
              <a:xfrm>
                <a:off x="4169740" y="3866061"/>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2" name="Rectangle 121"/>
              <p:cNvSpPr/>
              <p:nvPr/>
            </p:nvSpPr>
            <p:spPr bwMode="auto">
              <a:xfrm>
                <a:off x="4309093" y="3866061"/>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3" name="Oval 122"/>
              <p:cNvSpPr/>
              <p:nvPr/>
            </p:nvSpPr>
            <p:spPr bwMode="auto">
              <a:xfrm>
                <a:off x="4098461" y="3866446"/>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4" name="Oval 123"/>
              <p:cNvSpPr/>
              <p:nvPr/>
            </p:nvSpPr>
            <p:spPr bwMode="auto">
              <a:xfrm>
                <a:off x="4237815" y="3866447"/>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5" name="Rectangle 124"/>
              <p:cNvSpPr/>
              <p:nvPr/>
            </p:nvSpPr>
            <p:spPr bwMode="auto">
              <a:xfrm>
                <a:off x="4169740" y="3710368"/>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6" name="Rectangle 125"/>
              <p:cNvSpPr/>
              <p:nvPr/>
            </p:nvSpPr>
            <p:spPr bwMode="auto">
              <a:xfrm>
                <a:off x="4309093" y="3710368"/>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7" name="Oval 126"/>
              <p:cNvSpPr/>
              <p:nvPr/>
            </p:nvSpPr>
            <p:spPr bwMode="auto">
              <a:xfrm>
                <a:off x="4098461" y="3710759"/>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8" name="Oval 127"/>
              <p:cNvSpPr/>
              <p:nvPr/>
            </p:nvSpPr>
            <p:spPr bwMode="auto">
              <a:xfrm>
                <a:off x="4237815" y="3710759"/>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8" name="Group 107"/>
            <p:cNvGrpSpPr/>
            <p:nvPr/>
          </p:nvGrpSpPr>
          <p:grpSpPr>
            <a:xfrm>
              <a:off x="2446176" y="3338874"/>
              <a:ext cx="253198" cy="310108"/>
              <a:chOff x="-3084513" y="5566963"/>
              <a:chExt cx="2716213" cy="3363913"/>
            </a:xfrm>
            <a:solidFill>
              <a:schemeClr val="tx1"/>
            </a:solidFill>
          </p:grpSpPr>
          <p:sp>
            <p:nvSpPr>
              <p:cNvPr id="109" name="Freeform 40"/>
              <p:cNvSpPr>
                <a:spLocks noEditPoints="1"/>
              </p:cNvSpPr>
              <p:nvPr/>
            </p:nvSpPr>
            <p:spPr bwMode="auto">
              <a:xfrm>
                <a:off x="-3084513" y="5566963"/>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11" name="Freeform 41"/>
              <p:cNvSpPr>
                <a:spLocks/>
              </p:cNvSpPr>
              <p:nvPr/>
            </p:nvSpPr>
            <p:spPr bwMode="auto">
              <a:xfrm>
                <a:off x="-1887535" y="7092552"/>
                <a:ext cx="373064" cy="511180"/>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grpSp>
    </p:spTree>
    <p:extLst>
      <p:ext uri="{BB962C8B-B14F-4D97-AF65-F5344CB8AC3E}">
        <p14:creationId xmlns:p14="http://schemas.microsoft.com/office/powerpoint/2010/main" val="3550386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dirty="0">
                <a:solidFill>
                  <a:schemeClr val="bg1"/>
                </a:solidFill>
              </a:rPr>
              <a:t>Machine Learning and Analytics</a:t>
            </a:r>
          </a:p>
        </p:txBody>
      </p:sp>
      <p:grpSp>
        <p:nvGrpSpPr>
          <p:cNvPr id="6" name="Group 5"/>
          <p:cNvGrpSpPr/>
          <p:nvPr/>
        </p:nvGrpSpPr>
        <p:grpSpPr>
          <a:xfrm>
            <a:off x="249407" y="1649550"/>
            <a:ext cx="7748242" cy="4292632"/>
            <a:chOff x="249407" y="1649550"/>
            <a:chExt cx="7748242" cy="4292632"/>
          </a:xfrm>
        </p:grpSpPr>
        <p:sp>
          <p:nvSpPr>
            <p:cNvPr id="153" name="Rectangle 152"/>
            <p:cNvSpPr/>
            <p:nvPr/>
          </p:nvSpPr>
          <p:spPr bwMode="auto">
            <a:xfrm>
              <a:off x="4152200" y="1649550"/>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Big Data Stores</a:t>
              </a:r>
            </a:p>
          </p:txBody>
        </p:sp>
        <p:sp>
          <p:nvSpPr>
            <p:cNvPr id="154" name="Rectangle 153"/>
            <p:cNvSpPr/>
            <p:nvPr/>
          </p:nvSpPr>
          <p:spPr>
            <a:xfrm>
              <a:off x="4667785" y="3088249"/>
              <a:ext cx="1296319" cy="446397"/>
            </a:xfrm>
            <a:prstGeom prst="rect">
              <a:avLst/>
            </a:prstGeom>
          </p:spPr>
          <p:txBody>
            <a:bodyPr wrap="square">
              <a:spAutoFit/>
            </a:bodyPr>
            <a:lstStyle/>
            <a:p>
              <a:r>
                <a:rPr lang="en-US" sz="1122" dirty="0">
                  <a:cs typeface="Segoe UI Semilight" panose="020B0402040204020203" pitchFamily="34" charset="0"/>
                </a:rPr>
                <a:t>SQL Data </a:t>
              </a:r>
            </a:p>
            <a:p>
              <a:r>
                <a:rPr lang="en-US" sz="1122" dirty="0">
                  <a:cs typeface="Segoe UI Semilight" panose="020B0402040204020203" pitchFamily="34" charset="0"/>
                </a:rPr>
                <a:t>Warehouse</a:t>
              </a:r>
            </a:p>
          </p:txBody>
        </p:sp>
        <p:sp>
          <p:nvSpPr>
            <p:cNvPr id="155" name="Rectangle 154"/>
            <p:cNvSpPr/>
            <p:nvPr/>
          </p:nvSpPr>
          <p:spPr>
            <a:xfrm>
              <a:off x="4653693" y="2344046"/>
              <a:ext cx="1296319" cy="270285"/>
            </a:xfrm>
            <a:prstGeom prst="rect">
              <a:avLst/>
            </a:prstGeom>
          </p:spPr>
          <p:txBody>
            <a:bodyPr wrap="square">
              <a:spAutoFit/>
            </a:bodyPr>
            <a:lstStyle/>
            <a:p>
              <a:r>
                <a:rPr lang="en-US" sz="1122" dirty="0">
                  <a:cs typeface="Segoe UI Semilight" panose="020B0402040204020203" pitchFamily="34" charset="0"/>
                </a:rPr>
                <a:t>Data Lake Store</a:t>
              </a:r>
            </a:p>
          </p:txBody>
        </p:sp>
        <p:grpSp>
          <p:nvGrpSpPr>
            <p:cNvPr id="169" name="Group 168"/>
            <p:cNvGrpSpPr/>
            <p:nvPr/>
          </p:nvGrpSpPr>
          <p:grpSpPr>
            <a:xfrm>
              <a:off x="4339018" y="2349358"/>
              <a:ext cx="256193" cy="256193"/>
              <a:chOff x="4068192" y="3363795"/>
              <a:chExt cx="324957" cy="324957"/>
            </a:xfrm>
          </p:grpSpPr>
          <p:sp>
            <p:nvSpPr>
              <p:cNvPr id="218" name="Rounded Rectangle 217"/>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9" name="Rectangle 218"/>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0" name="Rectangle 219"/>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1" name="Oval 220"/>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2" name="Oval 221"/>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3" name="Rectangle 222"/>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4" name="Rectangle 223"/>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5" name="Oval 224"/>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6" name="Oval 225"/>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7" name="Rectangle 226"/>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8" name="Rectangle 227"/>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9" name="Oval 228"/>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0" name="Oval 229"/>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1" name="Rectangle 230"/>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2" name="Rectangle 231"/>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3" name="Oval 232"/>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4" name="Oval 233"/>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73" name="Group 172"/>
            <p:cNvGrpSpPr/>
            <p:nvPr/>
          </p:nvGrpSpPr>
          <p:grpSpPr>
            <a:xfrm>
              <a:off x="4339677" y="3152927"/>
              <a:ext cx="253198" cy="310108"/>
              <a:chOff x="-3084513" y="3390510"/>
              <a:chExt cx="2716213" cy="3363913"/>
            </a:xfrm>
            <a:solidFill>
              <a:schemeClr val="tx1"/>
            </a:solidFill>
          </p:grpSpPr>
          <p:sp>
            <p:nvSpPr>
              <p:cNvPr id="216"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7"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88" name="TextBox 187"/>
            <p:cNvSpPr txBox="1"/>
            <p:nvPr/>
          </p:nvSpPr>
          <p:spPr>
            <a:xfrm>
              <a:off x="1164202" y="1958379"/>
              <a:ext cx="528754" cy="323165"/>
            </a:xfrm>
            <a:prstGeom prst="rect">
              <a:avLst/>
            </a:prstGeom>
            <a:noFill/>
          </p:spPr>
          <p:txBody>
            <a:bodyPr wrap="square" lIns="0" tIns="0" rIns="0" bIns="0" rtlCol="0" anchor="ctr" anchorCtr="0">
              <a:spAutoFit/>
            </a:bodyPr>
            <a:lstStyle/>
            <a:p>
              <a:pPr defTabSz="932563">
                <a:spcAft>
                  <a:spcPts val="600"/>
                </a:spcAft>
              </a:pPr>
              <a:r>
                <a:rPr lang="en-US" sz="1050" dirty="0">
                  <a:solidFill>
                    <a:schemeClr val="bg2"/>
                  </a:solidFill>
                  <a:cs typeface="Segoe UI Semilight" panose="020B0402040204020203" pitchFamily="34" charset="0"/>
                </a:rPr>
                <a:t>Data Sources</a:t>
              </a:r>
            </a:p>
          </p:txBody>
        </p:sp>
        <p:sp>
          <p:nvSpPr>
            <p:cNvPr id="190" name="TextBox 189"/>
            <p:cNvSpPr txBox="1"/>
            <p:nvPr/>
          </p:nvSpPr>
          <p:spPr>
            <a:xfrm>
              <a:off x="1164202" y="3351045"/>
              <a:ext cx="528754" cy="161583"/>
            </a:xfrm>
            <a:prstGeom prst="rect">
              <a:avLst/>
            </a:prstGeom>
            <a:noFill/>
          </p:spPr>
          <p:txBody>
            <a:bodyPr wrap="square" lIns="0" tIns="0" rIns="0" bIns="0" rtlCol="0" anchor="ctr" anchorCtr="0">
              <a:spAutoFit/>
            </a:bodyPr>
            <a:lstStyle/>
            <a:p>
              <a:pPr defTabSz="932563">
                <a:spcBef>
                  <a:spcPct val="0"/>
                </a:spcBef>
                <a:spcAft>
                  <a:spcPts val="600"/>
                </a:spcAft>
              </a:pPr>
              <a:r>
                <a:rPr lang="en-US" sz="1050" dirty="0">
                  <a:solidFill>
                    <a:schemeClr val="bg2"/>
                  </a:solidFill>
                  <a:cs typeface="Segoe UI Semilight" panose="020B0402040204020203" pitchFamily="34" charset="0"/>
                </a:rPr>
                <a:t>Apps</a:t>
              </a:r>
            </a:p>
          </p:txBody>
        </p:sp>
        <p:sp>
          <p:nvSpPr>
            <p:cNvPr id="192" name="TextBox 191"/>
            <p:cNvSpPr txBox="1"/>
            <p:nvPr/>
          </p:nvSpPr>
          <p:spPr>
            <a:xfrm>
              <a:off x="1164202" y="4768746"/>
              <a:ext cx="735728" cy="323165"/>
            </a:xfrm>
            <a:prstGeom prst="rect">
              <a:avLst/>
            </a:prstGeom>
            <a:noFill/>
          </p:spPr>
          <p:txBody>
            <a:bodyPr wrap="square" lIns="0" tIns="0" rIns="0" bIns="0" rtlCol="0" anchor="ctr" anchorCtr="0">
              <a:spAutoFit/>
            </a:bodyPr>
            <a:lstStyle/>
            <a:p>
              <a:pPr defTabSz="932563">
                <a:spcBef>
                  <a:spcPct val="0"/>
                </a:spcBef>
                <a:spcAft>
                  <a:spcPts val="600"/>
                </a:spcAft>
              </a:pPr>
              <a:r>
                <a:rPr lang="en-US" sz="1050" dirty="0">
                  <a:solidFill>
                    <a:schemeClr val="bg2"/>
                  </a:solidFill>
                  <a:cs typeface="Segoe UI Semilight" panose="020B0402040204020203" pitchFamily="34" charset="0"/>
                </a:rPr>
                <a:t>Sensors </a:t>
              </a:r>
              <a:br>
                <a:rPr lang="en-US" sz="1050" dirty="0">
                  <a:solidFill>
                    <a:schemeClr val="bg2"/>
                  </a:solidFill>
                  <a:cs typeface="Segoe UI Semilight" panose="020B0402040204020203" pitchFamily="34" charset="0"/>
                </a:rPr>
              </a:br>
              <a:r>
                <a:rPr lang="en-US" sz="1050" dirty="0">
                  <a:solidFill>
                    <a:schemeClr val="bg2"/>
                  </a:solidFill>
                  <a:cs typeface="Segoe UI Semilight" panose="020B0402040204020203" pitchFamily="34" charset="0"/>
                </a:rPr>
                <a:t>and devices</a:t>
              </a:r>
            </a:p>
          </p:txBody>
        </p:sp>
        <p:sp>
          <p:nvSpPr>
            <p:cNvPr id="193" name="TextBox 192"/>
            <p:cNvSpPr txBox="1"/>
            <p:nvPr/>
          </p:nvSpPr>
          <p:spPr>
            <a:xfrm>
              <a:off x="806041" y="5665183"/>
              <a:ext cx="474490" cy="276999"/>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r>
                <a:rPr lang="en-US" sz="1800" dirty="0">
                  <a:solidFill>
                    <a:schemeClr val="bg2"/>
                  </a:solidFill>
                  <a:latin typeface="+mn-lt"/>
                </a:rPr>
                <a:t>Data</a:t>
              </a:r>
            </a:p>
          </p:txBody>
        </p:sp>
        <p:grpSp>
          <p:nvGrpSpPr>
            <p:cNvPr id="194" name="Group 193"/>
            <p:cNvGrpSpPr/>
            <p:nvPr/>
          </p:nvGrpSpPr>
          <p:grpSpPr>
            <a:xfrm>
              <a:off x="1776319" y="1668481"/>
              <a:ext cx="308472" cy="3830198"/>
              <a:chOff x="1810439" y="1858178"/>
              <a:chExt cx="308472" cy="3830198"/>
            </a:xfrm>
            <a:solidFill>
              <a:srgbClr val="0078D7"/>
            </a:solidFill>
          </p:grpSpPr>
          <p:sp>
            <p:nvSpPr>
              <p:cNvPr id="195" name="Freeform 194"/>
              <p:cNvSpPr/>
              <p:nvPr/>
            </p:nvSpPr>
            <p:spPr bwMode="auto">
              <a:xfrm>
                <a:off x="1995054" y="1858178"/>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cxnSp>
            <p:nvCxnSpPr>
              <p:cNvPr id="196" name="Straight Connector 195"/>
              <p:cNvCxnSpPr/>
              <p:nvPr/>
            </p:nvCxnSpPr>
            <p:spPr>
              <a:xfrm>
                <a:off x="1810439" y="3639239"/>
                <a:ext cx="308472" cy="0"/>
              </a:xfrm>
              <a:prstGeom prst="line">
                <a:avLst/>
              </a:prstGeom>
              <a:grp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76" name="TextBox 175"/>
            <p:cNvSpPr txBox="1"/>
            <p:nvPr/>
          </p:nvSpPr>
          <p:spPr>
            <a:xfrm>
              <a:off x="5327363" y="5665183"/>
              <a:ext cx="1165191" cy="276999"/>
            </a:xfrm>
            <a:prstGeom prst="rect">
              <a:avLst/>
            </a:prstGeom>
            <a:noFill/>
          </p:spPr>
          <p:txBody>
            <a:bodyPr wrap="none" lIns="0" tIns="0" rIns="0" bIns="0" rtlCol="0" anchor="ctr">
              <a:spAutoFit/>
            </a:bodyPr>
            <a:lstStyle/>
            <a:p>
              <a:pPr algn="ctr" defTabSz="932563">
                <a:spcBef>
                  <a:spcPct val="0"/>
                </a:spcBef>
                <a:spcAft>
                  <a:spcPts val="600"/>
                </a:spcAft>
              </a:pPr>
              <a:r>
                <a:rPr lang="en-US" dirty="0">
                  <a:solidFill>
                    <a:schemeClr val="bg2"/>
                  </a:solidFill>
                  <a:cs typeface="Segoe UI Semilight" panose="020B0402040204020203" pitchFamily="34" charset="0"/>
                </a:rPr>
                <a:t>Intelligence</a:t>
              </a:r>
            </a:p>
          </p:txBody>
        </p:sp>
        <p:sp>
          <p:nvSpPr>
            <p:cNvPr id="177" name="Rectangle 176"/>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178" name="Rectangle 177"/>
            <p:cNvSpPr/>
            <p:nvPr/>
          </p:nvSpPr>
          <p:spPr>
            <a:xfrm>
              <a:off x="2833488" y="4199155"/>
              <a:ext cx="1296319" cy="270285"/>
            </a:xfrm>
            <a:prstGeom prst="rect">
              <a:avLst/>
            </a:prstGeom>
          </p:spPr>
          <p:txBody>
            <a:bodyPr wrap="square">
              <a:spAutoFit/>
            </a:bodyPr>
            <a:lstStyle/>
            <a:p>
              <a:r>
                <a:rPr lang="en-US" sz="1122" dirty="0">
                  <a:cs typeface="Segoe UI Semilight" panose="020B0402040204020203" pitchFamily="34" charset="0"/>
                </a:rPr>
                <a:t>Event Hubs</a:t>
              </a:r>
              <a:endParaRPr lang="en-US" sz="1122" dirty="0"/>
            </a:p>
          </p:txBody>
        </p:sp>
        <p:sp>
          <p:nvSpPr>
            <p:cNvPr id="179" name="Rectangle 178"/>
            <p:cNvSpPr/>
            <p:nvPr/>
          </p:nvSpPr>
          <p:spPr>
            <a:xfrm>
              <a:off x="2833488" y="3390244"/>
              <a:ext cx="1296319" cy="270285"/>
            </a:xfrm>
            <a:prstGeom prst="rect">
              <a:avLst/>
            </a:prstGeom>
          </p:spPr>
          <p:txBody>
            <a:bodyPr wrap="square">
              <a:spAutoFit/>
            </a:bodyPr>
            <a:lstStyle/>
            <a:p>
              <a:r>
                <a:rPr lang="en-US" sz="1122" dirty="0">
                  <a:cs typeface="Segoe UI Semilight" panose="020B0402040204020203" pitchFamily="34" charset="0"/>
                </a:rPr>
                <a:t>Data Catalog</a:t>
              </a:r>
            </a:p>
          </p:txBody>
        </p:sp>
        <p:grpSp>
          <p:nvGrpSpPr>
            <p:cNvPr id="180" name="Group 179"/>
            <p:cNvGrpSpPr/>
            <p:nvPr/>
          </p:nvGrpSpPr>
          <p:grpSpPr>
            <a:xfrm>
              <a:off x="2512312" y="3346955"/>
              <a:ext cx="280471" cy="298350"/>
              <a:chOff x="3232150" y="382588"/>
              <a:chExt cx="5727700" cy="6092825"/>
            </a:xfrm>
            <a:solidFill>
              <a:schemeClr val="tx1"/>
            </a:solidFill>
          </p:grpSpPr>
          <p:sp>
            <p:nvSpPr>
              <p:cNvPr id="184"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5"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6"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81" name="Rectangle 180"/>
            <p:cNvSpPr/>
            <p:nvPr/>
          </p:nvSpPr>
          <p:spPr>
            <a:xfrm>
              <a:off x="2833488" y="2538073"/>
              <a:ext cx="1296319" cy="270285"/>
            </a:xfrm>
            <a:prstGeom prst="rect">
              <a:avLst/>
            </a:prstGeom>
          </p:spPr>
          <p:txBody>
            <a:bodyPr wrap="square">
              <a:spAutoFit/>
            </a:bodyPr>
            <a:lstStyle/>
            <a:p>
              <a:r>
                <a:rPr lang="en-US" sz="1122" dirty="0">
                  <a:cs typeface="Segoe UI Semilight" panose="020B0402040204020203" pitchFamily="34" charset="0"/>
                </a:rPr>
                <a:t>Data Factory </a:t>
              </a:r>
              <a:endParaRPr lang="en-US" sz="1122" dirty="0"/>
            </a:p>
          </p:txBody>
        </p:sp>
        <p:sp>
          <p:nvSpPr>
            <p:cNvPr id="182" name="Freeform 181"/>
            <p:cNvSpPr/>
            <p:nvPr/>
          </p:nvSpPr>
          <p:spPr bwMode="auto">
            <a:xfrm>
              <a:off x="2508225" y="2475589"/>
              <a:ext cx="292163" cy="307023"/>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183" name="Freeform 182"/>
            <p:cNvSpPr/>
            <p:nvPr/>
          </p:nvSpPr>
          <p:spPr bwMode="auto">
            <a:xfrm>
              <a:off x="2528952" y="4204179"/>
              <a:ext cx="236184" cy="247159"/>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sp>
          <p:nvSpPr>
            <p:cNvPr id="235" name="Rectangle 234"/>
            <p:cNvSpPr/>
            <p:nvPr/>
          </p:nvSpPr>
          <p:spPr bwMode="auto">
            <a:xfrm>
              <a:off x="6030180" y="1649550"/>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Machine Learning and Analytics</a:t>
              </a:r>
            </a:p>
          </p:txBody>
        </p:sp>
        <p:sp>
          <p:nvSpPr>
            <p:cNvPr id="236" name="Rectangle 235"/>
            <p:cNvSpPr/>
            <p:nvPr/>
          </p:nvSpPr>
          <p:spPr>
            <a:xfrm>
              <a:off x="6689366" y="3871325"/>
              <a:ext cx="1294130" cy="622511"/>
            </a:xfrm>
            <a:prstGeom prst="rect">
              <a:avLst/>
            </a:prstGeom>
          </p:spPr>
          <p:txBody>
            <a:bodyPr wrap="square">
              <a:spAutoFit/>
            </a:bodyPr>
            <a:lstStyle/>
            <a:p>
              <a:r>
                <a:rPr lang="en-US" sz="1122" dirty="0">
                  <a:cs typeface="Segoe UI Semilight" panose="020B0402040204020203" pitchFamily="34" charset="0"/>
                </a:rPr>
                <a:t>HDInsight </a:t>
              </a:r>
            </a:p>
            <a:p>
              <a:r>
                <a:rPr lang="en-US" sz="1122" dirty="0">
                  <a:cs typeface="Segoe UI Semilight" panose="020B0402040204020203" pitchFamily="34" charset="0"/>
                </a:rPr>
                <a:t>(Hadoop and Spark)</a:t>
              </a:r>
            </a:p>
          </p:txBody>
        </p:sp>
        <p:sp>
          <p:nvSpPr>
            <p:cNvPr id="237" name="Rectangle 236"/>
            <p:cNvSpPr/>
            <p:nvPr/>
          </p:nvSpPr>
          <p:spPr>
            <a:xfrm>
              <a:off x="6689366" y="4888358"/>
              <a:ext cx="925088" cy="437684"/>
            </a:xfrm>
            <a:prstGeom prst="rect">
              <a:avLst/>
            </a:prstGeom>
          </p:spPr>
          <p:txBody>
            <a:bodyPr wrap="square">
              <a:spAutoFit/>
            </a:bodyPr>
            <a:lstStyle/>
            <a:p>
              <a:r>
                <a:rPr lang="en-US" sz="1122" dirty="0">
                  <a:cs typeface="Segoe UI Semilight" panose="020B0402040204020203" pitchFamily="34" charset="0"/>
                </a:rPr>
                <a:t>Stream Analytics</a:t>
              </a:r>
            </a:p>
          </p:txBody>
        </p:sp>
        <p:sp>
          <p:nvSpPr>
            <p:cNvPr id="238" name="Rectangle 237"/>
            <p:cNvSpPr/>
            <p:nvPr/>
          </p:nvSpPr>
          <p:spPr>
            <a:xfrm>
              <a:off x="6689366" y="3131506"/>
              <a:ext cx="1294130" cy="446397"/>
            </a:xfrm>
            <a:prstGeom prst="rect">
              <a:avLst/>
            </a:prstGeom>
          </p:spPr>
          <p:txBody>
            <a:bodyPr wrap="square">
              <a:spAutoFit/>
            </a:bodyPr>
            <a:lstStyle/>
            <a:p>
              <a:r>
                <a:rPr lang="en-US" sz="1122" dirty="0">
                  <a:cs typeface="Segoe UI Semilight" panose="020B0402040204020203" pitchFamily="34" charset="0"/>
                </a:rPr>
                <a:t>Data Lake Analytics</a:t>
              </a:r>
            </a:p>
          </p:txBody>
        </p:sp>
        <p:grpSp>
          <p:nvGrpSpPr>
            <p:cNvPr id="239" name="Group 238"/>
            <p:cNvGrpSpPr/>
            <p:nvPr/>
          </p:nvGrpSpPr>
          <p:grpSpPr>
            <a:xfrm>
              <a:off x="6331026" y="3216207"/>
              <a:ext cx="225034" cy="284903"/>
              <a:chOff x="3763925" y="4579938"/>
              <a:chExt cx="1741488" cy="2204799"/>
            </a:xfrm>
            <a:solidFill>
              <a:schemeClr val="tx1"/>
            </a:solidFill>
          </p:grpSpPr>
          <p:sp>
            <p:nvSpPr>
              <p:cNvPr id="240" name="Freeform 16"/>
              <p:cNvSpPr>
                <a:spLocks/>
              </p:cNvSpPr>
              <p:nvPr/>
            </p:nvSpPr>
            <p:spPr bwMode="auto">
              <a:xfrm>
                <a:off x="3896296" y="4579938"/>
                <a:ext cx="1493839" cy="403229"/>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1" name="Freeform 17"/>
              <p:cNvSpPr>
                <a:spLocks/>
              </p:cNvSpPr>
              <p:nvPr/>
            </p:nvSpPr>
            <p:spPr bwMode="auto">
              <a:xfrm>
                <a:off x="3763925" y="4708286"/>
                <a:ext cx="1741488" cy="1411289"/>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2" name="Freeform 18"/>
              <p:cNvSpPr>
                <a:spLocks/>
              </p:cNvSpPr>
              <p:nvPr/>
            </p:nvSpPr>
            <p:spPr bwMode="auto">
              <a:xfrm>
                <a:off x="3763925" y="6057664"/>
                <a:ext cx="1741488" cy="727073"/>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243" name="Rectangle 242"/>
            <p:cNvSpPr/>
            <p:nvPr/>
          </p:nvSpPr>
          <p:spPr>
            <a:xfrm>
              <a:off x="6703519" y="2295083"/>
              <a:ext cx="1294130" cy="446397"/>
            </a:xfrm>
            <a:prstGeom prst="rect">
              <a:avLst/>
            </a:prstGeom>
          </p:spPr>
          <p:txBody>
            <a:bodyPr wrap="square">
              <a:spAutoFit/>
            </a:bodyPr>
            <a:lstStyle/>
            <a:p>
              <a:r>
                <a:rPr lang="en-US" sz="1122" dirty="0">
                  <a:cs typeface="Segoe UI Semilight" panose="020B0402040204020203" pitchFamily="34" charset="0"/>
                </a:rPr>
                <a:t>Machine Learning</a:t>
              </a:r>
            </a:p>
          </p:txBody>
        </p:sp>
        <p:grpSp>
          <p:nvGrpSpPr>
            <p:cNvPr id="244" name="Group 243"/>
            <p:cNvGrpSpPr/>
            <p:nvPr/>
          </p:nvGrpSpPr>
          <p:grpSpPr>
            <a:xfrm>
              <a:off x="6246155" y="4885378"/>
              <a:ext cx="359675" cy="276298"/>
              <a:chOff x="1420702" y="6812122"/>
              <a:chExt cx="3273425" cy="2514596"/>
            </a:xfrm>
            <a:solidFill>
              <a:schemeClr val="tx1"/>
            </a:solidFill>
          </p:grpSpPr>
          <p:sp>
            <p:nvSpPr>
              <p:cNvPr id="245" name="Freeform 244"/>
              <p:cNvSpPr>
                <a:spLocks/>
              </p:cNvSpPr>
              <p:nvPr/>
            </p:nvSpPr>
            <p:spPr bwMode="auto">
              <a:xfrm>
                <a:off x="2408131" y="6812122"/>
                <a:ext cx="2285996" cy="2514596"/>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246" name="Freeform 245"/>
              <p:cNvSpPr>
                <a:spLocks/>
              </p:cNvSpPr>
              <p:nvPr/>
            </p:nvSpPr>
            <p:spPr bwMode="auto">
              <a:xfrm>
                <a:off x="1781068" y="7474113"/>
                <a:ext cx="1892302" cy="604836"/>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247" name="Freeform 246"/>
              <p:cNvSpPr>
                <a:spLocks/>
              </p:cNvSpPr>
              <p:nvPr/>
            </p:nvSpPr>
            <p:spPr bwMode="auto">
              <a:xfrm>
                <a:off x="1555643" y="7790028"/>
                <a:ext cx="1952624" cy="593724"/>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248" name="Freeform 247"/>
              <p:cNvSpPr>
                <a:spLocks/>
              </p:cNvSpPr>
              <p:nvPr/>
            </p:nvSpPr>
            <p:spPr bwMode="auto">
              <a:xfrm>
                <a:off x="1420702" y="8109110"/>
                <a:ext cx="1930399" cy="566739"/>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grpSp>
        <p:sp>
          <p:nvSpPr>
            <p:cNvPr id="249" name="Freeform 248"/>
            <p:cNvSpPr>
              <a:spLocks/>
            </p:cNvSpPr>
            <p:nvPr/>
          </p:nvSpPr>
          <p:spPr bwMode="auto">
            <a:xfrm>
              <a:off x="6247497" y="4037357"/>
              <a:ext cx="373674" cy="2827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3260" tIns="46630" rIns="93260" bIns="46630" numCol="1" anchor="t" anchorCtr="0" compatLnSpc="1">
              <a:prstTxWarp prst="textNoShape">
                <a:avLst/>
              </a:prstTxWarp>
            </a:bodyPr>
            <a:lstStyle/>
            <a:p>
              <a:endParaRPr lang="en-US" sz="1632" dirty="0"/>
            </a:p>
          </p:txBody>
        </p:sp>
        <p:sp>
          <p:nvSpPr>
            <p:cNvPr id="250" name="Freeform 249"/>
            <p:cNvSpPr/>
            <p:nvPr/>
          </p:nvSpPr>
          <p:spPr bwMode="auto">
            <a:xfrm flipH="1">
              <a:off x="6305760" y="2377317"/>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pic>
          <p:nvPicPr>
            <p:cNvPr id="251" name="Picture 25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9407" y="3043119"/>
              <a:ext cx="776178" cy="908180"/>
            </a:xfrm>
            <a:prstGeom prst="rect">
              <a:avLst/>
            </a:prstGeom>
          </p:spPr>
        </p:pic>
        <p:pic>
          <p:nvPicPr>
            <p:cNvPr id="252" name="Picture 25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2823" y="4489811"/>
              <a:ext cx="752976" cy="881033"/>
            </a:xfrm>
            <a:prstGeom prst="rect">
              <a:avLst/>
            </a:prstGeom>
          </p:spPr>
        </p:pic>
        <p:pic>
          <p:nvPicPr>
            <p:cNvPr id="253" name="Picture 25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32969" y="1695508"/>
              <a:ext cx="685793" cy="802425"/>
            </a:xfrm>
            <a:prstGeom prst="rect">
              <a:avLst/>
            </a:prstGeom>
          </p:spPr>
        </p:pic>
      </p:grpSp>
      <p:sp>
        <p:nvSpPr>
          <p:cNvPr id="2" name="Rectangle 1"/>
          <p:cNvSpPr/>
          <p:nvPr/>
        </p:nvSpPr>
        <p:spPr bwMode="auto">
          <a:xfrm>
            <a:off x="-365371" y="5600359"/>
            <a:ext cx="1529573" cy="54863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483768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2.78529E-6 9.12392E-7 L -0.48468 9.12392E-7 " pathEditMode="relative" rAng="0" ptsTypes="AA">
                                      <p:cBhvr>
                                        <p:cTn id="6" dur="2000" fill="hold"/>
                                        <p:tgtEl>
                                          <p:spTgt spid="6"/>
                                        </p:tgtEl>
                                        <p:attrNameLst>
                                          <p:attrName>ppt_x</p:attrName>
                                          <p:attrName>ppt_y</p:attrName>
                                        </p:attrNameLst>
                                      </p:cBhvr>
                                      <p:rCtr x="-24240" y="0"/>
                                    </p:animMotion>
                                  </p:childTnLst>
                                </p:cTn>
                              </p:par>
                            </p:childTnLst>
                          </p:cTn>
                        </p:par>
                        <p:par>
                          <p:cTn id="7" fill="hold">
                            <p:stCondLst>
                              <p:cond delay="2000"/>
                            </p:stCondLst>
                            <p:childTnLst>
                              <p:par>
                                <p:cTn id="8" presetID="10" presetClass="entr" presetSubtype="0" fill="hold" grpId="0" nodeType="after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2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7" name="Rectangle 76"/>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lvl="0" defTabSz="914400">
              <a:spcBef>
                <a:spcPts val="0"/>
              </a:spcBef>
              <a:spcAft>
                <a:spcPts val="600"/>
              </a:spcAft>
              <a:defRPr/>
            </a:pPr>
            <a:r>
              <a:rPr lang="en-US" kern="0" spc="0" dirty="0">
                <a:ln>
                  <a:noFill/>
                </a:ln>
                <a:solidFill>
                  <a:schemeClr val="bg1"/>
                </a:solidFill>
              </a:rPr>
              <a:t>E</a:t>
            </a:r>
            <a:r>
              <a:rPr lang="en-US" dirty="0"/>
              <a:t>asily build, deploy, and share predictive analytics solutions</a:t>
            </a:r>
            <a:endParaRPr lang="en-US" kern="0" spc="0" dirty="0">
              <a:ln>
                <a:noFill/>
              </a:ln>
              <a:solidFill>
                <a:schemeClr val="bg1"/>
              </a:solidFill>
            </a:endParaRPr>
          </a:p>
        </p:txBody>
      </p:sp>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401115" y="1647872"/>
            <a:ext cx="5368325" cy="3412424"/>
          </a:xfrm>
          <a:prstGeom prst="rect">
            <a:avLst/>
          </a:prstGeom>
          <a:ln w="6350">
            <a:solidFill>
              <a:schemeClr val="accent1"/>
            </a:solidFill>
          </a:ln>
        </p:spPr>
      </p:pic>
      <p:pic>
        <p:nvPicPr>
          <p:cNvPr id="4" name="Picture 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452020" y="1647872"/>
            <a:ext cx="3732700" cy="3405136"/>
          </a:xfrm>
          <a:prstGeom prst="rect">
            <a:avLst/>
          </a:prstGeom>
          <a:ln w="6350">
            <a:solidFill>
              <a:schemeClr val="accent1"/>
            </a:solidFill>
          </a:ln>
        </p:spPr>
      </p:pic>
      <p:sp>
        <p:nvSpPr>
          <p:cNvPr id="39" name="TextBox 38"/>
          <p:cNvSpPr txBox="1"/>
          <p:nvPr/>
        </p:nvSpPr>
        <p:spPr>
          <a:xfrm>
            <a:off x="2377799" y="5275443"/>
            <a:ext cx="10029747" cy="1114151"/>
          </a:xfrm>
          <a:prstGeom prst="rect">
            <a:avLst/>
          </a:prstGeom>
          <a:noFill/>
        </p:spPr>
        <p:txBody>
          <a:bodyPr wrap="square" lIns="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i="0" u="none" strike="noStrike" kern="0" cap="none" spc="0" normalizeH="0" baseline="0" noProof="0" dirty="0">
                <a:ln>
                  <a:noFill/>
                </a:ln>
                <a:solidFill>
                  <a:schemeClr val="bg1"/>
                </a:solidFill>
                <a:effectLst/>
                <a:uLnTx/>
                <a:uFillTx/>
              </a:rPr>
              <a:t>Simple, scalable, cutting edge</a:t>
            </a:r>
            <a:r>
              <a:rPr lang="en-US" sz="1200" kern="0" dirty="0">
                <a:solidFill>
                  <a:schemeClr val="bg1"/>
                </a:solidFill>
              </a:rPr>
              <a:t>. </a:t>
            </a:r>
            <a:r>
              <a:rPr kumimoji="0" lang="en-US" sz="1200" b="0" i="0" u="none" strike="noStrike" kern="0" cap="none" spc="0" normalizeH="0" baseline="0" noProof="0" dirty="0">
                <a:ln>
                  <a:noFill/>
                </a:ln>
                <a:solidFill>
                  <a:schemeClr val="bg1"/>
                </a:solidFill>
                <a:effectLst/>
                <a:uLnTx/>
                <a:uFillTx/>
              </a:rPr>
              <a:t>A fully managed cloud service that enables you to easily build, deploy, and share predictive analytics solutions.</a:t>
            </a:r>
          </a:p>
          <a:p>
            <a:pPr marL="177800" indent="-177800" defTabSz="914400">
              <a:lnSpc>
                <a:spcPct val="90000"/>
              </a:lnSpc>
              <a:spcAft>
                <a:spcPts val="600"/>
              </a:spcAft>
              <a:buClr>
                <a:schemeClr val="accent2"/>
              </a:buClr>
              <a:buFont typeface="Arial" panose="020B0604020202020204" pitchFamily="34" charset="0"/>
              <a:buChar char="•"/>
              <a:defRPr/>
            </a:pPr>
            <a:r>
              <a:rPr lang="en-US" sz="1200" kern="0" dirty="0">
                <a:solidFill>
                  <a:schemeClr val="bg1"/>
                </a:solidFill>
              </a:rPr>
              <a:t>Deploy in minutes. Azure Machine Learning means business. You can deploy your model into production as a web service that can be called from any device, anywhere and that can use any data source. </a:t>
            </a:r>
          </a:p>
          <a:p>
            <a:pPr marL="177800" lvl="0" indent="-177800" defTabSz="914400">
              <a:lnSpc>
                <a:spcPct val="90000"/>
              </a:lnSpc>
              <a:spcAft>
                <a:spcPts val="600"/>
              </a:spcAft>
              <a:buClr>
                <a:schemeClr val="accent2"/>
              </a:buClr>
              <a:buFont typeface="Arial" panose="020B0604020202020204" pitchFamily="34" charset="0"/>
              <a:buChar char="•"/>
              <a:defRPr/>
            </a:pPr>
            <a:r>
              <a:rPr lang="en-US" sz="1200" kern="0" dirty="0">
                <a:solidFill>
                  <a:schemeClr val="bg1"/>
                </a:solidFill>
              </a:rPr>
              <a:t>Publish, share, monetize. Share your solution with the world in the Gallery or on the Azure Marketplace.</a:t>
            </a:r>
            <a:endParaRPr kumimoji="0" lang="en-US" sz="1200" b="0" i="0" u="none" strike="noStrike" kern="0" cap="none" spc="0" normalizeH="0" baseline="0" noProof="0" dirty="0">
              <a:ln>
                <a:noFill/>
              </a:ln>
              <a:solidFill>
                <a:schemeClr val="bg1"/>
              </a:solidFill>
              <a:effectLst/>
              <a:uLnTx/>
              <a:uFillTx/>
            </a:endParaRPr>
          </a:p>
        </p:txBody>
      </p:sp>
      <p:grpSp>
        <p:nvGrpSpPr>
          <p:cNvPr id="38" name="Group 37"/>
          <p:cNvGrpSpPr/>
          <p:nvPr/>
        </p:nvGrpSpPr>
        <p:grpSpPr>
          <a:xfrm>
            <a:off x="-9649" y="1649551"/>
            <a:ext cx="1987557" cy="3858349"/>
            <a:chOff x="2269406" y="1649551"/>
            <a:chExt cx="1987557" cy="3858349"/>
          </a:xfrm>
        </p:grpSpPr>
        <p:grpSp>
          <p:nvGrpSpPr>
            <p:cNvPr id="42" name="Group 41"/>
            <p:cNvGrpSpPr/>
            <p:nvPr/>
          </p:nvGrpSpPr>
          <p:grpSpPr>
            <a:xfrm>
              <a:off x="2269406" y="1649551"/>
              <a:ext cx="1771946" cy="3858349"/>
              <a:chOff x="2269406" y="1649551"/>
              <a:chExt cx="1771946" cy="3858349"/>
            </a:xfrm>
          </p:grpSpPr>
          <p:sp>
            <p:nvSpPr>
              <p:cNvPr id="78" name="Rectangle 77"/>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marL="0" marR="0" lvl="0" indent="0" algn="ctr" defTabSz="739440" eaLnBrk="1" fontAlgn="auto" latinLnBrk="0" hangingPunct="1">
                  <a:lnSpc>
                    <a:spcPct val="100000"/>
                  </a:lnSpc>
                  <a:spcBef>
                    <a:spcPct val="0"/>
                  </a:spcBef>
                  <a:spcAft>
                    <a:spcPct val="35000"/>
                  </a:spcAft>
                  <a:buClrTx/>
                  <a:buSzTx/>
                  <a:buFontTx/>
                  <a:buNone/>
                  <a:tabLst/>
                  <a:defRPr/>
                </a:pPr>
                <a:r>
                  <a:rPr kumimoji="0" lang="en-US" sz="1428"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Machine Learning and Analytics</a:t>
                </a:r>
              </a:p>
            </p:txBody>
          </p:sp>
          <p:grpSp>
            <p:nvGrpSpPr>
              <p:cNvPr id="59" name="Group 58"/>
              <p:cNvGrpSpPr/>
              <p:nvPr/>
            </p:nvGrpSpPr>
            <p:grpSpPr>
              <a:xfrm>
                <a:off x="2475764" y="2364104"/>
                <a:ext cx="200749" cy="211051"/>
                <a:chOff x="4106551" y="3401141"/>
                <a:chExt cx="254631" cy="267699"/>
              </a:xfrm>
            </p:grpSpPr>
            <p:sp>
              <p:nvSpPr>
                <p:cNvPr id="60" name="Rectangle 59"/>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1" name="Rectangle 60"/>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2" name="Oval 61"/>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3" name="Oval 62"/>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4" name="Rectangle 63"/>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5" name="Rectangle 64"/>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6" name="Oval 65"/>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7" name="Oval 66"/>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8" name="Rectangle 67"/>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9" name="Rectangle 68"/>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0" name="Oval 69"/>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1" name="Oval 70"/>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2" name="Rectangle 71"/>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3" name="Rectangle 72"/>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4" name="Oval 73"/>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5" name="Oval 74"/>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43" name="Rectangle 42"/>
            <p:cNvSpPr/>
            <p:nvPr/>
          </p:nvSpPr>
          <p:spPr>
            <a:xfrm>
              <a:off x="2962833" y="3869841"/>
              <a:ext cx="1294130" cy="62251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HDInsigh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Hadoop and Spark)</a:t>
              </a:r>
            </a:p>
          </p:txBody>
        </p:sp>
        <p:sp>
          <p:nvSpPr>
            <p:cNvPr id="44" name="Rectangle 43"/>
            <p:cNvSpPr/>
            <p:nvPr/>
          </p:nvSpPr>
          <p:spPr>
            <a:xfrm>
              <a:off x="2962833" y="4888358"/>
              <a:ext cx="925088" cy="43768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Stream Analytics</a:t>
              </a:r>
            </a:p>
          </p:txBody>
        </p:sp>
        <p:sp>
          <p:nvSpPr>
            <p:cNvPr id="45" name="Rectangle 44"/>
            <p:cNvSpPr/>
            <p:nvPr/>
          </p:nvSpPr>
          <p:spPr>
            <a:xfrm>
              <a:off x="2962833" y="3125609"/>
              <a:ext cx="1294130" cy="4463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Data Lake Analytics</a:t>
              </a:r>
            </a:p>
          </p:txBody>
        </p:sp>
        <p:grpSp>
          <p:nvGrpSpPr>
            <p:cNvPr id="46" name="Group 45"/>
            <p:cNvGrpSpPr/>
            <p:nvPr/>
          </p:nvGrpSpPr>
          <p:grpSpPr>
            <a:xfrm>
              <a:off x="2584613" y="3210310"/>
              <a:ext cx="225034" cy="294370"/>
              <a:chOff x="3473450" y="4579938"/>
              <a:chExt cx="1741488" cy="2278062"/>
            </a:xfrm>
            <a:solidFill>
              <a:schemeClr val="tx1"/>
            </a:solidFill>
          </p:grpSpPr>
          <p:sp>
            <p:nvSpPr>
              <p:cNvPr id="55"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56"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57"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
          <p:nvSpPr>
            <p:cNvPr id="47" name="Rectangle 46"/>
            <p:cNvSpPr/>
            <p:nvPr/>
          </p:nvSpPr>
          <p:spPr>
            <a:xfrm>
              <a:off x="2962833" y="2295083"/>
              <a:ext cx="1294130" cy="4463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effectLst/>
                  <a:uLnTx/>
                  <a:uFillTx/>
                  <a:cs typeface="Segoe UI Semilight" panose="020B0402040204020203" pitchFamily="34" charset="0"/>
                </a:rPr>
                <a:t>Machine Learning</a:t>
              </a:r>
            </a:p>
          </p:txBody>
        </p:sp>
        <p:grpSp>
          <p:nvGrpSpPr>
            <p:cNvPr id="48" name="Group 47"/>
            <p:cNvGrpSpPr/>
            <p:nvPr/>
          </p:nvGrpSpPr>
          <p:grpSpPr>
            <a:xfrm>
              <a:off x="2519622" y="4890724"/>
              <a:ext cx="359675" cy="276298"/>
              <a:chOff x="1260022" y="5196402"/>
              <a:chExt cx="3273425" cy="2514600"/>
            </a:xfrm>
            <a:solidFill>
              <a:schemeClr val="tx1"/>
            </a:solidFill>
          </p:grpSpPr>
          <p:sp>
            <p:nvSpPr>
              <p:cNvPr id="51" name="Freeform 50"/>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sp>
            <p:nvSpPr>
              <p:cNvPr id="52" name="Freeform 51"/>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sp>
            <p:nvSpPr>
              <p:cNvPr id="53" name="Freeform 52"/>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sp>
            <p:nvSpPr>
              <p:cNvPr id="54" name="Freeform 53"/>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grpSp>
        <p:sp>
          <p:nvSpPr>
            <p:cNvPr id="49" name="Freeform 48"/>
            <p:cNvSpPr>
              <a:spLocks/>
            </p:cNvSpPr>
            <p:nvPr/>
          </p:nvSpPr>
          <p:spPr bwMode="auto">
            <a:xfrm>
              <a:off x="2520964" y="4034622"/>
              <a:ext cx="373674" cy="2827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2">
                <a:lumMod val="75000"/>
              </a:schemeClr>
            </a:solidFill>
            <a:ln w="6350">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ysClr val="windowText" lastClr="000000"/>
                </a:solidFill>
                <a:effectLst/>
                <a:uLnTx/>
                <a:uFillTx/>
              </a:endParaRPr>
            </a:p>
          </p:txBody>
        </p:sp>
        <p:sp>
          <p:nvSpPr>
            <p:cNvPr id="50" name="Freeform 49"/>
            <p:cNvSpPr/>
            <p:nvPr/>
          </p:nvSpPr>
          <p:spPr bwMode="auto">
            <a:xfrm flipH="1">
              <a:off x="2565074" y="2374875"/>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grpSp>
    </p:spTree>
    <p:extLst>
      <p:ext uri="{BB962C8B-B14F-4D97-AF65-F5344CB8AC3E}">
        <p14:creationId xmlns:p14="http://schemas.microsoft.com/office/powerpoint/2010/main" val="846510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Business is being transformed by three trends</a:t>
            </a:r>
          </a:p>
        </p:txBody>
      </p:sp>
      <p:grpSp>
        <p:nvGrpSpPr>
          <p:cNvPr id="25" name="Group 24"/>
          <p:cNvGrpSpPr/>
          <p:nvPr/>
        </p:nvGrpSpPr>
        <p:grpSpPr>
          <a:xfrm>
            <a:off x="8976952" y="2360210"/>
            <a:ext cx="2125903" cy="2917228"/>
            <a:chOff x="8976952" y="2360210"/>
            <a:chExt cx="2125903" cy="2917228"/>
          </a:xfrm>
        </p:grpSpPr>
        <p:sp>
          <p:nvSpPr>
            <p:cNvPr id="26" name="Rectangle 25"/>
            <p:cNvSpPr/>
            <p:nvPr/>
          </p:nvSpPr>
          <p:spPr>
            <a:xfrm>
              <a:off x="8976952" y="4692663"/>
              <a:ext cx="2125903" cy="584775"/>
            </a:xfrm>
            <a:prstGeom prst="rect">
              <a:avLst/>
            </a:prstGeom>
          </p:spPr>
          <p:txBody>
            <a:bodyPr wrap="none" lIns="0" tIns="0" rIns="0" bIns="0">
              <a:noAutofit/>
            </a:bodyPr>
            <a:lstStyle/>
            <a:p>
              <a:pPr lvl="0" algn="ctr"/>
              <a:r>
                <a:rPr lang="en-US" sz="3200" dirty="0">
                  <a:solidFill>
                    <a:schemeClr val="bg1"/>
                  </a:solidFill>
                  <a:latin typeface="Segoe UI Light"/>
                </a:rPr>
                <a:t>Intelligence</a:t>
              </a:r>
            </a:p>
          </p:txBody>
        </p:sp>
        <p:grpSp>
          <p:nvGrpSpPr>
            <p:cNvPr id="27" name="Group 26"/>
            <p:cNvGrpSpPr/>
            <p:nvPr/>
          </p:nvGrpSpPr>
          <p:grpSpPr>
            <a:xfrm>
              <a:off x="9346084" y="2360210"/>
              <a:ext cx="1386591" cy="2042624"/>
              <a:chOff x="6692900" y="2905126"/>
              <a:chExt cx="2097088" cy="3089275"/>
            </a:xfrm>
          </p:grpSpPr>
          <p:sp>
            <p:nvSpPr>
              <p:cNvPr id="28" name="Freeform 7"/>
              <p:cNvSpPr>
                <a:spLocks/>
              </p:cNvSpPr>
              <p:nvPr/>
            </p:nvSpPr>
            <p:spPr bwMode="auto">
              <a:xfrm>
                <a:off x="6692900" y="2905126"/>
                <a:ext cx="2097088" cy="2198688"/>
              </a:xfrm>
              <a:custGeom>
                <a:avLst/>
                <a:gdLst>
                  <a:gd name="T0" fmla="*/ 44 w 186"/>
                  <a:gd name="T1" fmla="*/ 173 h 195"/>
                  <a:gd name="T2" fmla="*/ 44 w 186"/>
                  <a:gd name="T3" fmla="*/ 195 h 195"/>
                  <a:gd name="T4" fmla="*/ 142 w 186"/>
                  <a:gd name="T5" fmla="*/ 195 h 195"/>
                  <a:gd name="T6" fmla="*/ 142 w 186"/>
                  <a:gd name="T7" fmla="*/ 172 h 195"/>
                  <a:gd name="T8" fmla="*/ 186 w 186"/>
                  <a:gd name="T9" fmla="*/ 93 h 195"/>
                  <a:gd name="T10" fmla="*/ 93 w 186"/>
                  <a:gd name="T11" fmla="*/ 0 h 195"/>
                  <a:gd name="T12" fmla="*/ 0 w 186"/>
                  <a:gd name="T13" fmla="*/ 93 h 195"/>
                  <a:gd name="T14" fmla="*/ 44 w 186"/>
                  <a:gd name="T15" fmla="*/ 173 h 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195">
                    <a:moveTo>
                      <a:pt x="44" y="173"/>
                    </a:moveTo>
                    <a:cubicBezTo>
                      <a:pt x="44" y="195"/>
                      <a:pt x="44" y="195"/>
                      <a:pt x="44" y="195"/>
                    </a:cubicBezTo>
                    <a:cubicBezTo>
                      <a:pt x="142" y="195"/>
                      <a:pt x="142" y="195"/>
                      <a:pt x="142" y="195"/>
                    </a:cubicBezTo>
                    <a:cubicBezTo>
                      <a:pt x="142" y="172"/>
                      <a:pt x="142" y="172"/>
                      <a:pt x="142" y="172"/>
                    </a:cubicBezTo>
                    <a:cubicBezTo>
                      <a:pt x="168" y="156"/>
                      <a:pt x="186" y="126"/>
                      <a:pt x="186" y="93"/>
                    </a:cubicBezTo>
                    <a:cubicBezTo>
                      <a:pt x="186" y="41"/>
                      <a:pt x="144" y="0"/>
                      <a:pt x="93" y="0"/>
                    </a:cubicBezTo>
                    <a:cubicBezTo>
                      <a:pt x="42" y="0"/>
                      <a:pt x="0" y="41"/>
                      <a:pt x="0" y="93"/>
                    </a:cubicBezTo>
                    <a:cubicBezTo>
                      <a:pt x="0" y="126"/>
                      <a:pt x="18" y="156"/>
                      <a:pt x="44" y="173"/>
                    </a:cubicBezTo>
                    <a:close/>
                  </a:path>
                </a:pathLst>
              </a:cu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29" name="Line 8"/>
              <p:cNvSpPr>
                <a:spLocks noChangeShapeType="1"/>
              </p:cNvSpPr>
              <p:nvPr/>
            </p:nvSpPr>
            <p:spPr bwMode="auto">
              <a:xfrm flipH="1" flipV="1">
                <a:off x="7392988" y="4100513"/>
                <a:ext cx="146050" cy="1003300"/>
              </a:xfrm>
              <a:prstGeom prst="line">
                <a:avLst/>
              </a:prstGeom>
              <a:noFill/>
              <a:ln w="28575"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30" name="Line 9"/>
              <p:cNvSpPr>
                <a:spLocks noChangeShapeType="1"/>
              </p:cNvSpPr>
              <p:nvPr/>
            </p:nvSpPr>
            <p:spPr bwMode="auto">
              <a:xfrm flipV="1">
                <a:off x="7943850" y="4100513"/>
                <a:ext cx="147638" cy="1003300"/>
              </a:xfrm>
              <a:prstGeom prst="line">
                <a:avLst/>
              </a:prstGeom>
              <a:noFill/>
              <a:ln w="28575"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31" name="Rectangle 11"/>
              <p:cNvSpPr>
                <a:spLocks noChangeArrowheads="1"/>
              </p:cNvSpPr>
              <p:nvPr/>
            </p:nvSpPr>
            <p:spPr bwMode="auto">
              <a:xfrm>
                <a:off x="7189788" y="5103813"/>
                <a:ext cx="1104900" cy="292100"/>
              </a:xfrm>
              <a:prstGeom prst="rect">
                <a:avLst/>
              </a:pr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34" name="Rectangle 12"/>
              <p:cNvSpPr>
                <a:spLocks noChangeArrowheads="1"/>
              </p:cNvSpPr>
              <p:nvPr/>
            </p:nvSpPr>
            <p:spPr bwMode="auto">
              <a:xfrm>
                <a:off x="7291388" y="5395913"/>
                <a:ext cx="901700" cy="304800"/>
              </a:xfrm>
              <a:prstGeom prst="rect">
                <a:avLst/>
              </a:pr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35" name="Rectangle 13"/>
              <p:cNvSpPr>
                <a:spLocks noChangeArrowheads="1"/>
              </p:cNvSpPr>
              <p:nvPr/>
            </p:nvSpPr>
            <p:spPr bwMode="auto">
              <a:xfrm>
                <a:off x="7392988" y="5700713"/>
                <a:ext cx="698500" cy="293688"/>
              </a:xfrm>
              <a:prstGeom prst="rect">
                <a:avLst/>
              </a:pr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36" name="Freeform 10"/>
              <p:cNvSpPr>
                <a:spLocks/>
              </p:cNvSpPr>
              <p:nvPr/>
            </p:nvSpPr>
            <p:spPr bwMode="auto">
              <a:xfrm>
                <a:off x="7392988" y="4127264"/>
                <a:ext cx="698500" cy="146050"/>
              </a:xfrm>
              <a:custGeom>
                <a:avLst/>
                <a:gdLst>
                  <a:gd name="T0" fmla="*/ 0 w 440"/>
                  <a:gd name="T1" fmla="*/ 0 h 92"/>
                  <a:gd name="T2" fmla="*/ 127 w 440"/>
                  <a:gd name="T3" fmla="*/ 92 h 92"/>
                  <a:gd name="T4" fmla="*/ 220 w 440"/>
                  <a:gd name="T5" fmla="*/ 0 h 92"/>
                  <a:gd name="T6" fmla="*/ 312 w 440"/>
                  <a:gd name="T7" fmla="*/ 92 h 92"/>
                  <a:gd name="T8" fmla="*/ 440 w 440"/>
                  <a:gd name="T9" fmla="*/ 0 h 92"/>
                </a:gdLst>
                <a:ahLst/>
                <a:cxnLst>
                  <a:cxn ang="0">
                    <a:pos x="T0" y="T1"/>
                  </a:cxn>
                  <a:cxn ang="0">
                    <a:pos x="T2" y="T3"/>
                  </a:cxn>
                  <a:cxn ang="0">
                    <a:pos x="T4" y="T5"/>
                  </a:cxn>
                  <a:cxn ang="0">
                    <a:pos x="T6" y="T7"/>
                  </a:cxn>
                  <a:cxn ang="0">
                    <a:pos x="T8" y="T9"/>
                  </a:cxn>
                </a:cxnLst>
                <a:rect l="0" t="0" r="r" b="b"/>
                <a:pathLst>
                  <a:path w="440" h="92">
                    <a:moveTo>
                      <a:pt x="0" y="0"/>
                    </a:moveTo>
                    <a:lnTo>
                      <a:pt x="127" y="92"/>
                    </a:lnTo>
                    <a:lnTo>
                      <a:pt x="220" y="0"/>
                    </a:lnTo>
                    <a:lnTo>
                      <a:pt x="312" y="92"/>
                    </a:lnTo>
                    <a:lnTo>
                      <a:pt x="440" y="0"/>
                    </a:lnTo>
                  </a:path>
                </a:pathLst>
              </a:custGeom>
              <a:noFill/>
              <a:ln w="2857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grpSp>
      </p:grpSp>
      <p:grpSp>
        <p:nvGrpSpPr>
          <p:cNvPr id="37" name="Group 36"/>
          <p:cNvGrpSpPr/>
          <p:nvPr/>
        </p:nvGrpSpPr>
        <p:grpSpPr>
          <a:xfrm>
            <a:off x="4612197" y="2537935"/>
            <a:ext cx="3209924" cy="2739503"/>
            <a:chOff x="4612197" y="2537935"/>
            <a:chExt cx="3209924" cy="2739503"/>
          </a:xfrm>
        </p:grpSpPr>
        <p:sp>
          <p:nvSpPr>
            <p:cNvPr id="38" name="Rectangle 37"/>
            <p:cNvSpPr/>
            <p:nvPr/>
          </p:nvSpPr>
          <p:spPr>
            <a:xfrm>
              <a:off x="5587665" y="4692663"/>
              <a:ext cx="1204176" cy="584775"/>
            </a:xfrm>
            <a:prstGeom prst="rect">
              <a:avLst/>
            </a:prstGeom>
          </p:spPr>
          <p:txBody>
            <a:bodyPr wrap="none" lIns="0" tIns="0" rIns="0" bIns="0">
              <a:noAutofit/>
            </a:bodyPr>
            <a:lstStyle/>
            <a:p>
              <a:pPr lvl="0" algn="ctr"/>
              <a:r>
                <a:rPr lang="en-US" sz="3200" dirty="0">
                  <a:solidFill>
                    <a:schemeClr val="bg1"/>
                  </a:solidFill>
                  <a:latin typeface="Segoe UI Light"/>
                </a:rPr>
                <a:t>Cloud</a:t>
              </a:r>
            </a:p>
          </p:txBody>
        </p:sp>
        <p:grpSp>
          <p:nvGrpSpPr>
            <p:cNvPr id="39" name="Group 38"/>
            <p:cNvGrpSpPr/>
            <p:nvPr/>
          </p:nvGrpSpPr>
          <p:grpSpPr>
            <a:xfrm>
              <a:off x="4612197" y="2537935"/>
              <a:ext cx="3209924" cy="1864899"/>
              <a:chOff x="4410076" y="2328864"/>
              <a:chExt cx="3371850" cy="1958975"/>
            </a:xfrm>
          </p:grpSpPr>
          <p:sp>
            <p:nvSpPr>
              <p:cNvPr id="40" name="Freeform 30"/>
              <p:cNvSpPr>
                <a:spLocks/>
              </p:cNvSpPr>
              <p:nvPr/>
            </p:nvSpPr>
            <p:spPr bwMode="auto">
              <a:xfrm>
                <a:off x="4410076" y="2328864"/>
                <a:ext cx="3371850" cy="1958975"/>
              </a:xfrm>
              <a:custGeom>
                <a:avLst/>
                <a:gdLst>
                  <a:gd name="T0" fmla="*/ 270 w 419"/>
                  <a:gd name="T1" fmla="*/ 243 h 243"/>
                  <a:gd name="T2" fmla="*/ 365 w 419"/>
                  <a:gd name="T3" fmla="*/ 243 h 243"/>
                  <a:gd name="T4" fmla="*/ 419 w 419"/>
                  <a:gd name="T5" fmla="*/ 189 h 243"/>
                  <a:gd name="T6" fmla="*/ 365 w 419"/>
                  <a:gd name="T7" fmla="*/ 135 h 243"/>
                  <a:gd name="T8" fmla="*/ 224 w 419"/>
                  <a:gd name="T9" fmla="*/ 0 h 243"/>
                  <a:gd name="T10" fmla="*/ 81 w 419"/>
                  <a:gd name="T11" fmla="*/ 108 h 243"/>
                  <a:gd name="T12" fmla="*/ 70 w 419"/>
                  <a:gd name="T13" fmla="*/ 108 h 243"/>
                  <a:gd name="T14" fmla="*/ 0 w 419"/>
                  <a:gd name="T15" fmla="*/ 175 h 243"/>
                  <a:gd name="T16" fmla="*/ 68 w 419"/>
                  <a:gd name="T17" fmla="*/ 243 h 243"/>
                  <a:gd name="T18" fmla="*/ 270 w 419"/>
                  <a:gd name="T19"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9" h="243">
                    <a:moveTo>
                      <a:pt x="270" y="243"/>
                    </a:moveTo>
                    <a:cubicBezTo>
                      <a:pt x="365" y="243"/>
                      <a:pt x="365" y="243"/>
                      <a:pt x="365" y="243"/>
                    </a:cubicBezTo>
                    <a:cubicBezTo>
                      <a:pt x="396" y="243"/>
                      <a:pt x="419" y="218"/>
                      <a:pt x="419" y="189"/>
                    </a:cubicBezTo>
                    <a:cubicBezTo>
                      <a:pt x="419" y="159"/>
                      <a:pt x="396" y="135"/>
                      <a:pt x="365" y="135"/>
                    </a:cubicBezTo>
                    <a:cubicBezTo>
                      <a:pt x="365" y="60"/>
                      <a:pt x="301" y="0"/>
                      <a:pt x="224" y="0"/>
                    </a:cubicBezTo>
                    <a:cubicBezTo>
                      <a:pt x="155" y="0"/>
                      <a:pt x="94" y="45"/>
                      <a:pt x="81" y="108"/>
                    </a:cubicBezTo>
                    <a:cubicBezTo>
                      <a:pt x="81" y="108"/>
                      <a:pt x="76" y="108"/>
                      <a:pt x="70" y="108"/>
                    </a:cubicBezTo>
                    <a:cubicBezTo>
                      <a:pt x="32" y="108"/>
                      <a:pt x="0" y="138"/>
                      <a:pt x="0" y="175"/>
                    </a:cubicBezTo>
                    <a:cubicBezTo>
                      <a:pt x="0" y="212"/>
                      <a:pt x="29" y="243"/>
                      <a:pt x="68" y="243"/>
                    </a:cubicBezTo>
                    <a:cubicBezTo>
                      <a:pt x="270" y="243"/>
                      <a:pt x="270" y="243"/>
                      <a:pt x="270" y="243"/>
                    </a:cubicBezTo>
                  </a:path>
                </a:pathLst>
              </a:cu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61" name="Group 60"/>
              <p:cNvGrpSpPr/>
              <p:nvPr/>
            </p:nvGrpSpPr>
            <p:grpSpPr>
              <a:xfrm>
                <a:off x="5665789" y="2981327"/>
                <a:ext cx="868363" cy="1089025"/>
                <a:chOff x="5665789" y="2981327"/>
                <a:chExt cx="868363" cy="1089025"/>
              </a:xfrm>
            </p:grpSpPr>
            <p:sp>
              <p:nvSpPr>
                <p:cNvPr id="62" name="Freeform 31"/>
                <p:cNvSpPr>
                  <a:spLocks/>
                </p:cNvSpPr>
                <p:nvPr/>
              </p:nvSpPr>
              <p:spPr bwMode="auto">
                <a:xfrm>
                  <a:off x="5665789" y="2981327"/>
                  <a:ext cx="868363" cy="436563"/>
                </a:xfrm>
                <a:custGeom>
                  <a:avLst/>
                  <a:gdLst>
                    <a:gd name="T0" fmla="*/ 0 w 547"/>
                    <a:gd name="T1" fmla="*/ 275 h 275"/>
                    <a:gd name="T2" fmla="*/ 273 w 547"/>
                    <a:gd name="T3" fmla="*/ 0 h 275"/>
                    <a:gd name="T4" fmla="*/ 547 w 547"/>
                    <a:gd name="T5" fmla="*/ 275 h 275"/>
                  </a:gdLst>
                  <a:ahLst/>
                  <a:cxnLst>
                    <a:cxn ang="0">
                      <a:pos x="T0" y="T1"/>
                    </a:cxn>
                    <a:cxn ang="0">
                      <a:pos x="T2" y="T3"/>
                    </a:cxn>
                    <a:cxn ang="0">
                      <a:pos x="T4" y="T5"/>
                    </a:cxn>
                  </a:cxnLst>
                  <a:rect l="0" t="0" r="r" b="b"/>
                  <a:pathLst>
                    <a:path w="547" h="275">
                      <a:moveTo>
                        <a:pt x="0" y="275"/>
                      </a:moveTo>
                      <a:lnTo>
                        <a:pt x="273" y="0"/>
                      </a:lnTo>
                      <a:lnTo>
                        <a:pt x="547" y="275"/>
                      </a:lnTo>
                    </a:path>
                  </a:pathLst>
                </a:custGeom>
                <a:noFill/>
                <a:ln w="28575" cap="flat">
                  <a:solidFill>
                    <a:srgbClr val="002050"/>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 name="Line 32"/>
                <p:cNvSpPr>
                  <a:spLocks noChangeShapeType="1"/>
                </p:cNvSpPr>
                <p:nvPr/>
              </p:nvSpPr>
              <p:spPr bwMode="auto">
                <a:xfrm>
                  <a:off x="6099176" y="2981327"/>
                  <a:ext cx="0" cy="1089025"/>
                </a:xfrm>
                <a:prstGeom prst="line">
                  <a:avLst/>
                </a:prstGeom>
                <a:noFill/>
                <a:ln w="28575"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64" name="Group 63"/>
          <p:cNvGrpSpPr/>
          <p:nvPr/>
        </p:nvGrpSpPr>
        <p:grpSpPr>
          <a:xfrm>
            <a:off x="1089145" y="2432911"/>
            <a:ext cx="1963327" cy="2844527"/>
            <a:chOff x="1089145" y="2432911"/>
            <a:chExt cx="1963327" cy="2844527"/>
          </a:xfrm>
        </p:grpSpPr>
        <p:sp>
          <p:nvSpPr>
            <p:cNvPr id="65" name="Rectangle 64"/>
            <p:cNvSpPr/>
            <p:nvPr/>
          </p:nvSpPr>
          <p:spPr>
            <a:xfrm>
              <a:off x="1208754" y="4692663"/>
              <a:ext cx="1640193" cy="584775"/>
            </a:xfrm>
            <a:prstGeom prst="rect">
              <a:avLst/>
            </a:prstGeom>
          </p:spPr>
          <p:txBody>
            <a:bodyPr wrap="none" lIns="0" tIns="0" rIns="0" bIns="0">
              <a:noAutofit/>
            </a:bodyPr>
            <a:lstStyle/>
            <a:p>
              <a:pPr lvl="0" algn="ctr"/>
              <a:r>
                <a:rPr lang="en-US" sz="3200" dirty="0">
                  <a:solidFill>
                    <a:schemeClr val="bg1"/>
                  </a:solidFill>
                  <a:latin typeface="Segoe UI Light"/>
                </a:rPr>
                <a:t>Big Data</a:t>
              </a:r>
            </a:p>
          </p:txBody>
        </p:sp>
        <p:grpSp>
          <p:nvGrpSpPr>
            <p:cNvPr id="66" name="Group 16"/>
            <p:cNvGrpSpPr>
              <a:grpSpLocks noChangeAspect="1"/>
            </p:cNvGrpSpPr>
            <p:nvPr/>
          </p:nvGrpSpPr>
          <p:grpSpPr bwMode="auto">
            <a:xfrm>
              <a:off x="1089145" y="2432911"/>
              <a:ext cx="1963327" cy="1968500"/>
              <a:chOff x="409" y="817"/>
              <a:chExt cx="2657" cy="2664"/>
            </a:xfrm>
          </p:grpSpPr>
          <p:sp>
            <p:nvSpPr>
              <p:cNvPr id="80" name="Oval 17"/>
              <p:cNvSpPr>
                <a:spLocks noChangeArrowheads="1"/>
              </p:cNvSpPr>
              <p:nvPr/>
            </p:nvSpPr>
            <p:spPr bwMode="auto">
              <a:xfrm>
                <a:off x="2036" y="817"/>
                <a:ext cx="1030" cy="1030"/>
              </a:xfrm>
              <a:prstGeom prst="ellipse">
                <a:avLst/>
              </a:prstGeom>
              <a:noFill/>
              <a:ln w="2857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81" name="Oval 18"/>
              <p:cNvSpPr>
                <a:spLocks noChangeArrowheads="1"/>
              </p:cNvSpPr>
              <p:nvPr/>
            </p:nvSpPr>
            <p:spPr bwMode="auto">
              <a:xfrm>
                <a:off x="409" y="2153"/>
                <a:ext cx="860" cy="859"/>
              </a:xfrm>
              <a:prstGeom prst="ellipse">
                <a:avLst/>
              </a:pr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82" name="Oval 19"/>
              <p:cNvSpPr>
                <a:spLocks noChangeArrowheads="1"/>
              </p:cNvSpPr>
              <p:nvPr/>
            </p:nvSpPr>
            <p:spPr bwMode="auto">
              <a:xfrm>
                <a:off x="2078" y="2792"/>
                <a:ext cx="689" cy="689"/>
              </a:xfrm>
              <a:prstGeom prst="ellipse">
                <a:avLst/>
              </a:pr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83" name="Line 20"/>
              <p:cNvSpPr>
                <a:spLocks noChangeShapeType="1"/>
              </p:cNvSpPr>
              <p:nvPr/>
            </p:nvSpPr>
            <p:spPr bwMode="auto">
              <a:xfrm flipH="1" flipV="1">
                <a:off x="1219" y="2749"/>
                <a:ext cx="859" cy="348"/>
              </a:xfrm>
              <a:prstGeom prst="line">
                <a:avLst/>
              </a:prstGeom>
              <a:noFill/>
              <a:ln w="28575"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84" name="Line 21"/>
              <p:cNvSpPr>
                <a:spLocks noChangeShapeType="1"/>
              </p:cNvSpPr>
              <p:nvPr/>
            </p:nvSpPr>
            <p:spPr bwMode="auto">
              <a:xfrm flipV="1">
                <a:off x="1176" y="1677"/>
                <a:ext cx="945" cy="603"/>
              </a:xfrm>
              <a:prstGeom prst="line">
                <a:avLst/>
              </a:prstGeom>
              <a:noFill/>
              <a:ln w="28575"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grpSp>
        <p:grpSp>
          <p:nvGrpSpPr>
            <p:cNvPr id="67" name="Group 66"/>
            <p:cNvGrpSpPr/>
            <p:nvPr/>
          </p:nvGrpSpPr>
          <p:grpSpPr>
            <a:xfrm>
              <a:off x="2361582" y="2545600"/>
              <a:ext cx="607986" cy="522788"/>
              <a:chOff x="1809120" y="2381553"/>
              <a:chExt cx="726560" cy="624745"/>
            </a:xfrm>
            <a:solidFill>
              <a:schemeClr val="accent1"/>
            </a:solidFill>
          </p:grpSpPr>
          <p:sp>
            <p:nvSpPr>
              <p:cNvPr id="68" name="Freeform 49"/>
              <p:cNvSpPr>
                <a:spLocks/>
              </p:cNvSpPr>
              <p:nvPr/>
            </p:nvSpPr>
            <p:spPr bwMode="auto">
              <a:xfrm>
                <a:off x="1832467" y="2381553"/>
                <a:ext cx="52531" cy="116737"/>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6 h 80"/>
                  <a:gd name="T14" fmla="*/ 0 w 36"/>
                  <a:gd name="T15" fmla="*/ 20 h 80"/>
                  <a:gd name="T16" fmla="*/ 0 w 36"/>
                  <a:gd name="T17" fmla="*/ 34 h 80"/>
                  <a:gd name="T18" fmla="*/ 0 w 36"/>
                  <a:gd name="T19" fmla="*/ 34 h 80"/>
                  <a:gd name="T20" fmla="*/ 12 w 36"/>
                  <a:gd name="T21" fmla="*/ 28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6"/>
                    </a:lnTo>
                    <a:lnTo>
                      <a:pt x="0" y="20"/>
                    </a:lnTo>
                    <a:lnTo>
                      <a:pt x="0" y="34"/>
                    </a:lnTo>
                    <a:lnTo>
                      <a:pt x="0" y="34"/>
                    </a:lnTo>
                    <a:lnTo>
                      <a:pt x="12" y="28"/>
                    </a:lnTo>
                    <a:lnTo>
                      <a:pt x="20" y="22"/>
                    </a:lnTo>
                    <a:lnTo>
                      <a:pt x="20" y="80"/>
                    </a:lnTo>
                    <a:lnTo>
                      <a:pt x="36" y="80"/>
                    </a:lnTo>
                    <a:lnTo>
                      <a:pt x="36" y="0"/>
                    </a:lnTo>
                    <a:lnTo>
                      <a:pt x="36" y="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69" name="Freeform 50"/>
              <p:cNvSpPr>
                <a:spLocks noEditPoints="1"/>
              </p:cNvSpPr>
              <p:nvPr/>
            </p:nvSpPr>
            <p:spPr bwMode="auto">
              <a:xfrm>
                <a:off x="2019117" y="2381553"/>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0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0"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70" name="Freeform 51"/>
              <p:cNvSpPr>
                <a:spLocks/>
              </p:cNvSpPr>
              <p:nvPr/>
            </p:nvSpPr>
            <p:spPr bwMode="auto">
              <a:xfrm>
                <a:off x="2246754" y="2381553"/>
                <a:ext cx="49613" cy="116737"/>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71" name="Freeform 52"/>
              <p:cNvSpPr>
                <a:spLocks noEditPoints="1"/>
              </p:cNvSpPr>
              <p:nvPr/>
            </p:nvSpPr>
            <p:spPr bwMode="auto">
              <a:xfrm>
                <a:off x="2459800" y="2381553"/>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2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2"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72" name="Freeform 21"/>
              <p:cNvSpPr>
                <a:spLocks noEditPoints="1"/>
              </p:cNvSpPr>
              <p:nvPr/>
            </p:nvSpPr>
            <p:spPr bwMode="auto">
              <a:xfrm>
                <a:off x="1809120" y="2631326"/>
                <a:ext cx="75880" cy="119656"/>
              </a:xfrm>
              <a:custGeom>
                <a:avLst/>
                <a:gdLst>
                  <a:gd name="T0" fmla="*/ 8 w 52"/>
                  <a:gd name="T1" fmla="*/ 8 h 82"/>
                  <a:gd name="T2" fmla="*/ 8 w 52"/>
                  <a:gd name="T3" fmla="*/ 8 h 82"/>
                  <a:gd name="T4" fmla="*/ 6 w 52"/>
                  <a:gd name="T5" fmla="*/ 14 h 82"/>
                  <a:gd name="T6" fmla="*/ 2 w 52"/>
                  <a:gd name="T7" fmla="*/ 20 h 82"/>
                  <a:gd name="T8" fmla="*/ 0 w 52"/>
                  <a:gd name="T9" fmla="*/ 40 h 82"/>
                  <a:gd name="T10" fmla="*/ 0 w 52"/>
                  <a:gd name="T11" fmla="*/ 40 h 82"/>
                  <a:gd name="T12" fmla="*/ 2 w 52"/>
                  <a:gd name="T13" fmla="*/ 60 h 82"/>
                  <a:gd name="T14" fmla="*/ 4 w 52"/>
                  <a:gd name="T15" fmla="*/ 68 h 82"/>
                  <a:gd name="T16" fmla="*/ 8 w 52"/>
                  <a:gd name="T17" fmla="*/ 72 h 82"/>
                  <a:gd name="T18" fmla="*/ 8 w 52"/>
                  <a:gd name="T19" fmla="*/ 72 h 82"/>
                  <a:gd name="T20" fmla="*/ 12 w 52"/>
                  <a:gd name="T21" fmla="*/ 76 h 82"/>
                  <a:gd name="T22" fmla="*/ 16 w 52"/>
                  <a:gd name="T23" fmla="*/ 80 h 82"/>
                  <a:gd name="T24" fmla="*/ 22 w 52"/>
                  <a:gd name="T25" fmla="*/ 80 h 82"/>
                  <a:gd name="T26" fmla="*/ 26 w 52"/>
                  <a:gd name="T27" fmla="*/ 82 h 82"/>
                  <a:gd name="T28" fmla="*/ 26 w 52"/>
                  <a:gd name="T29" fmla="*/ 82 h 82"/>
                  <a:gd name="T30" fmla="*/ 38 w 52"/>
                  <a:gd name="T31" fmla="*/ 80 h 82"/>
                  <a:gd name="T32" fmla="*/ 42 w 52"/>
                  <a:gd name="T33" fmla="*/ 76 h 82"/>
                  <a:gd name="T34" fmla="*/ 44 w 52"/>
                  <a:gd name="T35" fmla="*/ 74 h 82"/>
                  <a:gd name="T36" fmla="*/ 44 w 52"/>
                  <a:gd name="T37" fmla="*/ 74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6 w 52"/>
                  <a:gd name="T51" fmla="*/ 8 h 82"/>
                  <a:gd name="T52" fmla="*/ 46 w 52"/>
                  <a:gd name="T53" fmla="*/ 8 h 82"/>
                  <a:gd name="T54" fmla="*/ 42 w 52"/>
                  <a:gd name="T55" fmla="*/ 4 h 82"/>
                  <a:gd name="T56" fmla="*/ 38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6 w 52"/>
                  <a:gd name="T77" fmla="*/ 22 h 82"/>
                  <a:gd name="T78" fmla="*/ 36 w 52"/>
                  <a:gd name="T79" fmla="*/ 22 h 82"/>
                  <a:gd name="T80" fmla="*/ 36 w 52"/>
                  <a:gd name="T81" fmla="*/ 40 h 82"/>
                  <a:gd name="T82" fmla="*/ 36 w 52"/>
                  <a:gd name="T83" fmla="*/ 40 h 82"/>
                  <a:gd name="T84" fmla="*/ 36 w 52"/>
                  <a:gd name="T85" fmla="*/ 60 h 82"/>
                  <a:gd name="T86" fmla="*/ 36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6" y="82"/>
                    </a:lnTo>
                    <a:lnTo>
                      <a:pt x="26" y="82"/>
                    </a:lnTo>
                    <a:lnTo>
                      <a:pt x="38" y="80"/>
                    </a:lnTo>
                    <a:lnTo>
                      <a:pt x="42" y="76"/>
                    </a:lnTo>
                    <a:lnTo>
                      <a:pt x="44" y="74"/>
                    </a:lnTo>
                    <a:lnTo>
                      <a:pt x="44" y="74"/>
                    </a:lnTo>
                    <a:lnTo>
                      <a:pt x="48" y="68"/>
                    </a:lnTo>
                    <a:lnTo>
                      <a:pt x="50" y="60"/>
                    </a:lnTo>
                    <a:lnTo>
                      <a:pt x="52" y="40"/>
                    </a:lnTo>
                    <a:lnTo>
                      <a:pt x="52" y="40"/>
                    </a:lnTo>
                    <a:lnTo>
                      <a:pt x="50" y="20"/>
                    </a:lnTo>
                    <a:lnTo>
                      <a:pt x="48" y="14"/>
                    </a:lnTo>
                    <a:lnTo>
                      <a:pt x="46" y="8"/>
                    </a:lnTo>
                    <a:lnTo>
                      <a:pt x="46" y="8"/>
                    </a:lnTo>
                    <a:lnTo>
                      <a:pt x="42" y="4"/>
                    </a:lnTo>
                    <a:lnTo>
                      <a:pt x="38" y="2"/>
                    </a:lnTo>
                    <a:lnTo>
                      <a:pt x="26" y="0"/>
                    </a:lnTo>
                    <a:lnTo>
                      <a:pt x="26" y="0"/>
                    </a:lnTo>
                    <a:lnTo>
                      <a:pt x="16" y="2"/>
                    </a:lnTo>
                    <a:lnTo>
                      <a:pt x="12" y="4"/>
                    </a:lnTo>
                    <a:lnTo>
                      <a:pt x="8" y="8"/>
                    </a:lnTo>
                    <a:lnTo>
                      <a:pt x="8" y="8"/>
                    </a:lnTo>
                    <a:lnTo>
                      <a:pt x="8" y="8"/>
                    </a:lnTo>
                    <a:close/>
                    <a:moveTo>
                      <a:pt x="32" y="14"/>
                    </a:moveTo>
                    <a:lnTo>
                      <a:pt x="32" y="14"/>
                    </a:lnTo>
                    <a:lnTo>
                      <a:pt x="36" y="22"/>
                    </a:lnTo>
                    <a:lnTo>
                      <a:pt x="36" y="22"/>
                    </a:lnTo>
                    <a:lnTo>
                      <a:pt x="36" y="40"/>
                    </a:lnTo>
                    <a:lnTo>
                      <a:pt x="36" y="40"/>
                    </a:lnTo>
                    <a:lnTo>
                      <a:pt x="36" y="60"/>
                    </a:lnTo>
                    <a:lnTo>
                      <a:pt x="36"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73" name="Freeform 22"/>
              <p:cNvSpPr>
                <a:spLocks/>
              </p:cNvSpPr>
              <p:nvPr/>
            </p:nvSpPr>
            <p:spPr bwMode="auto">
              <a:xfrm>
                <a:off x="2036759" y="2631326"/>
                <a:ext cx="49613" cy="116737"/>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8 h 80"/>
                  <a:gd name="T14" fmla="*/ 0 w 34"/>
                  <a:gd name="T15" fmla="*/ 20 h 80"/>
                  <a:gd name="T16" fmla="*/ 0 w 34"/>
                  <a:gd name="T17" fmla="*/ 34 h 80"/>
                  <a:gd name="T18" fmla="*/ 0 w 34"/>
                  <a:gd name="T19" fmla="*/ 34 h 80"/>
                  <a:gd name="T20" fmla="*/ 10 w 34"/>
                  <a:gd name="T21" fmla="*/ 30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8"/>
                    </a:lnTo>
                    <a:lnTo>
                      <a:pt x="0" y="20"/>
                    </a:lnTo>
                    <a:lnTo>
                      <a:pt x="0" y="34"/>
                    </a:lnTo>
                    <a:lnTo>
                      <a:pt x="0" y="34"/>
                    </a:lnTo>
                    <a:lnTo>
                      <a:pt x="10" y="30"/>
                    </a:lnTo>
                    <a:lnTo>
                      <a:pt x="20" y="22"/>
                    </a:lnTo>
                    <a:lnTo>
                      <a:pt x="20" y="80"/>
                    </a:lnTo>
                    <a:lnTo>
                      <a:pt x="34" y="80"/>
                    </a:lnTo>
                    <a:lnTo>
                      <a:pt x="34" y="0"/>
                    </a:lnTo>
                    <a:lnTo>
                      <a:pt x="34" y="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74" name="Freeform 23"/>
              <p:cNvSpPr>
                <a:spLocks noEditPoints="1"/>
              </p:cNvSpPr>
              <p:nvPr/>
            </p:nvSpPr>
            <p:spPr bwMode="auto">
              <a:xfrm>
                <a:off x="2249804" y="2631326"/>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8 h 82"/>
                  <a:gd name="T16" fmla="*/ 6 w 52"/>
                  <a:gd name="T17" fmla="*/ 72 h 82"/>
                  <a:gd name="T18" fmla="*/ 6 w 52"/>
                  <a:gd name="T19" fmla="*/ 72 h 82"/>
                  <a:gd name="T20" fmla="*/ 10 w 52"/>
                  <a:gd name="T21" fmla="*/ 76 h 82"/>
                  <a:gd name="T22" fmla="*/ 16 w 52"/>
                  <a:gd name="T23" fmla="*/ 80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4 h 82"/>
                  <a:gd name="T36" fmla="*/ 44 w 52"/>
                  <a:gd name="T37" fmla="*/ 74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0 w 52"/>
                  <a:gd name="T73" fmla="*/ 14 h 82"/>
                  <a:gd name="T74" fmla="*/ 30 w 52"/>
                  <a:gd name="T75" fmla="*/ 14 h 82"/>
                  <a:gd name="T76" fmla="*/ 34 w 52"/>
                  <a:gd name="T77" fmla="*/ 22 h 82"/>
                  <a:gd name="T78" fmla="*/ 34 w 52"/>
                  <a:gd name="T79" fmla="*/ 22 h 82"/>
                  <a:gd name="T80" fmla="*/ 36 w 52"/>
                  <a:gd name="T81" fmla="*/ 40 h 82"/>
                  <a:gd name="T82" fmla="*/ 36 w 52"/>
                  <a:gd name="T83" fmla="*/ 40 h 82"/>
                  <a:gd name="T84" fmla="*/ 34 w 52"/>
                  <a:gd name="T85" fmla="*/ 60 h 82"/>
                  <a:gd name="T86" fmla="*/ 34 w 52"/>
                  <a:gd name="T87" fmla="*/ 60 h 82"/>
                  <a:gd name="T88" fmla="*/ 30 w 52"/>
                  <a:gd name="T89" fmla="*/ 66 h 82"/>
                  <a:gd name="T90" fmla="*/ 30 w 52"/>
                  <a:gd name="T91" fmla="*/ 66 h 82"/>
                  <a:gd name="T92" fmla="*/ 26 w 52"/>
                  <a:gd name="T93" fmla="*/ 68 h 82"/>
                  <a:gd name="T94" fmla="*/ 26 w 52"/>
                  <a:gd name="T95" fmla="*/ 68 h 82"/>
                  <a:gd name="T96" fmla="*/ 20 w 52"/>
                  <a:gd name="T97" fmla="*/ 66 h 82"/>
                  <a:gd name="T98" fmla="*/ 20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0 w 52"/>
                  <a:gd name="T113" fmla="*/ 14 h 82"/>
                  <a:gd name="T114" fmla="*/ 20 w 52"/>
                  <a:gd name="T115" fmla="*/ 14 h 82"/>
                  <a:gd name="T116" fmla="*/ 26 w 52"/>
                  <a:gd name="T117" fmla="*/ 12 h 82"/>
                  <a:gd name="T118" fmla="*/ 26 w 52"/>
                  <a:gd name="T119" fmla="*/ 12 h 82"/>
                  <a:gd name="T120" fmla="*/ 30 w 52"/>
                  <a:gd name="T121" fmla="*/ 14 h 82"/>
                  <a:gd name="T122" fmla="*/ 30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8"/>
                    </a:lnTo>
                    <a:lnTo>
                      <a:pt x="6" y="72"/>
                    </a:lnTo>
                    <a:lnTo>
                      <a:pt x="6" y="72"/>
                    </a:lnTo>
                    <a:lnTo>
                      <a:pt x="10" y="76"/>
                    </a:lnTo>
                    <a:lnTo>
                      <a:pt x="16" y="80"/>
                    </a:lnTo>
                    <a:lnTo>
                      <a:pt x="20" y="80"/>
                    </a:lnTo>
                    <a:lnTo>
                      <a:pt x="26" y="82"/>
                    </a:lnTo>
                    <a:lnTo>
                      <a:pt x="26" y="82"/>
                    </a:lnTo>
                    <a:lnTo>
                      <a:pt x="36" y="80"/>
                    </a:lnTo>
                    <a:lnTo>
                      <a:pt x="40" y="76"/>
                    </a:lnTo>
                    <a:lnTo>
                      <a:pt x="44" y="74"/>
                    </a:lnTo>
                    <a:lnTo>
                      <a:pt x="44" y="74"/>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0" y="14"/>
                    </a:moveTo>
                    <a:lnTo>
                      <a:pt x="30" y="14"/>
                    </a:lnTo>
                    <a:lnTo>
                      <a:pt x="34" y="22"/>
                    </a:lnTo>
                    <a:lnTo>
                      <a:pt x="34" y="22"/>
                    </a:lnTo>
                    <a:lnTo>
                      <a:pt x="36" y="40"/>
                    </a:lnTo>
                    <a:lnTo>
                      <a:pt x="36" y="40"/>
                    </a:lnTo>
                    <a:lnTo>
                      <a:pt x="34" y="60"/>
                    </a:lnTo>
                    <a:lnTo>
                      <a:pt x="34" y="60"/>
                    </a:lnTo>
                    <a:lnTo>
                      <a:pt x="30" y="66"/>
                    </a:lnTo>
                    <a:lnTo>
                      <a:pt x="30" y="66"/>
                    </a:lnTo>
                    <a:lnTo>
                      <a:pt x="26" y="68"/>
                    </a:lnTo>
                    <a:lnTo>
                      <a:pt x="26" y="68"/>
                    </a:lnTo>
                    <a:lnTo>
                      <a:pt x="20" y="66"/>
                    </a:lnTo>
                    <a:lnTo>
                      <a:pt x="20" y="66"/>
                    </a:lnTo>
                    <a:lnTo>
                      <a:pt x="18" y="60"/>
                    </a:lnTo>
                    <a:lnTo>
                      <a:pt x="18" y="60"/>
                    </a:lnTo>
                    <a:lnTo>
                      <a:pt x="16" y="40"/>
                    </a:lnTo>
                    <a:lnTo>
                      <a:pt x="16" y="40"/>
                    </a:lnTo>
                    <a:lnTo>
                      <a:pt x="18" y="20"/>
                    </a:lnTo>
                    <a:lnTo>
                      <a:pt x="18" y="20"/>
                    </a:lnTo>
                    <a:lnTo>
                      <a:pt x="20" y="14"/>
                    </a:lnTo>
                    <a:lnTo>
                      <a:pt x="20" y="14"/>
                    </a:lnTo>
                    <a:lnTo>
                      <a:pt x="26" y="12"/>
                    </a:lnTo>
                    <a:lnTo>
                      <a:pt x="26" y="12"/>
                    </a:lnTo>
                    <a:lnTo>
                      <a:pt x="30" y="14"/>
                    </a:lnTo>
                    <a:lnTo>
                      <a:pt x="30" y="14"/>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75" name="Freeform 24"/>
              <p:cNvSpPr>
                <a:spLocks/>
              </p:cNvSpPr>
              <p:nvPr/>
            </p:nvSpPr>
            <p:spPr bwMode="auto">
              <a:xfrm>
                <a:off x="2474523" y="2631326"/>
                <a:ext cx="52531" cy="116737"/>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6 w 36"/>
                  <a:gd name="T13" fmla="*/ 18 h 80"/>
                  <a:gd name="T14" fmla="*/ 0 w 36"/>
                  <a:gd name="T15" fmla="*/ 20 h 80"/>
                  <a:gd name="T16" fmla="*/ 0 w 36"/>
                  <a:gd name="T17" fmla="*/ 34 h 80"/>
                  <a:gd name="T18" fmla="*/ 0 w 36"/>
                  <a:gd name="T19" fmla="*/ 34 h 80"/>
                  <a:gd name="T20" fmla="*/ 12 w 36"/>
                  <a:gd name="T21" fmla="*/ 30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6" y="18"/>
                    </a:lnTo>
                    <a:lnTo>
                      <a:pt x="0" y="20"/>
                    </a:lnTo>
                    <a:lnTo>
                      <a:pt x="0" y="34"/>
                    </a:lnTo>
                    <a:lnTo>
                      <a:pt x="0" y="34"/>
                    </a:lnTo>
                    <a:lnTo>
                      <a:pt x="12" y="30"/>
                    </a:lnTo>
                    <a:lnTo>
                      <a:pt x="20" y="22"/>
                    </a:lnTo>
                    <a:lnTo>
                      <a:pt x="20" y="80"/>
                    </a:lnTo>
                    <a:lnTo>
                      <a:pt x="36" y="80"/>
                    </a:lnTo>
                    <a:lnTo>
                      <a:pt x="36" y="0"/>
                    </a:lnTo>
                    <a:lnTo>
                      <a:pt x="36" y="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76" name="Freeform 49"/>
              <p:cNvSpPr>
                <a:spLocks/>
              </p:cNvSpPr>
              <p:nvPr/>
            </p:nvSpPr>
            <p:spPr bwMode="auto">
              <a:xfrm>
                <a:off x="1832467" y="2886642"/>
                <a:ext cx="52531" cy="116737"/>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6 h 80"/>
                  <a:gd name="T14" fmla="*/ 0 w 36"/>
                  <a:gd name="T15" fmla="*/ 20 h 80"/>
                  <a:gd name="T16" fmla="*/ 0 w 36"/>
                  <a:gd name="T17" fmla="*/ 34 h 80"/>
                  <a:gd name="T18" fmla="*/ 0 w 36"/>
                  <a:gd name="T19" fmla="*/ 34 h 80"/>
                  <a:gd name="T20" fmla="*/ 12 w 36"/>
                  <a:gd name="T21" fmla="*/ 28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6"/>
                    </a:lnTo>
                    <a:lnTo>
                      <a:pt x="0" y="20"/>
                    </a:lnTo>
                    <a:lnTo>
                      <a:pt x="0" y="34"/>
                    </a:lnTo>
                    <a:lnTo>
                      <a:pt x="0" y="34"/>
                    </a:lnTo>
                    <a:lnTo>
                      <a:pt x="12" y="28"/>
                    </a:lnTo>
                    <a:lnTo>
                      <a:pt x="20" y="22"/>
                    </a:lnTo>
                    <a:lnTo>
                      <a:pt x="20" y="80"/>
                    </a:lnTo>
                    <a:lnTo>
                      <a:pt x="36" y="80"/>
                    </a:lnTo>
                    <a:lnTo>
                      <a:pt x="36" y="0"/>
                    </a:lnTo>
                    <a:lnTo>
                      <a:pt x="36" y="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77" name="Freeform 50"/>
              <p:cNvSpPr>
                <a:spLocks noEditPoints="1"/>
              </p:cNvSpPr>
              <p:nvPr/>
            </p:nvSpPr>
            <p:spPr bwMode="auto">
              <a:xfrm>
                <a:off x="2019117" y="2886642"/>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0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0"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78" name="Freeform 51"/>
              <p:cNvSpPr>
                <a:spLocks/>
              </p:cNvSpPr>
              <p:nvPr/>
            </p:nvSpPr>
            <p:spPr bwMode="auto">
              <a:xfrm>
                <a:off x="2246754" y="2886642"/>
                <a:ext cx="49613" cy="116737"/>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79" name="Freeform 52"/>
              <p:cNvSpPr>
                <a:spLocks noEditPoints="1"/>
              </p:cNvSpPr>
              <p:nvPr/>
            </p:nvSpPr>
            <p:spPr bwMode="auto">
              <a:xfrm>
                <a:off x="2459800" y="2886642"/>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2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2"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053194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64"/>
                                        </p:tgtEl>
                                        <p:attrNameLst>
                                          <p:attrName>style.visibility</p:attrName>
                                        </p:attrNameLst>
                                      </p:cBhvr>
                                      <p:to>
                                        <p:strVal val="visible"/>
                                      </p:to>
                                    </p:set>
                                    <p:animEffect transition="in" filter="fade">
                                      <p:cBhvr>
                                        <p:cTn id="7" dur="500"/>
                                        <p:tgtEl>
                                          <p:spTgt spid="64"/>
                                        </p:tgtEl>
                                      </p:cBhvr>
                                    </p:animEffect>
                                  </p:childTnLst>
                                </p:cTn>
                              </p:par>
                              <p:par>
                                <p:cTn id="8" presetID="10" presetClass="entr" presetSubtype="0" fill="hold" nodeType="withEffect">
                                  <p:stCondLst>
                                    <p:cond delay="1000"/>
                                  </p:stCondLst>
                                  <p:childTnLst>
                                    <p:set>
                                      <p:cBhvr>
                                        <p:cTn id="9" dur="1" fill="hold">
                                          <p:stCondLst>
                                            <p:cond delay="0"/>
                                          </p:stCondLst>
                                        </p:cTn>
                                        <p:tgtEl>
                                          <p:spTgt spid="37"/>
                                        </p:tgtEl>
                                        <p:attrNameLst>
                                          <p:attrName>style.visibility</p:attrName>
                                        </p:attrNameLst>
                                      </p:cBhvr>
                                      <p:to>
                                        <p:strVal val="visible"/>
                                      </p:to>
                                    </p:set>
                                    <p:animEffect transition="in" filter="fade">
                                      <p:cBhvr>
                                        <p:cTn id="10" dur="500"/>
                                        <p:tgtEl>
                                          <p:spTgt spid="37"/>
                                        </p:tgtEl>
                                      </p:cBhvr>
                                    </p:animEffect>
                                  </p:childTnLst>
                                </p:cTn>
                              </p:par>
                              <p:par>
                                <p:cTn id="11" presetID="10" presetClass="entr" presetSubtype="0" fill="hold" nodeType="withEffect">
                                  <p:stCondLst>
                                    <p:cond delay="150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30" name="Rectangle 129"/>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lvl="0" defTabSz="914400">
              <a:spcBef>
                <a:spcPts val="0"/>
              </a:spcBef>
              <a:spcAft>
                <a:spcPts val="600"/>
              </a:spcAft>
              <a:defRPr/>
            </a:pPr>
            <a:r>
              <a:rPr lang="en-US" kern="0" spc="0" dirty="0">
                <a:ln>
                  <a:noFill/>
                </a:ln>
                <a:solidFill>
                  <a:schemeClr val="bg1"/>
                </a:solidFill>
              </a:rPr>
              <a:t>Big data analytics made easy</a:t>
            </a:r>
          </a:p>
        </p:txBody>
      </p:sp>
      <p:grpSp>
        <p:nvGrpSpPr>
          <p:cNvPr id="4" name="Group 3"/>
          <p:cNvGrpSpPr/>
          <p:nvPr/>
        </p:nvGrpSpPr>
        <p:grpSpPr>
          <a:xfrm>
            <a:off x="2194921" y="5273858"/>
            <a:ext cx="10967222" cy="1191095"/>
            <a:chOff x="2194921" y="5407808"/>
            <a:chExt cx="10967222" cy="1191095"/>
          </a:xfrm>
        </p:grpSpPr>
        <p:sp>
          <p:nvSpPr>
            <p:cNvPr id="12" name="TextBox 11"/>
            <p:cNvSpPr txBox="1"/>
            <p:nvPr/>
          </p:nvSpPr>
          <p:spPr>
            <a:xfrm>
              <a:off x="2194921" y="5407808"/>
              <a:ext cx="4907093" cy="1191095"/>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lang="en-US" sz="1200" kern="0" dirty="0">
                  <a:solidFill>
                    <a:schemeClr val="bg1"/>
                  </a:solidFill>
                </a:rPr>
                <a:t>Analyze</a:t>
              </a:r>
              <a:r>
                <a:rPr kumimoji="0" lang="en-US" sz="1200" b="0" i="0" u="none" strike="noStrike" kern="0" cap="none" spc="0" normalizeH="0" baseline="0" noProof="0" dirty="0">
                  <a:ln>
                    <a:noFill/>
                  </a:ln>
                  <a:solidFill>
                    <a:schemeClr val="bg1"/>
                  </a:solidFill>
                  <a:effectLst/>
                  <a:uLnTx/>
                  <a:uFillTx/>
                </a:rPr>
                <a:t> data of any kind and size</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Develop faster, debug and optimize smarter</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Interactively explore patterns in your data</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No learning curve—use U-SQL, Spark, Hive, </a:t>
              </a:r>
              <a:r>
                <a:rPr kumimoji="0" lang="en-US" sz="1200" b="0" i="0" u="none" strike="noStrike" kern="0" cap="none" spc="0" normalizeH="0" baseline="0" noProof="0" dirty="0" err="1">
                  <a:ln>
                    <a:noFill/>
                  </a:ln>
                  <a:solidFill>
                    <a:schemeClr val="bg1"/>
                  </a:solidFill>
                  <a:effectLst/>
                  <a:uLnTx/>
                  <a:uFillTx/>
                </a:rPr>
                <a:t>HBase</a:t>
              </a:r>
              <a:r>
                <a:rPr kumimoji="0" lang="en-US" sz="1200" b="0" i="0" u="none" strike="noStrike" kern="0" cap="none" spc="0" normalizeH="0" baseline="0" noProof="0" dirty="0">
                  <a:ln>
                    <a:noFill/>
                  </a:ln>
                  <a:solidFill>
                    <a:schemeClr val="bg1"/>
                  </a:solidFill>
                  <a:effectLst/>
                  <a:uLnTx/>
                  <a:uFillTx/>
                </a:rPr>
                <a:t> and Storm</a:t>
              </a:r>
            </a:p>
          </p:txBody>
        </p:sp>
        <p:sp>
          <p:nvSpPr>
            <p:cNvPr id="13" name="TextBox 12"/>
            <p:cNvSpPr txBox="1"/>
            <p:nvPr/>
          </p:nvSpPr>
          <p:spPr>
            <a:xfrm>
              <a:off x="7234340" y="5407808"/>
              <a:ext cx="5927803" cy="1191095"/>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Managed and supported with an enterprise-grade SLA</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Dynamically scales to match your business priorities</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Enterprise-grade security with Azure Active Directory</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Built on YARN, designed for the cloud</a:t>
              </a:r>
            </a:p>
          </p:txBody>
        </p:sp>
      </p:grpSp>
      <p:grpSp>
        <p:nvGrpSpPr>
          <p:cNvPr id="37" name="Group 36"/>
          <p:cNvGrpSpPr/>
          <p:nvPr/>
        </p:nvGrpSpPr>
        <p:grpSpPr>
          <a:xfrm>
            <a:off x="2716565" y="1441893"/>
            <a:ext cx="9221608" cy="1957618"/>
            <a:chOff x="376569" y="1750827"/>
            <a:chExt cx="10664459" cy="2263914"/>
          </a:xfrm>
        </p:grpSpPr>
        <p:pic>
          <p:nvPicPr>
            <p:cNvPr id="38" name="Picture 37"/>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151475" y="1750827"/>
              <a:ext cx="1196162" cy="1196162"/>
            </a:xfrm>
            <a:prstGeom prst="rect">
              <a:avLst/>
            </a:prstGeom>
          </p:spPr>
        </p:pic>
        <p:sp>
          <p:nvSpPr>
            <p:cNvPr id="39" name="TextBox 38"/>
            <p:cNvSpPr txBox="1"/>
            <p:nvPr/>
          </p:nvSpPr>
          <p:spPr>
            <a:xfrm>
              <a:off x="4532127" y="2850555"/>
              <a:ext cx="2434855" cy="597967"/>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solidFill>
                    <a:schemeClr val="bg2"/>
                  </a:solidFill>
                  <a:effectLst/>
                  <a:uLnTx/>
                  <a:uFillTx/>
                  <a:latin typeface="Segoe UI" panose="020B0502040204020203" pitchFamily="34" charset="0"/>
                  <a:ea typeface="Segoe UI Black" panose="020B0A02040204020203" pitchFamily="34" charset="0"/>
                  <a:cs typeface="Segoe UI" panose="020B0502040204020203" pitchFamily="34" charset="0"/>
                </a:rPr>
                <a:t>Data Lake Analytics</a:t>
              </a:r>
            </a:p>
          </p:txBody>
        </p:sp>
        <p:sp>
          <p:nvSpPr>
            <p:cNvPr id="40" name="Right Brace 39"/>
            <p:cNvSpPr/>
            <p:nvPr/>
          </p:nvSpPr>
          <p:spPr>
            <a:xfrm rot="16200000">
              <a:off x="5482403" y="-1543884"/>
              <a:ext cx="452791" cy="10664459"/>
            </a:xfrm>
            <a:prstGeom prst="rightBrace">
              <a:avLst>
                <a:gd name="adj1" fmla="val 285424"/>
                <a:gd name="adj2" fmla="val 50000"/>
              </a:avLst>
            </a:prstGeom>
            <a:ln w="44450">
              <a:solidFill>
                <a:srgbClr val="0072C6"/>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41" name="TextBox 40"/>
          <p:cNvSpPr txBox="1"/>
          <p:nvPr/>
        </p:nvSpPr>
        <p:spPr>
          <a:xfrm>
            <a:off x="2323915" y="4404500"/>
            <a:ext cx="2105432" cy="5170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solidFill>
                  <a:schemeClr val="bg2"/>
                </a:solidFill>
                <a:effectLst/>
                <a:uLnTx/>
                <a:uFillTx/>
                <a:latin typeface="Segoe UI" panose="020B0502040204020203" pitchFamily="34" charset="0"/>
                <a:ea typeface="Segoe UI Black" panose="020B0A02040204020203" pitchFamily="34" charset="0"/>
                <a:cs typeface="Segoe UI" panose="020B0502040204020203" pitchFamily="34" charset="0"/>
              </a:rPr>
              <a:t>SQL DW</a:t>
            </a:r>
          </a:p>
        </p:txBody>
      </p:sp>
      <p:sp>
        <p:nvSpPr>
          <p:cNvPr id="42" name="TextBox 41"/>
          <p:cNvSpPr txBox="1"/>
          <p:nvPr/>
        </p:nvSpPr>
        <p:spPr>
          <a:xfrm>
            <a:off x="4279881" y="4404500"/>
            <a:ext cx="2105432" cy="5170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solidFill>
                  <a:schemeClr val="bg2"/>
                </a:solidFill>
                <a:effectLst/>
                <a:uLnTx/>
                <a:uFillTx/>
                <a:latin typeface="Segoe UI" panose="020B0502040204020203" pitchFamily="34" charset="0"/>
                <a:ea typeface="Segoe UI Black" panose="020B0A02040204020203" pitchFamily="34" charset="0"/>
                <a:cs typeface="Segoe UI" panose="020B0502040204020203" pitchFamily="34" charset="0"/>
              </a:rPr>
              <a:t>SQL DB</a:t>
            </a:r>
          </a:p>
        </p:txBody>
      </p:sp>
      <p:sp>
        <p:nvSpPr>
          <p:cNvPr id="43" name="TextBox 42"/>
          <p:cNvSpPr txBox="1"/>
          <p:nvPr/>
        </p:nvSpPr>
        <p:spPr>
          <a:xfrm>
            <a:off x="8191813" y="4404500"/>
            <a:ext cx="2105432" cy="5170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solidFill>
                  <a:schemeClr val="bg2"/>
                </a:solidFill>
                <a:effectLst/>
                <a:uLnTx/>
                <a:uFillTx/>
                <a:latin typeface="Segoe UI" panose="020B0502040204020203" pitchFamily="34" charset="0"/>
                <a:ea typeface="Segoe UI Black" panose="020B0A02040204020203" pitchFamily="34" charset="0"/>
                <a:cs typeface="Segoe UI" panose="020B0502040204020203" pitchFamily="34" charset="0"/>
              </a:rPr>
              <a:t> Storage Blobs</a:t>
            </a:r>
          </a:p>
        </p:txBody>
      </p:sp>
      <p:sp>
        <p:nvSpPr>
          <p:cNvPr id="44" name="TextBox 43"/>
          <p:cNvSpPr txBox="1"/>
          <p:nvPr/>
        </p:nvSpPr>
        <p:spPr>
          <a:xfrm>
            <a:off x="6235847" y="4404500"/>
            <a:ext cx="2105432" cy="5170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solidFill>
                  <a:schemeClr val="bg2"/>
                </a:solidFill>
                <a:effectLst/>
                <a:uLnTx/>
                <a:uFillTx/>
                <a:latin typeface="Segoe UI" panose="020B0502040204020203" pitchFamily="34" charset="0"/>
                <a:ea typeface="Segoe UI Black" panose="020B0A02040204020203" pitchFamily="34" charset="0"/>
                <a:cs typeface="Segoe UI" panose="020B0502040204020203" pitchFamily="34" charset="0"/>
              </a:rPr>
              <a:t>Data Lake Store</a:t>
            </a:r>
          </a:p>
        </p:txBody>
      </p:sp>
      <p:sp>
        <p:nvSpPr>
          <p:cNvPr id="45" name="TextBox 44"/>
          <p:cNvSpPr txBox="1"/>
          <p:nvPr/>
        </p:nvSpPr>
        <p:spPr>
          <a:xfrm>
            <a:off x="10147779" y="4404500"/>
            <a:ext cx="2105432" cy="5170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solidFill>
                  <a:schemeClr val="bg2"/>
                </a:solidFill>
                <a:effectLst/>
                <a:uLnTx/>
                <a:uFillTx/>
                <a:latin typeface="Segoe UI" panose="020B0502040204020203" pitchFamily="34" charset="0"/>
                <a:ea typeface="Segoe UI Black" panose="020B0A02040204020203" pitchFamily="34" charset="0"/>
                <a:cs typeface="Segoe UI" panose="020B0502040204020203" pitchFamily="34" charset="0"/>
              </a:rPr>
              <a:t>SQL DB in a VM</a:t>
            </a:r>
          </a:p>
        </p:txBody>
      </p:sp>
      <p:pic>
        <p:nvPicPr>
          <p:cNvPr id="46" name="Picture 4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760171" y="3421334"/>
            <a:ext cx="968715" cy="968715"/>
          </a:xfrm>
          <a:prstGeom prst="rect">
            <a:avLst/>
          </a:prstGeom>
        </p:spPr>
      </p:pic>
      <p:pic>
        <p:nvPicPr>
          <p:cNvPr id="47" name="Picture 4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923271" y="3613407"/>
            <a:ext cx="845937" cy="845937"/>
          </a:xfrm>
          <a:prstGeom prst="rect">
            <a:avLst/>
          </a:prstGeom>
          <a:noFill/>
        </p:spPr>
      </p:pic>
      <p:grpSp>
        <p:nvGrpSpPr>
          <p:cNvPr id="94" name="Group 93"/>
          <p:cNvGrpSpPr/>
          <p:nvPr/>
        </p:nvGrpSpPr>
        <p:grpSpPr>
          <a:xfrm>
            <a:off x="-9649" y="1649551"/>
            <a:ext cx="1987557" cy="3858349"/>
            <a:chOff x="2269406" y="1649551"/>
            <a:chExt cx="1987557" cy="3858349"/>
          </a:xfrm>
        </p:grpSpPr>
        <p:grpSp>
          <p:nvGrpSpPr>
            <p:cNvPr id="95" name="Group 94"/>
            <p:cNvGrpSpPr/>
            <p:nvPr/>
          </p:nvGrpSpPr>
          <p:grpSpPr>
            <a:xfrm>
              <a:off x="2269406" y="1649551"/>
              <a:ext cx="1771946" cy="3858349"/>
              <a:chOff x="2269406" y="1649551"/>
              <a:chExt cx="1771946" cy="3858349"/>
            </a:xfrm>
          </p:grpSpPr>
          <p:sp>
            <p:nvSpPr>
              <p:cNvPr id="131" name="Rectangle 130"/>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marL="0" marR="0" lvl="0" indent="0" algn="ctr" defTabSz="739440" eaLnBrk="1" fontAlgn="auto" latinLnBrk="0" hangingPunct="1">
                  <a:lnSpc>
                    <a:spcPct val="100000"/>
                  </a:lnSpc>
                  <a:spcBef>
                    <a:spcPct val="0"/>
                  </a:spcBef>
                  <a:spcAft>
                    <a:spcPct val="35000"/>
                  </a:spcAft>
                  <a:buClrTx/>
                  <a:buSzTx/>
                  <a:buFontTx/>
                  <a:buNone/>
                  <a:tabLst/>
                  <a:defRPr/>
                </a:pPr>
                <a:r>
                  <a:rPr kumimoji="0" lang="en-US" sz="1428"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Machine Learning and Analytics</a:t>
                </a:r>
              </a:p>
            </p:txBody>
          </p:sp>
          <p:grpSp>
            <p:nvGrpSpPr>
              <p:cNvPr id="112" name="Group 111"/>
              <p:cNvGrpSpPr/>
              <p:nvPr/>
            </p:nvGrpSpPr>
            <p:grpSpPr>
              <a:xfrm>
                <a:off x="2475764" y="2364104"/>
                <a:ext cx="200749" cy="211051"/>
                <a:chOff x="4106551" y="3401141"/>
                <a:chExt cx="254631" cy="267699"/>
              </a:xfrm>
            </p:grpSpPr>
            <p:sp>
              <p:nvSpPr>
                <p:cNvPr id="113" name="Rectangle 112"/>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4" name="Rectangle 113"/>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5" name="Oval 114"/>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6" name="Oval 115"/>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7" name="Rectangle 116"/>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8" name="Rectangle 117"/>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9" name="Oval 118"/>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0" name="Oval 119"/>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1" name="Rectangle 120"/>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2" name="Rectangle 121"/>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3" name="Oval 122"/>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4" name="Oval 123"/>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5" name="Rectangle 124"/>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6" name="Rectangle 125"/>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7" name="Oval 126"/>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8" name="Oval 127"/>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96" name="Rectangle 95"/>
            <p:cNvSpPr/>
            <p:nvPr/>
          </p:nvSpPr>
          <p:spPr>
            <a:xfrm>
              <a:off x="2962833" y="3869841"/>
              <a:ext cx="1294130" cy="62251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HDInsigh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Hadoop and Spark)</a:t>
              </a:r>
            </a:p>
          </p:txBody>
        </p:sp>
        <p:sp>
          <p:nvSpPr>
            <p:cNvPr id="97" name="Rectangle 96"/>
            <p:cNvSpPr/>
            <p:nvPr/>
          </p:nvSpPr>
          <p:spPr>
            <a:xfrm>
              <a:off x="2962833" y="4888358"/>
              <a:ext cx="925088" cy="43768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Stream Analytics</a:t>
              </a:r>
            </a:p>
          </p:txBody>
        </p:sp>
        <p:sp>
          <p:nvSpPr>
            <p:cNvPr id="98" name="Rectangle 97"/>
            <p:cNvSpPr/>
            <p:nvPr/>
          </p:nvSpPr>
          <p:spPr>
            <a:xfrm>
              <a:off x="2962833" y="3125609"/>
              <a:ext cx="1294130" cy="4463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effectLst/>
                  <a:uLnTx/>
                  <a:uFillTx/>
                  <a:cs typeface="Segoe UI Semilight" panose="020B0402040204020203" pitchFamily="34" charset="0"/>
                </a:rPr>
                <a:t>Data Lake Analytics</a:t>
              </a:r>
            </a:p>
          </p:txBody>
        </p:sp>
        <p:grpSp>
          <p:nvGrpSpPr>
            <p:cNvPr id="99" name="Group 98"/>
            <p:cNvGrpSpPr/>
            <p:nvPr/>
          </p:nvGrpSpPr>
          <p:grpSpPr>
            <a:xfrm>
              <a:off x="2584613" y="3210310"/>
              <a:ext cx="225034" cy="294370"/>
              <a:chOff x="3473450" y="4579938"/>
              <a:chExt cx="1741488" cy="2278062"/>
            </a:xfrm>
            <a:solidFill>
              <a:schemeClr val="tx1"/>
            </a:solidFill>
          </p:grpSpPr>
          <p:sp>
            <p:nvSpPr>
              <p:cNvPr id="108"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09"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10"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
          <p:nvSpPr>
            <p:cNvPr id="100" name="Rectangle 99"/>
            <p:cNvSpPr/>
            <p:nvPr/>
          </p:nvSpPr>
          <p:spPr>
            <a:xfrm>
              <a:off x="2962833" y="2295083"/>
              <a:ext cx="1294130" cy="4463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Machine</a:t>
              </a:r>
              <a:r>
                <a:rPr kumimoji="0" lang="en-US" sz="1122" b="0" i="0" u="none" strike="noStrike" kern="0" cap="none" spc="0" normalizeH="0" baseline="0" noProof="0" dirty="0">
                  <a:ln>
                    <a:noFill/>
                  </a:ln>
                  <a:solidFill>
                    <a:schemeClr val="bg2">
                      <a:lumMod val="75000"/>
                    </a:schemeClr>
                  </a:solidFill>
                  <a:effectLst/>
                  <a:uLnTx/>
                  <a:uFillTx/>
                  <a:cs typeface="Segoe UI Semilight" panose="020B0402040204020203" pitchFamily="34" charset="0"/>
                </a:rPr>
                <a:t> </a:t>
              </a: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Learning</a:t>
              </a:r>
            </a:p>
          </p:txBody>
        </p:sp>
        <p:grpSp>
          <p:nvGrpSpPr>
            <p:cNvPr id="101" name="Group 100"/>
            <p:cNvGrpSpPr/>
            <p:nvPr/>
          </p:nvGrpSpPr>
          <p:grpSpPr>
            <a:xfrm>
              <a:off x="2519622" y="4890724"/>
              <a:ext cx="359675" cy="276298"/>
              <a:chOff x="1260022" y="5196402"/>
              <a:chExt cx="3273425" cy="2514600"/>
            </a:xfrm>
            <a:solidFill>
              <a:schemeClr val="tx1"/>
            </a:solidFill>
          </p:grpSpPr>
          <p:sp>
            <p:nvSpPr>
              <p:cNvPr id="104" name="Freeform 103"/>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sp>
            <p:nvSpPr>
              <p:cNvPr id="105" name="Freeform 104"/>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sp>
            <p:nvSpPr>
              <p:cNvPr id="106" name="Freeform 105"/>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sp>
            <p:nvSpPr>
              <p:cNvPr id="107" name="Freeform 106"/>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grpSp>
        <p:sp>
          <p:nvSpPr>
            <p:cNvPr id="102" name="Freeform 101"/>
            <p:cNvSpPr>
              <a:spLocks/>
            </p:cNvSpPr>
            <p:nvPr/>
          </p:nvSpPr>
          <p:spPr bwMode="auto">
            <a:xfrm>
              <a:off x="2520964" y="4034622"/>
              <a:ext cx="373674" cy="2827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2">
                <a:lumMod val="75000"/>
              </a:schemeClr>
            </a:solidFill>
            <a:ln w="6350">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ysClr val="windowText" lastClr="000000"/>
                </a:solidFill>
                <a:effectLst/>
                <a:uLnTx/>
                <a:uFillTx/>
              </a:endParaRPr>
            </a:p>
          </p:txBody>
        </p:sp>
        <p:sp>
          <p:nvSpPr>
            <p:cNvPr id="103" name="Freeform 102"/>
            <p:cNvSpPr/>
            <p:nvPr/>
          </p:nvSpPr>
          <p:spPr bwMode="auto">
            <a:xfrm flipH="1">
              <a:off x="2565074" y="2374875"/>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grpSp>
      <p:grpSp>
        <p:nvGrpSpPr>
          <p:cNvPr id="6" name="Group 5"/>
          <p:cNvGrpSpPr>
            <a:grpSpLocks noChangeAspect="1"/>
          </p:cNvGrpSpPr>
          <p:nvPr/>
        </p:nvGrpSpPr>
        <p:grpSpPr>
          <a:xfrm>
            <a:off x="6969786" y="3606841"/>
            <a:ext cx="640080" cy="640080"/>
            <a:chOff x="4636526" y="2224884"/>
            <a:chExt cx="240061" cy="240061"/>
          </a:xfrm>
        </p:grpSpPr>
        <p:sp>
          <p:nvSpPr>
            <p:cNvPr id="180" name="Rounded Rectangle 179"/>
            <p:cNvSpPr/>
            <p:nvPr/>
          </p:nvSpPr>
          <p:spPr bwMode="auto">
            <a:xfrm>
              <a:off x="4636526" y="2224884"/>
              <a:ext cx="240061" cy="24006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1" name="Rectangle 180"/>
            <p:cNvSpPr/>
            <p:nvPr/>
          </p:nvSpPr>
          <p:spPr bwMode="auto">
            <a:xfrm>
              <a:off x="4664864" y="2252473"/>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2" name="Rectangle 181"/>
            <p:cNvSpPr/>
            <p:nvPr/>
          </p:nvSpPr>
          <p:spPr bwMode="auto">
            <a:xfrm>
              <a:off x="4767810" y="2252473"/>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3" name="Oval 182"/>
            <p:cNvSpPr/>
            <p:nvPr/>
          </p:nvSpPr>
          <p:spPr bwMode="auto">
            <a:xfrm>
              <a:off x="4715153" y="2252760"/>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4" name="Oval 183"/>
            <p:cNvSpPr/>
            <p:nvPr/>
          </p:nvSpPr>
          <p:spPr bwMode="auto">
            <a:xfrm>
              <a:off x="4818100" y="2252760"/>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5" name="Rectangle 184"/>
            <p:cNvSpPr/>
            <p:nvPr/>
          </p:nvSpPr>
          <p:spPr bwMode="auto">
            <a:xfrm>
              <a:off x="4664864" y="2362677"/>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6" name="Rectangle 185"/>
            <p:cNvSpPr/>
            <p:nvPr/>
          </p:nvSpPr>
          <p:spPr bwMode="auto">
            <a:xfrm>
              <a:off x="4767810" y="2362677"/>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7" name="Oval 186"/>
            <p:cNvSpPr/>
            <p:nvPr/>
          </p:nvSpPr>
          <p:spPr bwMode="auto">
            <a:xfrm>
              <a:off x="4715153" y="2362963"/>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8" name="Oval 187"/>
            <p:cNvSpPr/>
            <p:nvPr/>
          </p:nvSpPr>
          <p:spPr bwMode="auto">
            <a:xfrm>
              <a:off x="4818100" y="2362963"/>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9" name="Rectangle 188"/>
            <p:cNvSpPr/>
            <p:nvPr/>
          </p:nvSpPr>
          <p:spPr bwMode="auto">
            <a:xfrm>
              <a:off x="4717807" y="2415363"/>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0" name="Rectangle 189"/>
            <p:cNvSpPr/>
            <p:nvPr/>
          </p:nvSpPr>
          <p:spPr bwMode="auto">
            <a:xfrm>
              <a:off x="4820754" y="2415363"/>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1" name="Oval 190"/>
            <p:cNvSpPr/>
            <p:nvPr/>
          </p:nvSpPr>
          <p:spPr bwMode="auto">
            <a:xfrm>
              <a:off x="4665150" y="2415650"/>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2" name="Oval 191"/>
            <p:cNvSpPr/>
            <p:nvPr/>
          </p:nvSpPr>
          <p:spPr bwMode="auto">
            <a:xfrm>
              <a:off x="4768098" y="2415650"/>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3" name="Rectangle 192"/>
            <p:cNvSpPr/>
            <p:nvPr/>
          </p:nvSpPr>
          <p:spPr bwMode="auto">
            <a:xfrm>
              <a:off x="4717807" y="2300347"/>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4" name="Rectangle 193"/>
            <p:cNvSpPr/>
            <p:nvPr/>
          </p:nvSpPr>
          <p:spPr bwMode="auto">
            <a:xfrm>
              <a:off x="4820754" y="2300347"/>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5" name="Oval 194"/>
            <p:cNvSpPr/>
            <p:nvPr/>
          </p:nvSpPr>
          <p:spPr bwMode="auto">
            <a:xfrm>
              <a:off x="4665150" y="2300634"/>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6" name="Oval 195"/>
            <p:cNvSpPr/>
            <p:nvPr/>
          </p:nvSpPr>
          <p:spPr bwMode="auto">
            <a:xfrm>
              <a:off x="4768098" y="2300634"/>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01" name="Freeform 200"/>
          <p:cNvSpPr>
            <a:spLocks noChangeAspect="1"/>
          </p:cNvSpPr>
          <p:nvPr/>
        </p:nvSpPr>
        <p:spPr bwMode="auto">
          <a:xfrm>
            <a:off x="2716565" y="3382475"/>
            <a:ext cx="885519" cy="954938"/>
          </a:xfrm>
          <a:custGeom>
            <a:avLst/>
            <a:gdLst>
              <a:gd name="connsiteX0" fmla="*/ 623808 w 1048497"/>
              <a:gd name="connsiteY0" fmla="*/ 0 h 1130692"/>
              <a:gd name="connsiteX1" fmla="*/ 637293 w 1048497"/>
              <a:gd name="connsiteY1" fmla="*/ 5465 h 1130692"/>
              <a:gd name="connsiteX2" fmla="*/ 986311 w 1048497"/>
              <a:gd name="connsiteY2" fmla="*/ 320195 h 1130692"/>
              <a:gd name="connsiteX3" fmla="*/ 993661 w 1048497"/>
              <a:gd name="connsiteY3" fmla="*/ 326823 h 1130692"/>
              <a:gd name="connsiteX4" fmla="*/ 960731 w 1048497"/>
              <a:gd name="connsiteY4" fmla="*/ 342017 h 1130692"/>
              <a:gd name="connsiteX5" fmla="*/ 954333 w 1048497"/>
              <a:gd name="connsiteY5" fmla="*/ 346505 h 1130692"/>
              <a:gd name="connsiteX6" fmla="*/ 918802 w 1048497"/>
              <a:gd name="connsiteY6" fmla="*/ 314433 h 1130692"/>
              <a:gd name="connsiteX7" fmla="*/ 623833 w 1048497"/>
              <a:gd name="connsiteY7" fmla="*/ 48174 h 1130692"/>
              <a:gd name="connsiteX8" fmla="*/ 74942 w 1048497"/>
              <a:gd name="connsiteY8" fmla="*/ 544576 h 1130692"/>
              <a:gd name="connsiteX9" fmla="*/ 141348 w 1048497"/>
              <a:gd name="connsiteY9" fmla="*/ 544576 h 1130692"/>
              <a:gd name="connsiteX10" fmla="*/ 162101 w 1048497"/>
              <a:gd name="connsiteY10" fmla="*/ 565389 h 1130692"/>
              <a:gd name="connsiteX11" fmla="*/ 162101 w 1048497"/>
              <a:gd name="connsiteY11" fmla="*/ 1049303 h 1130692"/>
              <a:gd name="connsiteX12" fmla="*/ 201529 w 1048497"/>
              <a:gd name="connsiteY12" fmla="*/ 1088848 h 1130692"/>
              <a:gd name="connsiteX13" fmla="*/ 482719 w 1048497"/>
              <a:gd name="connsiteY13" fmla="*/ 1088848 h 1130692"/>
              <a:gd name="connsiteX14" fmla="*/ 482719 w 1048497"/>
              <a:gd name="connsiteY14" fmla="*/ 686107 h 1130692"/>
              <a:gd name="connsiteX15" fmla="*/ 503471 w 1048497"/>
              <a:gd name="connsiteY15" fmla="*/ 665294 h 1130692"/>
              <a:gd name="connsiteX16" fmla="*/ 744195 w 1048497"/>
              <a:gd name="connsiteY16" fmla="*/ 665294 h 1130692"/>
              <a:gd name="connsiteX17" fmla="*/ 764946 w 1048497"/>
              <a:gd name="connsiteY17" fmla="*/ 686107 h 1130692"/>
              <a:gd name="connsiteX18" fmla="*/ 764946 w 1048497"/>
              <a:gd name="connsiteY18" fmla="*/ 1088848 h 1130692"/>
              <a:gd name="connsiteX19" fmla="*/ 927509 w 1048497"/>
              <a:gd name="connsiteY19" fmla="*/ 1088848 h 1130692"/>
              <a:gd name="connsiteX20" fmla="*/ 947670 w 1048497"/>
              <a:gd name="connsiteY20" fmla="*/ 1088848 h 1130692"/>
              <a:gd name="connsiteX21" fmla="*/ 960731 w 1048497"/>
              <a:gd name="connsiteY21" fmla="*/ 1098009 h 1130692"/>
              <a:gd name="connsiteX22" fmla="*/ 1008113 w 1048497"/>
              <a:gd name="connsiteY22" fmla="*/ 1119872 h 1130692"/>
              <a:gd name="connsiteX23" fmla="*/ 1048497 w 1048497"/>
              <a:gd name="connsiteY23" fmla="*/ 1130236 h 1130692"/>
              <a:gd name="connsiteX24" fmla="*/ 1045988 w 1048497"/>
              <a:gd name="connsiteY24" fmla="*/ 1130692 h 1130692"/>
              <a:gd name="connsiteX25" fmla="*/ 744134 w 1048497"/>
              <a:gd name="connsiteY25" fmla="*/ 1130692 h 1130692"/>
              <a:gd name="connsiteX26" fmla="*/ 723388 w 1048497"/>
              <a:gd name="connsiteY26" fmla="*/ 1109874 h 1130692"/>
              <a:gd name="connsiteX27" fmla="*/ 723388 w 1048497"/>
              <a:gd name="connsiteY27" fmla="*/ 707041 h 1130692"/>
              <a:gd name="connsiteX28" fmla="*/ 524227 w 1048497"/>
              <a:gd name="connsiteY28" fmla="*/ 707041 h 1130692"/>
              <a:gd name="connsiteX29" fmla="*/ 524227 w 1048497"/>
              <a:gd name="connsiteY29" fmla="*/ 1109874 h 1130692"/>
              <a:gd name="connsiteX30" fmla="*/ 503482 w 1048497"/>
              <a:gd name="connsiteY30" fmla="*/ 1130692 h 1130692"/>
              <a:gd name="connsiteX31" fmla="*/ 201628 w 1048497"/>
              <a:gd name="connsiteY31" fmla="*/ 1130692 h 1130692"/>
              <a:gd name="connsiteX32" fmla="*/ 120719 w 1048497"/>
              <a:gd name="connsiteY32" fmla="*/ 1049501 h 1130692"/>
              <a:gd name="connsiteX33" fmla="*/ 120719 w 1048497"/>
              <a:gd name="connsiteY33" fmla="*/ 586295 h 1130692"/>
              <a:gd name="connsiteX34" fmla="*/ 20101 w 1048497"/>
              <a:gd name="connsiteY34" fmla="*/ 586295 h 1130692"/>
              <a:gd name="connsiteX35" fmla="*/ 1430 w 1048497"/>
              <a:gd name="connsiteY35" fmla="*/ 572763 h 1130692"/>
              <a:gd name="connsiteX36" fmla="*/ 6616 w 1048497"/>
              <a:gd name="connsiteY36" fmla="*/ 549863 h 1130692"/>
              <a:gd name="connsiteX37" fmla="*/ 610323 w 1048497"/>
              <a:gd name="connsiteY37" fmla="*/ 5465 h 1130692"/>
              <a:gd name="connsiteX38" fmla="*/ 623808 w 1048497"/>
              <a:gd name="connsiteY38" fmla="*/ 0 h 1130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48497" h="1130692">
                <a:moveTo>
                  <a:pt x="623808" y="0"/>
                </a:moveTo>
                <a:cubicBezTo>
                  <a:pt x="628735" y="0"/>
                  <a:pt x="633662" y="1822"/>
                  <a:pt x="637293" y="5465"/>
                </a:cubicBezTo>
                <a:cubicBezTo>
                  <a:pt x="788220" y="141564"/>
                  <a:pt x="901415" y="243639"/>
                  <a:pt x="986311" y="320195"/>
                </a:cubicBezTo>
                <a:lnTo>
                  <a:pt x="993661" y="326823"/>
                </a:lnTo>
                <a:lnTo>
                  <a:pt x="960731" y="342017"/>
                </a:lnTo>
                <a:lnTo>
                  <a:pt x="954333" y="346505"/>
                </a:lnTo>
                <a:lnTo>
                  <a:pt x="918802" y="314433"/>
                </a:lnTo>
                <a:cubicBezTo>
                  <a:pt x="623833" y="48174"/>
                  <a:pt x="623833" y="48174"/>
                  <a:pt x="623833" y="48174"/>
                </a:cubicBezTo>
                <a:cubicBezTo>
                  <a:pt x="74942" y="544576"/>
                  <a:pt x="74942" y="544576"/>
                  <a:pt x="74942" y="544576"/>
                </a:cubicBezTo>
                <a:cubicBezTo>
                  <a:pt x="141348" y="544576"/>
                  <a:pt x="141348" y="544576"/>
                  <a:pt x="141348" y="544576"/>
                </a:cubicBezTo>
                <a:cubicBezTo>
                  <a:pt x="152762" y="544576"/>
                  <a:pt x="162101" y="553942"/>
                  <a:pt x="162101" y="565389"/>
                </a:cubicBezTo>
                <a:cubicBezTo>
                  <a:pt x="162101" y="1049303"/>
                  <a:pt x="162101" y="1049303"/>
                  <a:pt x="162101" y="1049303"/>
                </a:cubicBezTo>
                <a:cubicBezTo>
                  <a:pt x="162101" y="1074279"/>
                  <a:pt x="176627" y="1088848"/>
                  <a:pt x="201529" y="1088848"/>
                </a:cubicBezTo>
                <a:cubicBezTo>
                  <a:pt x="482719" y="1088848"/>
                  <a:pt x="482719" y="1088848"/>
                  <a:pt x="482719" y="1088848"/>
                </a:cubicBezTo>
                <a:cubicBezTo>
                  <a:pt x="482719" y="686107"/>
                  <a:pt x="482719" y="686107"/>
                  <a:pt x="482719" y="686107"/>
                </a:cubicBezTo>
                <a:cubicBezTo>
                  <a:pt x="482719" y="674660"/>
                  <a:pt x="492058" y="665294"/>
                  <a:pt x="503471" y="665294"/>
                </a:cubicBezTo>
                <a:cubicBezTo>
                  <a:pt x="744195" y="665294"/>
                  <a:pt x="744195" y="665294"/>
                  <a:pt x="744195" y="665294"/>
                </a:cubicBezTo>
                <a:cubicBezTo>
                  <a:pt x="755608" y="665294"/>
                  <a:pt x="764946" y="674660"/>
                  <a:pt x="764946" y="686107"/>
                </a:cubicBezTo>
                <a:lnTo>
                  <a:pt x="764946" y="1088848"/>
                </a:lnTo>
                <a:cubicBezTo>
                  <a:pt x="835244" y="1088848"/>
                  <a:pt x="887967" y="1088848"/>
                  <a:pt x="927509" y="1088848"/>
                </a:cubicBezTo>
                <a:lnTo>
                  <a:pt x="947670" y="1088848"/>
                </a:lnTo>
                <a:lnTo>
                  <a:pt x="960731" y="1098009"/>
                </a:lnTo>
                <a:cubicBezTo>
                  <a:pt x="974677" y="1105868"/>
                  <a:pt x="990558" y="1113189"/>
                  <a:pt x="1008113" y="1119872"/>
                </a:cubicBezTo>
                <a:lnTo>
                  <a:pt x="1048497" y="1130236"/>
                </a:lnTo>
                <a:lnTo>
                  <a:pt x="1045988" y="1130692"/>
                </a:lnTo>
                <a:cubicBezTo>
                  <a:pt x="744134" y="1130692"/>
                  <a:pt x="744134" y="1130692"/>
                  <a:pt x="744134" y="1130692"/>
                </a:cubicBezTo>
                <a:cubicBezTo>
                  <a:pt x="732724" y="1130692"/>
                  <a:pt x="723388" y="1121324"/>
                  <a:pt x="723388" y="1109874"/>
                </a:cubicBezTo>
                <a:cubicBezTo>
                  <a:pt x="723388" y="707041"/>
                  <a:pt x="723388" y="707041"/>
                  <a:pt x="723388" y="707041"/>
                </a:cubicBezTo>
                <a:cubicBezTo>
                  <a:pt x="524227" y="707041"/>
                  <a:pt x="524227" y="707041"/>
                  <a:pt x="524227" y="707041"/>
                </a:cubicBezTo>
                <a:cubicBezTo>
                  <a:pt x="524227" y="1109874"/>
                  <a:pt x="524227" y="1109874"/>
                  <a:pt x="524227" y="1109874"/>
                </a:cubicBezTo>
                <a:cubicBezTo>
                  <a:pt x="524227" y="1121324"/>
                  <a:pt x="514892" y="1130692"/>
                  <a:pt x="503482" y="1130692"/>
                </a:cubicBezTo>
                <a:cubicBezTo>
                  <a:pt x="201628" y="1130692"/>
                  <a:pt x="201628" y="1130692"/>
                  <a:pt x="201628" y="1130692"/>
                </a:cubicBezTo>
                <a:cubicBezTo>
                  <a:pt x="153913" y="1130692"/>
                  <a:pt x="120719" y="1097383"/>
                  <a:pt x="120719" y="1049501"/>
                </a:cubicBezTo>
                <a:cubicBezTo>
                  <a:pt x="120719" y="586295"/>
                  <a:pt x="120719" y="586295"/>
                  <a:pt x="120719" y="586295"/>
                </a:cubicBezTo>
                <a:cubicBezTo>
                  <a:pt x="20101" y="586295"/>
                  <a:pt x="20101" y="586295"/>
                  <a:pt x="20101" y="586295"/>
                </a:cubicBezTo>
                <a:cubicBezTo>
                  <a:pt x="11803" y="586295"/>
                  <a:pt x="4542" y="581090"/>
                  <a:pt x="1430" y="572763"/>
                </a:cubicBezTo>
                <a:cubicBezTo>
                  <a:pt x="-1682" y="564435"/>
                  <a:pt x="393" y="556108"/>
                  <a:pt x="6616" y="549863"/>
                </a:cubicBezTo>
                <a:cubicBezTo>
                  <a:pt x="610323" y="5465"/>
                  <a:pt x="610323" y="5465"/>
                  <a:pt x="610323" y="5465"/>
                </a:cubicBezTo>
                <a:cubicBezTo>
                  <a:pt x="613954" y="1822"/>
                  <a:pt x="618881" y="0"/>
                  <a:pt x="623808" y="0"/>
                </a:cubicBezTo>
                <a:close/>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202" name="Group 201"/>
          <p:cNvGrpSpPr>
            <a:grpSpLocks noChangeAspect="1"/>
          </p:cNvGrpSpPr>
          <p:nvPr/>
        </p:nvGrpSpPr>
        <p:grpSpPr>
          <a:xfrm>
            <a:off x="3529014" y="3675810"/>
            <a:ext cx="542827" cy="664837"/>
            <a:chOff x="-3084513" y="3390510"/>
            <a:chExt cx="2716213" cy="3363913"/>
          </a:xfrm>
          <a:solidFill>
            <a:schemeClr val="accent2"/>
          </a:solidFill>
        </p:grpSpPr>
        <p:sp>
          <p:nvSpPr>
            <p:cNvPr id="203"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4"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pic>
        <p:nvPicPr>
          <p:cNvPr id="205" name="Picture 20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777526" y="3585259"/>
            <a:ext cx="845937" cy="845937"/>
          </a:xfrm>
          <a:prstGeom prst="rect">
            <a:avLst/>
          </a:prstGeom>
          <a:noFill/>
        </p:spPr>
      </p:pic>
    </p:spTree>
    <p:extLst>
      <p:ext uri="{BB962C8B-B14F-4D97-AF65-F5344CB8AC3E}">
        <p14:creationId xmlns:p14="http://schemas.microsoft.com/office/powerpoint/2010/main" val="3768027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13" name="Rectangle 112"/>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lvl="0" defTabSz="914400">
              <a:spcBef>
                <a:spcPts val="0"/>
              </a:spcBef>
              <a:spcAft>
                <a:spcPts val="600"/>
              </a:spcAft>
              <a:defRPr/>
            </a:pPr>
            <a:r>
              <a:rPr lang="en-US" sz="3600" kern="0" spc="0" dirty="0">
                <a:ln>
                  <a:noFill/>
                </a:ln>
                <a:solidFill>
                  <a:schemeClr val="bg1"/>
                </a:solidFill>
              </a:rPr>
              <a:t>Comprehensive set of managed Apache big data projects</a:t>
            </a:r>
          </a:p>
        </p:txBody>
      </p:sp>
      <p:grpSp>
        <p:nvGrpSpPr>
          <p:cNvPr id="3" name="Group 2"/>
          <p:cNvGrpSpPr/>
          <p:nvPr/>
        </p:nvGrpSpPr>
        <p:grpSpPr>
          <a:xfrm>
            <a:off x="2196979" y="5275443"/>
            <a:ext cx="10615140" cy="1196899"/>
            <a:chOff x="2196979" y="5592167"/>
            <a:chExt cx="10615140" cy="1196899"/>
          </a:xfrm>
        </p:grpSpPr>
        <p:sp>
          <p:nvSpPr>
            <p:cNvPr id="20" name="TextBox 19"/>
            <p:cNvSpPr txBox="1"/>
            <p:nvPr/>
          </p:nvSpPr>
          <p:spPr>
            <a:xfrm>
              <a:off x="2196979" y="5597971"/>
              <a:ext cx="4951200" cy="1191095"/>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Scale to petabytes on demand</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Process unstructured and semi-structured data</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Develop in Java, .NET, and more</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Skip buying and maintaining hardware</a:t>
              </a:r>
            </a:p>
          </p:txBody>
        </p:sp>
        <p:sp>
          <p:nvSpPr>
            <p:cNvPr id="21" name="TextBox 20"/>
            <p:cNvSpPr txBox="1"/>
            <p:nvPr/>
          </p:nvSpPr>
          <p:spPr>
            <a:xfrm>
              <a:off x="7240419" y="5592167"/>
              <a:ext cx="5571700" cy="1191095"/>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Deploy in Windows or Linux</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Spin up an Apache Hadoop cluster in minutes</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Visualize your Hadoop data in Excel</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Easily integrate on-premises Hadoop clusters</a:t>
              </a:r>
            </a:p>
          </p:txBody>
        </p:sp>
      </p:grpSp>
      <p:sp>
        <p:nvSpPr>
          <p:cNvPr id="14" name="Rectangle 13"/>
          <p:cNvSpPr/>
          <p:nvPr/>
        </p:nvSpPr>
        <p:spPr bwMode="auto">
          <a:xfrm>
            <a:off x="2013640" y="3965631"/>
            <a:ext cx="10131552" cy="749513"/>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800" b="0" i="0" u="none" strike="noStrike" kern="0" cap="none" spc="0" normalizeH="0" baseline="0" noProof="0" dirty="0">
                <a:ln>
                  <a:noFill/>
                </a:ln>
                <a:solidFill>
                  <a:schemeClr val="tx1"/>
                </a:solidFill>
                <a:effectLst/>
                <a:uLnTx/>
                <a:uFillTx/>
                <a:latin typeface="+mj-lt"/>
              </a:rPr>
              <a:t>Core Engine</a:t>
            </a:r>
          </a:p>
        </p:txBody>
      </p:sp>
      <p:sp>
        <p:nvSpPr>
          <p:cNvPr id="15" name="Freeform 14"/>
          <p:cNvSpPr/>
          <p:nvPr/>
        </p:nvSpPr>
        <p:spPr bwMode="auto">
          <a:xfrm>
            <a:off x="2013640" y="2038571"/>
            <a:ext cx="1589068" cy="1785734"/>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3 w 1589068"/>
              <a:gd name="connsiteY3" fmla="*/ 1591056 h 1785733"/>
              <a:gd name="connsiteX4" fmla="*/ 794534 w 1589068"/>
              <a:gd name="connsiteY4" fmla="*/ 1785733 h 1785733"/>
              <a:gd name="connsiteX5" fmla="*/ 657407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3" y="1591056"/>
                </a:lnTo>
                <a:lnTo>
                  <a:pt x="794534" y="1785733"/>
                </a:lnTo>
                <a:lnTo>
                  <a:pt x="657407" y="1591056"/>
                </a:lnTo>
                <a:lnTo>
                  <a:pt x="0" y="1591056"/>
                </a:lnTo>
                <a:close/>
              </a:path>
            </a:pathLst>
          </a:custGeom>
          <a:solidFill>
            <a:srgbClr val="F2F2F2"/>
          </a:solidFill>
          <a:ln w="28575">
            <a:solidFill>
              <a:schemeClr val="accent1"/>
            </a:solidFill>
          </a:ln>
        </p:spPr>
        <p:txBody>
          <a:bodyPr wrap="square" lIns="45720" tIns="45720" rIns="45720" bIns="182880" rtlCol="0" anchor="ctr">
            <a:noAutofit/>
          </a:bodyPr>
          <a:lstStyle/>
          <a:p>
            <a:pPr algn="ctr" defTabSz="932472" fontAlgn="base">
              <a:spcBef>
                <a:spcPts val="600"/>
              </a:spcBef>
              <a:spcAft>
                <a:spcPct val="0"/>
              </a:spcAft>
              <a:defRPr/>
            </a:pPr>
            <a:r>
              <a:rPr lang="en-US" sz="2000" kern="0" dirty="0">
                <a:solidFill>
                  <a:schemeClr val="accent1"/>
                </a:solidFill>
                <a:latin typeface="Segoe UI Semibold" panose="020B0702040204020203" pitchFamily="34" charset="0"/>
                <a:cs typeface="Segoe UI Semibold" panose="020B0702040204020203" pitchFamily="34" charset="0"/>
              </a:rPr>
              <a:t>Batch</a:t>
            </a:r>
          </a:p>
          <a:p>
            <a:pPr algn="ctr" defTabSz="932472" fontAlgn="base">
              <a:spcBef>
                <a:spcPts val="600"/>
              </a:spcBef>
              <a:spcAft>
                <a:spcPct val="0"/>
              </a:spcAft>
              <a:defRPr/>
            </a:pPr>
            <a:r>
              <a:rPr lang="en-US" sz="1600" kern="0" dirty="0">
                <a:solidFill>
                  <a:schemeClr val="accent1"/>
                </a:solidFill>
              </a:rPr>
              <a:t>Map Reduce</a:t>
            </a:r>
          </a:p>
        </p:txBody>
      </p:sp>
      <p:sp>
        <p:nvSpPr>
          <p:cNvPr id="16" name="Freeform 15"/>
          <p:cNvSpPr/>
          <p:nvPr/>
        </p:nvSpPr>
        <p:spPr bwMode="auto">
          <a:xfrm>
            <a:off x="3722137" y="2038572"/>
            <a:ext cx="1589068" cy="1785733"/>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3 w 1589068"/>
              <a:gd name="connsiteY3" fmla="*/ 1591056 h 1785733"/>
              <a:gd name="connsiteX4" fmla="*/ 794534 w 1589068"/>
              <a:gd name="connsiteY4" fmla="*/ 1785733 h 1785733"/>
              <a:gd name="connsiteX5" fmla="*/ 657407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3" y="1591056"/>
                </a:lnTo>
                <a:lnTo>
                  <a:pt x="794534" y="1785733"/>
                </a:lnTo>
                <a:lnTo>
                  <a:pt x="657407" y="1591056"/>
                </a:lnTo>
                <a:lnTo>
                  <a:pt x="0" y="1591056"/>
                </a:lnTo>
                <a:close/>
              </a:path>
            </a:pathLst>
          </a:custGeom>
          <a:solidFill>
            <a:srgbClr val="F2F2F2"/>
          </a:solidFill>
          <a:ln w="28575">
            <a:solidFill>
              <a:schemeClr val="accent1"/>
            </a:solidFill>
          </a:ln>
        </p:spPr>
        <p:txBody>
          <a:bodyPr wrap="square" lIns="45720" tIns="45720" rIns="45720" bIns="182880" rtlCol="0" anchor="ctr">
            <a:noAutofit/>
          </a:bodyPr>
          <a:lstStyle/>
          <a:p>
            <a:pPr algn="ctr" defTabSz="932472" fontAlgn="base">
              <a:spcBef>
                <a:spcPts val="600"/>
              </a:spcBef>
              <a:spcAft>
                <a:spcPct val="0"/>
              </a:spcAft>
            </a:pPr>
            <a:r>
              <a:rPr lang="en-US" sz="2000" kern="0" dirty="0">
                <a:solidFill>
                  <a:schemeClr val="accent1"/>
                </a:solidFill>
                <a:latin typeface="Segoe UI Semibold" panose="020B0702040204020203" pitchFamily="34" charset="0"/>
                <a:cs typeface="Segoe UI Semibold" panose="020B0702040204020203" pitchFamily="34" charset="0"/>
              </a:rPr>
              <a:t>Script</a:t>
            </a:r>
          </a:p>
          <a:p>
            <a:pPr algn="ctr" defTabSz="932472" fontAlgn="base">
              <a:spcBef>
                <a:spcPts val="600"/>
              </a:spcBef>
              <a:spcAft>
                <a:spcPct val="0"/>
              </a:spcAft>
            </a:pPr>
            <a:r>
              <a:rPr lang="en-US" sz="1600" kern="0" dirty="0">
                <a:solidFill>
                  <a:schemeClr val="accent1"/>
                </a:solidFill>
              </a:rPr>
              <a:t>Pig</a:t>
            </a:r>
          </a:p>
        </p:txBody>
      </p:sp>
      <p:sp>
        <p:nvSpPr>
          <p:cNvPr id="17" name="Freeform 16"/>
          <p:cNvSpPr/>
          <p:nvPr/>
        </p:nvSpPr>
        <p:spPr bwMode="auto">
          <a:xfrm>
            <a:off x="5430634" y="2038572"/>
            <a:ext cx="1589068" cy="1785733"/>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3 w 1589068"/>
              <a:gd name="connsiteY3" fmla="*/ 1591056 h 1785733"/>
              <a:gd name="connsiteX4" fmla="*/ 794534 w 1589068"/>
              <a:gd name="connsiteY4" fmla="*/ 1785733 h 1785733"/>
              <a:gd name="connsiteX5" fmla="*/ 657407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3" y="1591056"/>
                </a:lnTo>
                <a:lnTo>
                  <a:pt x="794534" y="1785733"/>
                </a:lnTo>
                <a:lnTo>
                  <a:pt x="657407" y="1591056"/>
                </a:lnTo>
                <a:lnTo>
                  <a:pt x="0" y="1591056"/>
                </a:lnTo>
                <a:close/>
              </a:path>
            </a:pathLst>
          </a:custGeom>
          <a:solidFill>
            <a:srgbClr val="F2F2F2"/>
          </a:solidFill>
          <a:ln w="28575">
            <a:solidFill>
              <a:schemeClr val="accent1"/>
            </a:solidFill>
          </a:ln>
        </p:spPr>
        <p:txBody>
          <a:bodyPr wrap="square" lIns="45720" tIns="45720" rIns="45720" bIns="182880" rtlCol="0" anchor="ctr">
            <a:noAutofit/>
          </a:bodyPr>
          <a:lstStyle/>
          <a:p>
            <a:pPr algn="ctr" defTabSz="932472" fontAlgn="base">
              <a:spcBef>
                <a:spcPts val="600"/>
              </a:spcBef>
              <a:spcAft>
                <a:spcPct val="0"/>
              </a:spcAft>
            </a:pPr>
            <a:r>
              <a:rPr lang="en-US" sz="2000" kern="0" dirty="0">
                <a:solidFill>
                  <a:schemeClr val="accent1"/>
                </a:solidFill>
                <a:latin typeface="Segoe UI Semibold" panose="020B0702040204020203" pitchFamily="34" charset="0"/>
                <a:cs typeface="Segoe UI Semibold" panose="020B0702040204020203" pitchFamily="34" charset="0"/>
              </a:rPr>
              <a:t>SQL</a:t>
            </a:r>
          </a:p>
          <a:p>
            <a:pPr algn="ctr" defTabSz="932472" fontAlgn="base">
              <a:spcBef>
                <a:spcPts val="600"/>
              </a:spcBef>
              <a:spcAft>
                <a:spcPct val="0"/>
              </a:spcAft>
            </a:pPr>
            <a:r>
              <a:rPr lang="en-US" sz="1600" kern="0" dirty="0">
                <a:solidFill>
                  <a:schemeClr val="accent1"/>
                </a:solidFill>
              </a:rPr>
              <a:t>Hive</a:t>
            </a:r>
          </a:p>
        </p:txBody>
      </p:sp>
      <p:sp>
        <p:nvSpPr>
          <p:cNvPr id="19" name="Freeform 18"/>
          <p:cNvSpPr/>
          <p:nvPr/>
        </p:nvSpPr>
        <p:spPr bwMode="auto">
          <a:xfrm>
            <a:off x="7139132" y="2038572"/>
            <a:ext cx="1589068" cy="1785733"/>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2 w 1589068"/>
              <a:gd name="connsiteY3" fmla="*/ 1591056 h 1785733"/>
              <a:gd name="connsiteX4" fmla="*/ 794533 w 1589068"/>
              <a:gd name="connsiteY4" fmla="*/ 1785733 h 1785733"/>
              <a:gd name="connsiteX5" fmla="*/ 657406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2" y="1591056"/>
                </a:lnTo>
                <a:lnTo>
                  <a:pt x="794533" y="1785733"/>
                </a:lnTo>
                <a:lnTo>
                  <a:pt x="657406" y="1591056"/>
                </a:lnTo>
                <a:lnTo>
                  <a:pt x="0" y="1591056"/>
                </a:lnTo>
                <a:close/>
              </a:path>
            </a:pathLst>
          </a:custGeom>
          <a:solidFill>
            <a:srgbClr val="F2F2F2"/>
          </a:solidFill>
          <a:ln w="28575">
            <a:solidFill>
              <a:schemeClr val="accent1"/>
            </a:solidFill>
          </a:ln>
        </p:spPr>
        <p:txBody>
          <a:bodyPr wrap="square" lIns="45720" tIns="45720" rIns="45720" bIns="182880" rtlCol="0" anchor="ctr">
            <a:noAutofit/>
          </a:bodyPr>
          <a:lstStyle/>
          <a:p>
            <a:pPr algn="ctr" defTabSz="932472" fontAlgn="base">
              <a:spcBef>
                <a:spcPts val="600"/>
              </a:spcBef>
              <a:spcAft>
                <a:spcPct val="0"/>
              </a:spcAft>
            </a:pPr>
            <a:r>
              <a:rPr lang="en-US" sz="2000" kern="0" dirty="0">
                <a:solidFill>
                  <a:schemeClr val="accent1"/>
                </a:solidFill>
                <a:latin typeface="Segoe UI Semibold" panose="020B0702040204020203" pitchFamily="34" charset="0"/>
                <a:cs typeface="Segoe UI Semibold" panose="020B0702040204020203" pitchFamily="34" charset="0"/>
              </a:rPr>
              <a:t>NoSQL</a:t>
            </a:r>
          </a:p>
          <a:p>
            <a:pPr algn="ctr" defTabSz="932472" fontAlgn="base">
              <a:spcBef>
                <a:spcPts val="600"/>
              </a:spcBef>
              <a:spcAft>
                <a:spcPct val="0"/>
              </a:spcAft>
            </a:pPr>
            <a:r>
              <a:rPr lang="en-US" sz="1600" kern="0" dirty="0" err="1">
                <a:solidFill>
                  <a:schemeClr val="accent1"/>
                </a:solidFill>
              </a:rPr>
              <a:t>HBase</a:t>
            </a:r>
            <a:endParaRPr lang="en-US" sz="1600" kern="0" dirty="0">
              <a:solidFill>
                <a:schemeClr val="accent1"/>
              </a:solidFill>
            </a:endParaRPr>
          </a:p>
        </p:txBody>
      </p:sp>
      <p:sp>
        <p:nvSpPr>
          <p:cNvPr id="22" name="Freeform 21"/>
          <p:cNvSpPr/>
          <p:nvPr/>
        </p:nvSpPr>
        <p:spPr bwMode="auto">
          <a:xfrm>
            <a:off x="8847629" y="2038572"/>
            <a:ext cx="1589068" cy="1785733"/>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2 w 1589068"/>
              <a:gd name="connsiteY3" fmla="*/ 1591056 h 1785733"/>
              <a:gd name="connsiteX4" fmla="*/ 794533 w 1589068"/>
              <a:gd name="connsiteY4" fmla="*/ 1785733 h 1785733"/>
              <a:gd name="connsiteX5" fmla="*/ 657405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2" y="1591056"/>
                </a:lnTo>
                <a:lnTo>
                  <a:pt x="794533" y="1785733"/>
                </a:lnTo>
                <a:lnTo>
                  <a:pt x="657405" y="1591056"/>
                </a:lnTo>
                <a:lnTo>
                  <a:pt x="0" y="1591056"/>
                </a:lnTo>
                <a:close/>
              </a:path>
            </a:pathLst>
          </a:custGeom>
          <a:solidFill>
            <a:srgbClr val="F2F2F2"/>
          </a:solidFill>
          <a:ln w="28575">
            <a:solidFill>
              <a:schemeClr val="accent1"/>
            </a:solidFill>
          </a:ln>
        </p:spPr>
        <p:txBody>
          <a:bodyPr wrap="square" lIns="45720" tIns="45720" rIns="45720" bIns="182880" rtlCol="0" anchor="ctr">
            <a:noAutofit/>
          </a:bodyPr>
          <a:lstStyle/>
          <a:p>
            <a:pPr algn="ctr" defTabSz="932472" fontAlgn="base">
              <a:spcBef>
                <a:spcPts val="600"/>
              </a:spcBef>
              <a:spcAft>
                <a:spcPct val="0"/>
              </a:spcAft>
            </a:pPr>
            <a:r>
              <a:rPr lang="en-US" sz="2000" kern="0" dirty="0">
                <a:solidFill>
                  <a:schemeClr val="accent1"/>
                </a:solidFill>
                <a:latin typeface="Segoe UI Semibold" panose="020B0702040204020203" pitchFamily="34" charset="0"/>
                <a:cs typeface="Segoe UI Semibold" panose="020B0702040204020203" pitchFamily="34" charset="0"/>
              </a:rPr>
              <a:t>Streaming</a:t>
            </a:r>
          </a:p>
          <a:p>
            <a:pPr algn="ctr" defTabSz="932472" fontAlgn="base">
              <a:spcBef>
                <a:spcPts val="600"/>
              </a:spcBef>
              <a:spcAft>
                <a:spcPct val="0"/>
              </a:spcAft>
            </a:pPr>
            <a:r>
              <a:rPr lang="en-US" sz="1600" kern="0" dirty="0">
                <a:solidFill>
                  <a:schemeClr val="accent1"/>
                </a:solidFill>
              </a:rPr>
              <a:t>Storm</a:t>
            </a:r>
          </a:p>
        </p:txBody>
      </p:sp>
      <p:sp>
        <p:nvSpPr>
          <p:cNvPr id="23" name="Freeform 22"/>
          <p:cNvSpPr/>
          <p:nvPr/>
        </p:nvSpPr>
        <p:spPr bwMode="auto">
          <a:xfrm>
            <a:off x="10556124" y="2038572"/>
            <a:ext cx="1589068" cy="1785733"/>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3 w 1589068"/>
              <a:gd name="connsiteY3" fmla="*/ 1591056 h 1785733"/>
              <a:gd name="connsiteX4" fmla="*/ 794534 w 1589068"/>
              <a:gd name="connsiteY4" fmla="*/ 1785733 h 1785733"/>
              <a:gd name="connsiteX5" fmla="*/ 657406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3" y="1591056"/>
                </a:lnTo>
                <a:lnTo>
                  <a:pt x="794534" y="1785733"/>
                </a:lnTo>
                <a:lnTo>
                  <a:pt x="657406" y="1591056"/>
                </a:lnTo>
                <a:lnTo>
                  <a:pt x="0" y="1591056"/>
                </a:lnTo>
                <a:close/>
              </a:path>
            </a:pathLst>
          </a:custGeom>
          <a:solidFill>
            <a:srgbClr val="F2F2F2"/>
          </a:solidFill>
          <a:ln w="28575">
            <a:solidFill>
              <a:schemeClr val="accent1"/>
            </a:solidFill>
          </a:ln>
        </p:spPr>
        <p:txBody>
          <a:bodyPr wrap="square" lIns="45720" tIns="45720" rIns="45720" bIns="182880" rtlCol="0" anchor="ctr">
            <a:noAutofit/>
          </a:bodyPr>
          <a:lstStyle/>
          <a:p>
            <a:pPr algn="ctr" defTabSz="932472" fontAlgn="base">
              <a:spcBef>
                <a:spcPts val="600"/>
              </a:spcBef>
              <a:spcAft>
                <a:spcPct val="0"/>
              </a:spcAft>
            </a:pPr>
            <a:r>
              <a:rPr lang="en-US" sz="2000" kern="0" dirty="0">
                <a:solidFill>
                  <a:schemeClr val="accent1"/>
                </a:solidFill>
                <a:latin typeface="Segoe UI Semibold" panose="020B0702040204020203" pitchFamily="34" charset="0"/>
                <a:cs typeface="Segoe UI Semibold" panose="020B0702040204020203" pitchFamily="34" charset="0"/>
              </a:rPr>
              <a:t>In-Memory</a:t>
            </a:r>
          </a:p>
          <a:p>
            <a:pPr algn="ctr" defTabSz="932472" fontAlgn="base">
              <a:spcBef>
                <a:spcPts val="600"/>
              </a:spcBef>
              <a:spcAft>
                <a:spcPct val="0"/>
              </a:spcAft>
            </a:pPr>
            <a:r>
              <a:rPr lang="en-US" sz="1600" kern="0" dirty="0">
                <a:solidFill>
                  <a:schemeClr val="accent1"/>
                </a:solidFill>
              </a:rPr>
              <a:t>Spark</a:t>
            </a:r>
          </a:p>
        </p:txBody>
      </p:sp>
      <p:grpSp>
        <p:nvGrpSpPr>
          <p:cNvPr id="46" name="Group 45"/>
          <p:cNvGrpSpPr/>
          <p:nvPr/>
        </p:nvGrpSpPr>
        <p:grpSpPr>
          <a:xfrm>
            <a:off x="-9649" y="1649551"/>
            <a:ext cx="1987557" cy="3858349"/>
            <a:chOff x="2269406" y="1649551"/>
            <a:chExt cx="1987557" cy="3858349"/>
          </a:xfrm>
        </p:grpSpPr>
        <p:grpSp>
          <p:nvGrpSpPr>
            <p:cNvPr id="47" name="Group 46"/>
            <p:cNvGrpSpPr/>
            <p:nvPr/>
          </p:nvGrpSpPr>
          <p:grpSpPr>
            <a:xfrm>
              <a:off x="2269406" y="1649551"/>
              <a:ext cx="1771946" cy="3858349"/>
              <a:chOff x="2269406" y="1649551"/>
              <a:chExt cx="1771946" cy="3858349"/>
            </a:xfrm>
          </p:grpSpPr>
          <p:sp>
            <p:nvSpPr>
              <p:cNvPr id="83" name="Rectangle 82"/>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marL="0" marR="0" lvl="0" indent="0" algn="ctr" defTabSz="739440" eaLnBrk="1" fontAlgn="auto" latinLnBrk="0" hangingPunct="1">
                  <a:lnSpc>
                    <a:spcPct val="100000"/>
                  </a:lnSpc>
                  <a:spcBef>
                    <a:spcPct val="0"/>
                  </a:spcBef>
                  <a:spcAft>
                    <a:spcPct val="35000"/>
                  </a:spcAft>
                  <a:buClrTx/>
                  <a:buSzTx/>
                  <a:buFontTx/>
                  <a:buNone/>
                  <a:tabLst/>
                  <a:defRPr/>
                </a:pPr>
                <a:r>
                  <a:rPr kumimoji="0" lang="en-US" sz="1428"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Machine Learning and Analytics</a:t>
                </a:r>
              </a:p>
            </p:txBody>
          </p:sp>
          <p:grpSp>
            <p:nvGrpSpPr>
              <p:cNvPr id="64" name="Group 63"/>
              <p:cNvGrpSpPr/>
              <p:nvPr/>
            </p:nvGrpSpPr>
            <p:grpSpPr>
              <a:xfrm>
                <a:off x="2475764" y="2364104"/>
                <a:ext cx="200749" cy="211051"/>
                <a:chOff x="4106551" y="3401141"/>
                <a:chExt cx="254631" cy="267699"/>
              </a:xfrm>
            </p:grpSpPr>
            <p:sp>
              <p:nvSpPr>
                <p:cNvPr id="65" name="Rectangle 64"/>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6" name="Rectangle 65"/>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7" name="Oval 66"/>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8" name="Oval 67"/>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9" name="Rectangle 68"/>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0" name="Rectangle 69"/>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1" name="Oval 70"/>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2" name="Oval 71"/>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3" name="Rectangle 72"/>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4" name="Rectangle 73"/>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5" name="Oval 74"/>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6" name="Oval 75"/>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7" name="Rectangle 76"/>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8" name="Rectangle 77"/>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9" name="Oval 78"/>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0" name="Oval 79"/>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48" name="Rectangle 47"/>
            <p:cNvSpPr/>
            <p:nvPr/>
          </p:nvSpPr>
          <p:spPr>
            <a:xfrm>
              <a:off x="2962833" y="3869841"/>
              <a:ext cx="1294130" cy="62251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effectLst/>
                  <a:uLnTx/>
                  <a:uFillTx/>
                  <a:cs typeface="Segoe UI Semilight" panose="020B0402040204020203" pitchFamily="34" charset="0"/>
                </a:rPr>
                <a:t>HDInsigh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effectLst/>
                  <a:uLnTx/>
                  <a:uFillTx/>
                  <a:cs typeface="Segoe UI Semilight" panose="020B0402040204020203" pitchFamily="34" charset="0"/>
                </a:rPr>
                <a:t>(Hadoop and Spark)</a:t>
              </a:r>
            </a:p>
          </p:txBody>
        </p:sp>
        <p:sp>
          <p:nvSpPr>
            <p:cNvPr id="49" name="Rectangle 48"/>
            <p:cNvSpPr/>
            <p:nvPr/>
          </p:nvSpPr>
          <p:spPr>
            <a:xfrm>
              <a:off x="2962833" y="4888358"/>
              <a:ext cx="925088" cy="43768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Stream Analytics</a:t>
              </a:r>
            </a:p>
          </p:txBody>
        </p:sp>
        <p:sp>
          <p:nvSpPr>
            <p:cNvPr id="50" name="Rectangle 49"/>
            <p:cNvSpPr/>
            <p:nvPr/>
          </p:nvSpPr>
          <p:spPr>
            <a:xfrm>
              <a:off x="2962833" y="3125609"/>
              <a:ext cx="1294130" cy="4463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Data Lake Analytics</a:t>
              </a:r>
            </a:p>
          </p:txBody>
        </p:sp>
        <p:grpSp>
          <p:nvGrpSpPr>
            <p:cNvPr id="51" name="Group 50"/>
            <p:cNvGrpSpPr/>
            <p:nvPr/>
          </p:nvGrpSpPr>
          <p:grpSpPr>
            <a:xfrm>
              <a:off x="2584613" y="3210310"/>
              <a:ext cx="225034" cy="294370"/>
              <a:chOff x="3473450" y="4579938"/>
              <a:chExt cx="1741488" cy="2278062"/>
            </a:xfrm>
            <a:solidFill>
              <a:schemeClr val="tx1"/>
            </a:solidFill>
          </p:grpSpPr>
          <p:sp>
            <p:nvSpPr>
              <p:cNvPr id="60"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61"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62"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
          <p:nvSpPr>
            <p:cNvPr id="52" name="Rectangle 51"/>
            <p:cNvSpPr/>
            <p:nvPr/>
          </p:nvSpPr>
          <p:spPr>
            <a:xfrm>
              <a:off x="2962833" y="2295083"/>
              <a:ext cx="1294130" cy="4463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Machine</a:t>
              </a:r>
              <a:r>
                <a:rPr kumimoji="0" lang="en-US" sz="1122" b="0" i="0" u="none" strike="noStrike" kern="0" cap="none" spc="0" normalizeH="0" baseline="0" noProof="0" dirty="0">
                  <a:ln>
                    <a:noFill/>
                  </a:ln>
                  <a:solidFill>
                    <a:schemeClr val="bg2">
                      <a:lumMod val="75000"/>
                    </a:schemeClr>
                  </a:solidFill>
                  <a:effectLst/>
                  <a:uLnTx/>
                  <a:uFillTx/>
                  <a:cs typeface="Segoe UI Semilight" panose="020B0402040204020203" pitchFamily="34" charset="0"/>
                </a:rPr>
                <a:t> </a:t>
              </a: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Learning</a:t>
              </a:r>
            </a:p>
          </p:txBody>
        </p:sp>
        <p:grpSp>
          <p:nvGrpSpPr>
            <p:cNvPr id="53" name="Group 52"/>
            <p:cNvGrpSpPr/>
            <p:nvPr/>
          </p:nvGrpSpPr>
          <p:grpSpPr>
            <a:xfrm>
              <a:off x="2519622" y="4890724"/>
              <a:ext cx="359675" cy="276298"/>
              <a:chOff x="1260022" y="5196402"/>
              <a:chExt cx="3273425" cy="2514600"/>
            </a:xfrm>
            <a:solidFill>
              <a:schemeClr val="tx1"/>
            </a:solidFill>
          </p:grpSpPr>
          <p:sp>
            <p:nvSpPr>
              <p:cNvPr id="56" name="Freeform 55"/>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sp>
            <p:nvSpPr>
              <p:cNvPr id="57" name="Freeform 56"/>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sp>
            <p:nvSpPr>
              <p:cNvPr id="58" name="Freeform 57"/>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sp>
            <p:nvSpPr>
              <p:cNvPr id="59" name="Freeform 58"/>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grpSp>
        <p:sp>
          <p:nvSpPr>
            <p:cNvPr id="54" name="Freeform 53"/>
            <p:cNvSpPr>
              <a:spLocks/>
            </p:cNvSpPr>
            <p:nvPr/>
          </p:nvSpPr>
          <p:spPr bwMode="auto">
            <a:xfrm>
              <a:off x="2520964" y="4034622"/>
              <a:ext cx="373674" cy="2827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ysClr val="windowText" lastClr="000000"/>
                </a:solidFill>
                <a:effectLst/>
                <a:uLnTx/>
                <a:uFillTx/>
              </a:endParaRPr>
            </a:p>
          </p:txBody>
        </p:sp>
        <p:sp>
          <p:nvSpPr>
            <p:cNvPr id="55" name="Freeform 54"/>
            <p:cNvSpPr/>
            <p:nvPr/>
          </p:nvSpPr>
          <p:spPr bwMode="auto">
            <a:xfrm flipH="1">
              <a:off x="2565074" y="2374875"/>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chemeClr val="tx1"/>
                </a:solidFill>
                <a:effectLst/>
                <a:uLnTx/>
                <a:uFillTx/>
                <a:ea typeface="Segoe UI" pitchFamily="34" charset="0"/>
                <a:cs typeface="Segoe UI" pitchFamily="34" charset="0"/>
              </a:endParaRPr>
            </a:p>
          </p:txBody>
        </p:sp>
      </p:grpSp>
    </p:spTree>
    <p:extLst>
      <p:ext uri="{BB962C8B-B14F-4D97-AF65-F5344CB8AC3E}">
        <p14:creationId xmlns:p14="http://schemas.microsoft.com/office/powerpoint/2010/main" val="2942661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68" name="Rectangle 167"/>
          <p:cNvSpPr/>
          <p:nvPr/>
        </p:nvSpPr>
        <p:spPr bwMode="auto">
          <a:xfrm>
            <a:off x="-32334" y="5287601"/>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01" name="Group 100"/>
          <p:cNvGrpSpPr/>
          <p:nvPr/>
        </p:nvGrpSpPr>
        <p:grpSpPr>
          <a:xfrm>
            <a:off x="-9649" y="1649551"/>
            <a:ext cx="1987557" cy="3858349"/>
            <a:chOff x="2269406" y="1649551"/>
            <a:chExt cx="1987557" cy="3858349"/>
          </a:xfrm>
        </p:grpSpPr>
        <p:grpSp>
          <p:nvGrpSpPr>
            <p:cNvPr id="102" name="Group 101"/>
            <p:cNvGrpSpPr/>
            <p:nvPr/>
          </p:nvGrpSpPr>
          <p:grpSpPr>
            <a:xfrm>
              <a:off x="2269406" y="1649551"/>
              <a:ext cx="1771946" cy="3858349"/>
              <a:chOff x="2269406" y="1649551"/>
              <a:chExt cx="1771946" cy="3858349"/>
            </a:xfrm>
          </p:grpSpPr>
          <p:sp>
            <p:nvSpPr>
              <p:cNvPr id="138" name="Rectangle 137"/>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marL="0" marR="0" lvl="0" indent="0" algn="ctr" defTabSz="739440" eaLnBrk="1" fontAlgn="auto" latinLnBrk="0" hangingPunct="1">
                  <a:lnSpc>
                    <a:spcPct val="100000"/>
                  </a:lnSpc>
                  <a:spcBef>
                    <a:spcPct val="0"/>
                  </a:spcBef>
                  <a:spcAft>
                    <a:spcPct val="35000"/>
                  </a:spcAft>
                  <a:buClrTx/>
                  <a:buSzTx/>
                  <a:buFontTx/>
                  <a:buNone/>
                  <a:tabLst/>
                  <a:defRPr/>
                </a:pPr>
                <a:r>
                  <a:rPr kumimoji="0" lang="en-US" sz="1428"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Machine Learning and Analytics</a:t>
                </a:r>
              </a:p>
            </p:txBody>
          </p:sp>
          <p:grpSp>
            <p:nvGrpSpPr>
              <p:cNvPr id="119" name="Group 118"/>
              <p:cNvGrpSpPr/>
              <p:nvPr/>
            </p:nvGrpSpPr>
            <p:grpSpPr>
              <a:xfrm>
                <a:off x="2475764" y="2364104"/>
                <a:ext cx="200749" cy="211051"/>
                <a:chOff x="4106551" y="3401141"/>
                <a:chExt cx="254631" cy="267699"/>
              </a:xfrm>
            </p:grpSpPr>
            <p:sp>
              <p:nvSpPr>
                <p:cNvPr id="120" name="Rectangle 119"/>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1" name="Rectangle 120"/>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2" name="Oval 121"/>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3" name="Oval 122"/>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4" name="Rectangle 123"/>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5" name="Rectangle 124"/>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6" name="Oval 125"/>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7" name="Oval 126"/>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8" name="Rectangle 127"/>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9" name="Rectangle 128"/>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0" name="Oval 129"/>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1" name="Oval 130"/>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2" name="Rectangle 131"/>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3" name="Rectangle 132"/>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4" name="Oval 133"/>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5" name="Oval 134"/>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103" name="Rectangle 102"/>
            <p:cNvSpPr/>
            <p:nvPr/>
          </p:nvSpPr>
          <p:spPr>
            <a:xfrm>
              <a:off x="2962833" y="3869841"/>
              <a:ext cx="1294130" cy="62251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HDInsigh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Hadoop and Spark)</a:t>
              </a:r>
            </a:p>
          </p:txBody>
        </p:sp>
        <p:sp>
          <p:nvSpPr>
            <p:cNvPr id="104" name="Rectangle 103"/>
            <p:cNvSpPr/>
            <p:nvPr/>
          </p:nvSpPr>
          <p:spPr>
            <a:xfrm>
              <a:off x="2962833" y="4888358"/>
              <a:ext cx="925088" cy="43768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effectLst/>
                  <a:uLnTx/>
                  <a:uFillTx/>
                  <a:cs typeface="Segoe UI Semilight" panose="020B0402040204020203" pitchFamily="34" charset="0"/>
                </a:rPr>
                <a:t>Stream Analytics</a:t>
              </a:r>
            </a:p>
          </p:txBody>
        </p:sp>
        <p:sp>
          <p:nvSpPr>
            <p:cNvPr id="105" name="Rectangle 104"/>
            <p:cNvSpPr/>
            <p:nvPr/>
          </p:nvSpPr>
          <p:spPr>
            <a:xfrm>
              <a:off x="2962833" y="3125609"/>
              <a:ext cx="1294130" cy="4463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Data Lake Analytics</a:t>
              </a:r>
            </a:p>
          </p:txBody>
        </p:sp>
        <p:grpSp>
          <p:nvGrpSpPr>
            <p:cNvPr id="106" name="Group 105"/>
            <p:cNvGrpSpPr/>
            <p:nvPr/>
          </p:nvGrpSpPr>
          <p:grpSpPr>
            <a:xfrm>
              <a:off x="2584613" y="3210310"/>
              <a:ext cx="225034" cy="294370"/>
              <a:chOff x="3473450" y="4579938"/>
              <a:chExt cx="1741488" cy="2278062"/>
            </a:xfrm>
            <a:solidFill>
              <a:schemeClr val="tx1"/>
            </a:solidFill>
          </p:grpSpPr>
          <p:sp>
            <p:nvSpPr>
              <p:cNvPr id="115"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16"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17"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
          <p:nvSpPr>
            <p:cNvPr id="107" name="Rectangle 106"/>
            <p:cNvSpPr/>
            <p:nvPr/>
          </p:nvSpPr>
          <p:spPr>
            <a:xfrm>
              <a:off x="2962833" y="2295083"/>
              <a:ext cx="1294130" cy="4463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Machine</a:t>
              </a:r>
              <a:r>
                <a:rPr kumimoji="0" lang="en-US" sz="1122" b="0" i="0" u="none" strike="noStrike" kern="0" cap="none" spc="0" normalizeH="0" baseline="0" noProof="0" dirty="0">
                  <a:ln>
                    <a:noFill/>
                  </a:ln>
                  <a:solidFill>
                    <a:schemeClr val="bg2">
                      <a:lumMod val="75000"/>
                    </a:schemeClr>
                  </a:solidFill>
                  <a:effectLst/>
                  <a:uLnTx/>
                  <a:uFillTx/>
                  <a:cs typeface="Segoe UI Semilight" panose="020B0402040204020203" pitchFamily="34" charset="0"/>
                </a:rPr>
                <a:t> </a:t>
              </a: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Learning</a:t>
              </a:r>
            </a:p>
          </p:txBody>
        </p:sp>
        <p:grpSp>
          <p:nvGrpSpPr>
            <p:cNvPr id="108" name="Group 107"/>
            <p:cNvGrpSpPr/>
            <p:nvPr/>
          </p:nvGrpSpPr>
          <p:grpSpPr>
            <a:xfrm>
              <a:off x="2519622" y="4890724"/>
              <a:ext cx="359675" cy="276298"/>
              <a:chOff x="1260022" y="5196402"/>
              <a:chExt cx="3273425" cy="2514600"/>
            </a:xfrm>
            <a:solidFill>
              <a:schemeClr val="tx1"/>
            </a:solidFill>
          </p:grpSpPr>
          <p:sp>
            <p:nvSpPr>
              <p:cNvPr id="111" name="Freeform 110"/>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sp>
            <p:nvSpPr>
              <p:cNvPr id="112" name="Freeform 111"/>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sp>
            <p:nvSpPr>
              <p:cNvPr id="113" name="Freeform 112"/>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sp>
            <p:nvSpPr>
              <p:cNvPr id="114" name="Freeform 113"/>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grpSp>
        <p:sp>
          <p:nvSpPr>
            <p:cNvPr id="109" name="Freeform 108"/>
            <p:cNvSpPr>
              <a:spLocks/>
            </p:cNvSpPr>
            <p:nvPr/>
          </p:nvSpPr>
          <p:spPr bwMode="auto">
            <a:xfrm>
              <a:off x="2520964" y="4034622"/>
              <a:ext cx="373674" cy="2827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2">
                <a:lumMod val="75000"/>
              </a:schemeClr>
            </a:solidFill>
            <a:ln w="6350">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ysClr val="windowText" lastClr="000000"/>
                </a:solidFill>
                <a:effectLst/>
                <a:uLnTx/>
                <a:uFillTx/>
              </a:endParaRPr>
            </a:p>
          </p:txBody>
        </p:sp>
        <p:sp>
          <p:nvSpPr>
            <p:cNvPr id="110" name="Freeform 109"/>
            <p:cNvSpPr/>
            <p:nvPr/>
          </p:nvSpPr>
          <p:spPr bwMode="auto">
            <a:xfrm flipH="1">
              <a:off x="2565074" y="2374875"/>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grpSp>
      <p:sp>
        <p:nvSpPr>
          <p:cNvPr id="2" name="Title 1"/>
          <p:cNvSpPr>
            <a:spLocks noGrp="1"/>
          </p:cNvSpPr>
          <p:nvPr>
            <p:ph type="title"/>
          </p:nvPr>
        </p:nvSpPr>
        <p:spPr/>
        <p:txBody>
          <a:bodyPr/>
          <a:lstStyle/>
          <a:p>
            <a:pPr lvl="0" defTabSz="914400">
              <a:spcBef>
                <a:spcPts val="0"/>
              </a:spcBef>
              <a:spcAft>
                <a:spcPts val="600"/>
              </a:spcAft>
              <a:defRPr/>
            </a:pPr>
            <a:r>
              <a:rPr lang="en-US" kern="0" spc="0" dirty="0">
                <a:ln>
                  <a:noFill/>
                </a:ln>
                <a:solidFill>
                  <a:schemeClr val="bg1"/>
                </a:solidFill>
              </a:rPr>
              <a:t>Real-time stream processing in the cloud</a:t>
            </a:r>
          </a:p>
        </p:txBody>
      </p:sp>
      <p:grpSp>
        <p:nvGrpSpPr>
          <p:cNvPr id="3" name="Group 2"/>
          <p:cNvGrpSpPr/>
          <p:nvPr/>
        </p:nvGrpSpPr>
        <p:grpSpPr>
          <a:xfrm>
            <a:off x="2194920" y="5280894"/>
            <a:ext cx="9551240" cy="1114151"/>
            <a:chOff x="2194920" y="5413711"/>
            <a:chExt cx="9551240" cy="1114151"/>
          </a:xfrm>
        </p:grpSpPr>
        <p:sp>
          <p:nvSpPr>
            <p:cNvPr id="12" name="TextBox 11"/>
            <p:cNvSpPr txBox="1"/>
            <p:nvPr/>
          </p:nvSpPr>
          <p:spPr>
            <a:xfrm>
              <a:off x="2194920" y="5413711"/>
              <a:ext cx="5042581" cy="1114151"/>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Perform real-time analytics for your </a:t>
              </a:r>
              <a:r>
                <a:rPr kumimoji="0" lang="en-US" sz="1200" b="0" u="none" strike="noStrike" kern="0" cap="none" spc="0" normalizeH="0" baseline="0" noProof="0" dirty="0">
                  <a:ln>
                    <a:noFill/>
                  </a:ln>
                  <a:solidFill>
                    <a:schemeClr val="bg1"/>
                  </a:solidFill>
                  <a:effectLst/>
                  <a:uLnTx/>
                  <a:uFillTx/>
                </a:rPr>
                <a:t>Internet of Things </a:t>
              </a:r>
              <a:r>
                <a:rPr kumimoji="0" lang="en-US" sz="1200" b="0" i="0" u="none" strike="noStrike" kern="0" cap="none" spc="0" normalizeH="0" baseline="0" noProof="0" dirty="0">
                  <a:ln>
                    <a:noFill/>
                  </a:ln>
                  <a:solidFill>
                    <a:schemeClr val="bg1"/>
                  </a:solidFill>
                  <a:effectLst/>
                  <a:uLnTx/>
                  <a:uFillTx/>
                </a:rPr>
                <a:t>solutions</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Stream millions of events per second</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Get mission-critical reliability and performance with predictable results</a:t>
              </a:r>
            </a:p>
          </p:txBody>
        </p:sp>
        <p:sp>
          <p:nvSpPr>
            <p:cNvPr id="13" name="TextBox 12"/>
            <p:cNvSpPr txBox="1"/>
            <p:nvPr/>
          </p:nvSpPr>
          <p:spPr>
            <a:xfrm>
              <a:off x="7237502" y="5413711"/>
              <a:ext cx="4508658" cy="1114151"/>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Create real-time dashboards and alerts over data from devices and applications</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Correlate across multiple streams of data</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Use familiar SQL-based language for rapid development</a:t>
              </a:r>
            </a:p>
          </p:txBody>
        </p:sp>
      </p:grpSp>
      <p:sp>
        <p:nvSpPr>
          <p:cNvPr id="57" name="Freeform 56"/>
          <p:cNvSpPr>
            <a:spLocks/>
          </p:cNvSpPr>
          <p:nvPr/>
        </p:nvSpPr>
        <p:spPr bwMode="auto">
          <a:xfrm>
            <a:off x="10316808" y="3562477"/>
            <a:ext cx="400143" cy="394575"/>
          </a:xfrm>
          <a:custGeom>
            <a:avLst/>
            <a:gdLst>
              <a:gd name="connsiteX0" fmla="*/ 2359025 w 3194051"/>
              <a:gd name="connsiteY0" fmla="*/ 2312988 h 3149601"/>
              <a:gd name="connsiteX1" fmla="*/ 2359025 w 3194051"/>
              <a:gd name="connsiteY1" fmla="*/ 3028951 h 3149601"/>
              <a:gd name="connsiteX2" fmla="*/ 3073400 w 3194051"/>
              <a:gd name="connsiteY2" fmla="*/ 3028951 h 3149601"/>
              <a:gd name="connsiteX3" fmla="*/ 3073400 w 3194051"/>
              <a:gd name="connsiteY3" fmla="*/ 2312988 h 3149601"/>
              <a:gd name="connsiteX4" fmla="*/ 1239838 w 3194051"/>
              <a:gd name="connsiteY4" fmla="*/ 2312988 h 3149601"/>
              <a:gd name="connsiteX5" fmla="*/ 1239838 w 3194051"/>
              <a:gd name="connsiteY5" fmla="*/ 3028951 h 3149601"/>
              <a:gd name="connsiteX6" fmla="*/ 1954213 w 3194051"/>
              <a:gd name="connsiteY6" fmla="*/ 3028951 h 3149601"/>
              <a:gd name="connsiteX7" fmla="*/ 1954213 w 3194051"/>
              <a:gd name="connsiteY7" fmla="*/ 2312988 h 3149601"/>
              <a:gd name="connsiteX8" fmla="*/ 120650 w 3194051"/>
              <a:gd name="connsiteY8" fmla="*/ 2312988 h 3149601"/>
              <a:gd name="connsiteX9" fmla="*/ 120650 w 3194051"/>
              <a:gd name="connsiteY9" fmla="*/ 3028951 h 3149601"/>
              <a:gd name="connsiteX10" fmla="*/ 835025 w 3194051"/>
              <a:gd name="connsiteY10" fmla="*/ 3028951 h 3149601"/>
              <a:gd name="connsiteX11" fmla="*/ 835025 w 3194051"/>
              <a:gd name="connsiteY11" fmla="*/ 2312988 h 3149601"/>
              <a:gd name="connsiteX12" fmla="*/ 2297567 w 3194051"/>
              <a:gd name="connsiteY12" fmla="*/ 2192338 h 3149601"/>
              <a:gd name="connsiteX13" fmla="*/ 3133273 w 3194051"/>
              <a:gd name="connsiteY13" fmla="*/ 2192338 h 3149601"/>
              <a:gd name="connsiteX14" fmla="*/ 3194051 w 3194051"/>
              <a:gd name="connsiteY14" fmla="*/ 2253117 h 3149601"/>
              <a:gd name="connsiteX15" fmla="*/ 3194051 w 3194051"/>
              <a:gd name="connsiteY15" fmla="*/ 3088823 h 3149601"/>
              <a:gd name="connsiteX16" fmla="*/ 3133273 w 3194051"/>
              <a:gd name="connsiteY16" fmla="*/ 3149601 h 3149601"/>
              <a:gd name="connsiteX17" fmla="*/ 2297567 w 3194051"/>
              <a:gd name="connsiteY17" fmla="*/ 3149601 h 3149601"/>
              <a:gd name="connsiteX18" fmla="*/ 2236788 w 3194051"/>
              <a:gd name="connsiteY18" fmla="*/ 3088823 h 3149601"/>
              <a:gd name="connsiteX19" fmla="*/ 2236788 w 3194051"/>
              <a:gd name="connsiteY19" fmla="*/ 2253117 h 3149601"/>
              <a:gd name="connsiteX20" fmla="*/ 2297567 w 3194051"/>
              <a:gd name="connsiteY20" fmla="*/ 2192338 h 3149601"/>
              <a:gd name="connsiteX21" fmla="*/ 1178480 w 3194051"/>
              <a:gd name="connsiteY21" fmla="*/ 2192338 h 3149601"/>
              <a:gd name="connsiteX22" fmla="*/ 2015571 w 3194051"/>
              <a:gd name="connsiteY22" fmla="*/ 2192338 h 3149601"/>
              <a:gd name="connsiteX23" fmla="*/ 2076450 w 3194051"/>
              <a:gd name="connsiteY23" fmla="*/ 2253117 h 3149601"/>
              <a:gd name="connsiteX24" fmla="*/ 2076450 w 3194051"/>
              <a:gd name="connsiteY24" fmla="*/ 3088823 h 3149601"/>
              <a:gd name="connsiteX25" fmla="*/ 2015571 w 3194051"/>
              <a:gd name="connsiteY25" fmla="*/ 3149601 h 3149601"/>
              <a:gd name="connsiteX26" fmla="*/ 1178480 w 3194051"/>
              <a:gd name="connsiteY26" fmla="*/ 3149601 h 3149601"/>
              <a:gd name="connsiteX27" fmla="*/ 1117600 w 3194051"/>
              <a:gd name="connsiteY27" fmla="*/ 3088823 h 3149601"/>
              <a:gd name="connsiteX28" fmla="*/ 1117600 w 3194051"/>
              <a:gd name="connsiteY28" fmla="*/ 2253117 h 3149601"/>
              <a:gd name="connsiteX29" fmla="*/ 1178480 w 3194051"/>
              <a:gd name="connsiteY29" fmla="*/ 2192338 h 3149601"/>
              <a:gd name="connsiteX30" fmla="*/ 60779 w 3194051"/>
              <a:gd name="connsiteY30" fmla="*/ 2192338 h 3149601"/>
              <a:gd name="connsiteX31" fmla="*/ 896485 w 3194051"/>
              <a:gd name="connsiteY31" fmla="*/ 2192338 h 3149601"/>
              <a:gd name="connsiteX32" fmla="*/ 957263 w 3194051"/>
              <a:gd name="connsiteY32" fmla="*/ 2253117 h 3149601"/>
              <a:gd name="connsiteX33" fmla="*/ 957263 w 3194051"/>
              <a:gd name="connsiteY33" fmla="*/ 3088823 h 3149601"/>
              <a:gd name="connsiteX34" fmla="*/ 896485 w 3194051"/>
              <a:gd name="connsiteY34" fmla="*/ 3149601 h 3149601"/>
              <a:gd name="connsiteX35" fmla="*/ 60779 w 3194051"/>
              <a:gd name="connsiteY35" fmla="*/ 3149601 h 3149601"/>
              <a:gd name="connsiteX36" fmla="*/ 0 w 3194051"/>
              <a:gd name="connsiteY36" fmla="*/ 3088823 h 3149601"/>
              <a:gd name="connsiteX37" fmla="*/ 0 w 3194051"/>
              <a:gd name="connsiteY37" fmla="*/ 2253117 h 3149601"/>
              <a:gd name="connsiteX38" fmla="*/ 60779 w 3194051"/>
              <a:gd name="connsiteY38" fmla="*/ 2192338 h 3149601"/>
              <a:gd name="connsiteX39" fmla="*/ 2359025 w 3194051"/>
              <a:gd name="connsiteY39" fmla="*/ 1219200 h 3149601"/>
              <a:gd name="connsiteX40" fmla="*/ 2359025 w 3194051"/>
              <a:gd name="connsiteY40" fmla="*/ 1930400 h 3149601"/>
              <a:gd name="connsiteX41" fmla="*/ 3073400 w 3194051"/>
              <a:gd name="connsiteY41" fmla="*/ 1930400 h 3149601"/>
              <a:gd name="connsiteX42" fmla="*/ 3073400 w 3194051"/>
              <a:gd name="connsiteY42" fmla="*/ 1219200 h 3149601"/>
              <a:gd name="connsiteX43" fmla="*/ 1239838 w 3194051"/>
              <a:gd name="connsiteY43" fmla="*/ 1219200 h 3149601"/>
              <a:gd name="connsiteX44" fmla="*/ 1239838 w 3194051"/>
              <a:gd name="connsiteY44" fmla="*/ 1930400 h 3149601"/>
              <a:gd name="connsiteX45" fmla="*/ 1954213 w 3194051"/>
              <a:gd name="connsiteY45" fmla="*/ 1930400 h 3149601"/>
              <a:gd name="connsiteX46" fmla="*/ 1954213 w 3194051"/>
              <a:gd name="connsiteY46" fmla="*/ 1219200 h 3149601"/>
              <a:gd name="connsiteX47" fmla="*/ 120650 w 3194051"/>
              <a:gd name="connsiteY47" fmla="*/ 1219200 h 3149601"/>
              <a:gd name="connsiteX48" fmla="*/ 120650 w 3194051"/>
              <a:gd name="connsiteY48" fmla="*/ 1930400 h 3149601"/>
              <a:gd name="connsiteX49" fmla="*/ 835025 w 3194051"/>
              <a:gd name="connsiteY49" fmla="*/ 1930400 h 3149601"/>
              <a:gd name="connsiteX50" fmla="*/ 835025 w 3194051"/>
              <a:gd name="connsiteY50" fmla="*/ 1219200 h 3149601"/>
              <a:gd name="connsiteX51" fmla="*/ 2297567 w 3194051"/>
              <a:gd name="connsiteY51" fmla="*/ 1096963 h 3149601"/>
              <a:gd name="connsiteX52" fmla="*/ 3133273 w 3194051"/>
              <a:gd name="connsiteY52" fmla="*/ 1096963 h 3149601"/>
              <a:gd name="connsiteX53" fmla="*/ 3194051 w 3194051"/>
              <a:gd name="connsiteY53" fmla="*/ 1157834 h 3149601"/>
              <a:gd name="connsiteX54" fmla="*/ 3194051 w 3194051"/>
              <a:gd name="connsiteY54" fmla="*/ 1991767 h 3149601"/>
              <a:gd name="connsiteX55" fmla="*/ 3133273 w 3194051"/>
              <a:gd name="connsiteY55" fmla="*/ 2052638 h 3149601"/>
              <a:gd name="connsiteX56" fmla="*/ 2297567 w 3194051"/>
              <a:gd name="connsiteY56" fmla="*/ 2052638 h 3149601"/>
              <a:gd name="connsiteX57" fmla="*/ 2236788 w 3194051"/>
              <a:gd name="connsiteY57" fmla="*/ 1991767 h 3149601"/>
              <a:gd name="connsiteX58" fmla="*/ 2236788 w 3194051"/>
              <a:gd name="connsiteY58" fmla="*/ 1157834 h 3149601"/>
              <a:gd name="connsiteX59" fmla="*/ 2297567 w 3194051"/>
              <a:gd name="connsiteY59" fmla="*/ 1096963 h 3149601"/>
              <a:gd name="connsiteX60" fmla="*/ 1178480 w 3194051"/>
              <a:gd name="connsiteY60" fmla="*/ 1096963 h 3149601"/>
              <a:gd name="connsiteX61" fmla="*/ 2015571 w 3194051"/>
              <a:gd name="connsiteY61" fmla="*/ 1096963 h 3149601"/>
              <a:gd name="connsiteX62" fmla="*/ 2076450 w 3194051"/>
              <a:gd name="connsiteY62" fmla="*/ 1157834 h 3149601"/>
              <a:gd name="connsiteX63" fmla="*/ 2076450 w 3194051"/>
              <a:gd name="connsiteY63" fmla="*/ 1991767 h 3149601"/>
              <a:gd name="connsiteX64" fmla="*/ 2015571 w 3194051"/>
              <a:gd name="connsiteY64" fmla="*/ 2052638 h 3149601"/>
              <a:gd name="connsiteX65" fmla="*/ 1178480 w 3194051"/>
              <a:gd name="connsiteY65" fmla="*/ 2052638 h 3149601"/>
              <a:gd name="connsiteX66" fmla="*/ 1117600 w 3194051"/>
              <a:gd name="connsiteY66" fmla="*/ 1991767 h 3149601"/>
              <a:gd name="connsiteX67" fmla="*/ 1117600 w 3194051"/>
              <a:gd name="connsiteY67" fmla="*/ 1157834 h 3149601"/>
              <a:gd name="connsiteX68" fmla="*/ 1178480 w 3194051"/>
              <a:gd name="connsiteY68" fmla="*/ 1096963 h 3149601"/>
              <a:gd name="connsiteX69" fmla="*/ 60779 w 3194051"/>
              <a:gd name="connsiteY69" fmla="*/ 1096963 h 3149601"/>
              <a:gd name="connsiteX70" fmla="*/ 896485 w 3194051"/>
              <a:gd name="connsiteY70" fmla="*/ 1096963 h 3149601"/>
              <a:gd name="connsiteX71" fmla="*/ 957263 w 3194051"/>
              <a:gd name="connsiteY71" fmla="*/ 1157834 h 3149601"/>
              <a:gd name="connsiteX72" fmla="*/ 957263 w 3194051"/>
              <a:gd name="connsiteY72" fmla="*/ 1991767 h 3149601"/>
              <a:gd name="connsiteX73" fmla="*/ 896485 w 3194051"/>
              <a:gd name="connsiteY73" fmla="*/ 2052638 h 3149601"/>
              <a:gd name="connsiteX74" fmla="*/ 60779 w 3194051"/>
              <a:gd name="connsiteY74" fmla="*/ 2052638 h 3149601"/>
              <a:gd name="connsiteX75" fmla="*/ 0 w 3194051"/>
              <a:gd name="connsiteY75" fmla="*/ 1991767 h 3149601"/>
              <a:gd name="connsiteX76" fmla="*/ 0 w 3194051"/>
              <a:gd name="connsiteY76" fmla="*/ 1157834 h 3149601"/>
              <a:gd name="connsiteX77" fmla="*/ 60779 w 3194051"/>
              <a:gd name="connsiteY77" fmla="*/ 1096963 h 3149601"/>
              <a:gd name="connsiteX78" fmla="*/ 2359025 w 3194051"/>
              <a:gd name="connsiteY78" fmla="*/ 122238 h 3149601"/>
              <a:gd name="connsiteX79" fmla="*/ 2359025 w 3194051"/>
              <a:gd name="connsiteY79" fmla="*/ 860426 h 3149601"/>
              <a:gd name="connsiteX80" fmla="*/ 3073400 w 3194051"/>
              <a:gd name="connsiteY80" fmla="*/ 860426 h 3149601"/>
              <a:gd name="connsiteX81" fmla="*/ 3073400 w 3194051"/>
              <a:gd name="connsiteY81" fmla="*/ 122238 h 3149601"/>
              <a:gd name="connsiteX82" fmla="*/ 1239838 w 3194051"/>
              <a:gd name="connsiteY82" fmla="*/ 122238 h 3149601"/>
              <a:gd name="connsiteX83" fmla="*/ 1239838 w 3194051"/>
              <a:gd name="connsiteY83" fmla="*/ 860426 h 3149601"/>
              <a:gd name="connsiteX84" fmla="*/ 1954213 w 3194051"/>
              <a:gd name="connsiteY84" fmla="*/ 860426 h 3149601"/>
              <a:gd name="connsiteX85" fmla="*/ 1954213 w 3194051"/>
              <a:gd name="connsiteY85" fmla="*/ 122238 h 3149601"/>
              <a:gd name="connsiteX86" fmla="*/ 120650 w 3194051"/>
              <a:gd name="connsiteY86" fmla="*/ 122238 h 3149601"/>
              <a:gd name="connsiteX87" fmla="*/ 120650 w 3194051"/>
              <a:gd name="connsiteY87" fmla="*/ 860426 h 3149601"/>
              <a:gd name="connsiteX88" fmla="*/ 835025 w 3194051"/>
              <a:gd name="connsiteY88" fmla="*/ 860426 h 3149601"/>
              <a:gd name="connsiteX89" fmla="*/ 835025 w 3194051"/>
              <a:gd name="connsiteY89" fmla="*/ 122238 h 3149601"/>
              <a:gd name="connsiteX90" fmla="*/ 2297567 w 3194051"/>
              <a:gd name="connsiteY90" fmla="*/ 0 h 3149601"/>
              <a:gd name="connsiteX91" fmla="*/ 3133273 w 3194051"/>
              <a:gd name="connsiteY91" fmla="*/ 0 h 3149601"/>
              <a:gd name="connsiteX92" fmla="*/ 3194051 w 3194051"/>
              <a:gd name="connsiteY92" fmla="*/ 60846 h 3149601"/>
              <a:gd name="connsiteX93" fmla="*/ 3194051 w 3194051"/>
              <a:gd name="connsiteY93" fmla="*/ 921817 h 3149601"/>
              <a:gd name="connsiteX94" fmla="*/ 3133273 w 3194051"/>
              <a:gd name="connsiteY94" fmla="*/ 982663 h 3149601"/>
              <a:gd name="connsiteX95" fmla="*/ 2297567 w 3194051"/>
              <a:gd name="connsiteY95" fmla="*/ 982663 h 3149601"/>
              <a:gd name="connsiteX96" fmla="*/ 2236788 w 3194051"/>
              <a:gd name="connsiteY96" fmla="*/ 921817 h 3149601"/>
              <a:gd name="connsiteX97" fmla="*/ 2236788 w 3194051"/>
              <a:gd name="connsiteY97" fmla="*/ 60846 h 3149601"/>
              <a:gd name="connsiteX98" fmla="*/ 2297567 w 3194051"/>
              <a:gd name="connsiteY98" fmla="*/ 0 h 3149601"/>
              <a:gd name="connsiteX99" fmla="*/ 1178480 w 3194051"/>
              <a:gd name="connsiteY99" fmla="*/ 0 h 3149601"/>
              <a:gd name="connsiteX100" fmla="*/ 2015571 w 3194051"/>
              <a:gd name="connsiteY100" fmla="*/ 0 h 3149601"/>
              <a:gd name="connsiteX101" fmla="*/ 2076450 w 3194051"/>
              <a:gd name="connsiteY101" fmla="*/ 60846 h 3149601"/>
              <a:gd name="connsiteX102" fmla="*/ 2076450 w 3194051"/>
              <a:gd name="connsiteY102" fmla="*/ 921817 h 3149601"/>
              <a:gd name="connsiteX103" fmla="*/ 2015571 w 3194051"/>
              <a:gd name="connsiteY103" fmla="*/ 982663 h 3149601"/>
              <a:gd name="connsiteX104" fmla="*/ 1178480 w 3194051"/>
              <a:gd name="connsiteY104" fmla="*/ 982663 h 3149601"/>
              <a:gd name="connsiteX105" fmla="*/ 1117600 w 3194051"/>
              <a:gd name="connsiteY105" fmla="*/ 921817 h 3149601"/>
              <a:gd name="connsiteX106" fmla="*/ 1117600 w 3194051"/>
              <a:gd name="connsiteY106" fmla="*/ 60846 h 3149601"/>
              <a:gd name="connsiteX107" fmla="*/ 1178480 w 3194051"/>
              <a:gd name="connsiteY107" fmla="*/ 0 h 3149601"/>
              <a:gd name="connsiteX108" fmla="*/ 60779 w 3194051"/>
              <a:gd name="connsiteY108" fmla="*/ 0 h 3149601"/>
              <a:gd name="connsiteX109" fmla="*/ 896485 w 3194051"/>
              <a:gd name="connsiteY109" fmla="*/ 0 h 3149601"/>
              <a:gd name="connsiteX110" fmla="*/ 957263 w 3194051"/>
              <a:gd name="connsiteY110" fmla="*/ 60846 h 3149601"/>
              <a:gd name="connsiteX111" fmla="*/ 957263 w 3194051"/>
              <a:gd name="connsiteY111" fmla="*/ 921817 h 3149601"/>
              <a:gd name="connsiteX112" fmla="*/ 896485 w 3194051"/>
              <a:gd name="connsiteY112" fmla="*/ 982663 h 3149601"/>
              <a:gd name="connsiteX113" fmla="*/ 60779 w 3194051"/>
              <a:gd name="connsiteY113" fmla="*/ 982663 h 3149601"/>
              <a:gd name="connsiteX114" fmla="*/ 0 w 3194051"/>
              <a:gd name="connsiteY114" fmla="*/ 921817 h 3149601"/>
              <a:gd name="connsiteX115" fmla="*/ 0 w 3194051"/>
              <a:gd name="connsiteY115" fmla="*/ 60846 h 3149601"/>
              <a:gd name="connsiteX116" fmla="*/ 60779 w 3194051"/>
              <a:gd name="connsiteY116" fmla="*/ 0 h 3149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3194051" h="3149601">
                <a:moveTo>
                  <a:pt x="2359025" y="2312988"/>
                </a:moveTo>
                <a:lnTo>
                  <a:pt x="2359025" y="3028951"/>
                </a:lnTo>
                <a:lnTo>
                  <a:pt x="3073400" y="3028951"/>
                </a:lnTo>
                <a:lnTo>
                  <a:pt x="3073400" y="2312988"/>
                </a:lnTo>
                <a:close/>
                <a:moveTo>
                  <a:pt x="1239838" y="2312988"/>
                </a:moveTo>
                <a:lnTo>
                  <a:pt x="1239838" y="3028951"/>
                </a:lnTo>
                <a:lnTo>
                  <a:pt x="1954213" y="3028951"/>
                </a:lnTo>
                <a:lnTo>
                  <a:pt x="1954213" y="2312988"/>
                </a:lnTo>
                <a:close/>
                <a:moveTo>
                  <a:pt x="120650" y="2312988"/>
                </a:moveTo>
                <a:lnTo>
                  <a:pt x="120650" y="3028951"/>
                </a:lnTo>
                <a:lnTo>
                  <a:pt x="835025" y="3028951"/>
                </a:lnTo>
                <a:lnTo>
                  <a:pt x="835025" y="2312988"/>
                </a:lnTo>
                <a:close/>
                <a:moveTo>
                  <a:pt x="2297567" y="2192338"/>
                </a:moveTo>
                <a:cubicBezTo>
                  <a:pt x="3133273" y="2192338"/>
                  <a:pt x="3133273" y="2192338"/>
                  <a:pt x="3133273" y="2192338"/>
                </a:cubicBezTo>
                <a:cubicBezTo>
                  <a:pt x="3166701" y="2192338"/>
                  <a:pt x="3194051" y="2219688"/>
                  <a:pt x="3194051" y="2253117"/>
                </a:cubicBezTo>
                <a:cubicBezTo>
                  <a:pt x="3194051" y="3088823"/>
                  <a:pt x="3194051" y="3088823"/>
                  <a:pt x="3194051" y="3088823"/>
                </a:cubicBezTo>
                <a:cubicBezTo>
                  <a:pt x="3194051" y="3122251"/>
                  <a:pt x="3166701" y="3149601"/>
                  <a:pt x="3133273" y="3149601"/>
                </a:cubicBezTo>
                <a:cubicBezTo>
                  <a:pt x="2297567" y="3149601"/>
                  <a:pt x="2297567" y="3149601"/>
                  <a:pt x="2297567" y="3149601"/>
                </a:cubicBezTo>
                <a:cubicBezTo>
                  <a:pt x="2264139" y="3149601"/>
                  <a:pt x="2236788" y="3122251"/>
                  <a:pt x="2236788" y="3088823"/>
                </a:cubicBezTo>
                <a:cubicBezTo>
                  <a:pt x="2236788" y="2253117"/>
                  <a:pt x="2236788" y="2253117"/>
                  <a:pt x="2236788" y="2253117"/>
                </a:cubicBezTo>
                <a:cubicBezTo>
                  <a:pt x="2236788" y="2219688"/>
                  <a:pt x="2264139" y="2192338"/>
                  <a:pt x="2297567" y="2192338"/>
                </a:cubicBezTo>
                <a:close/>
                <a:moveTo>
                  <a:pt x="1178480" y="2192338"/>
                </a:moveTo>
                <a:cubicBezTo>
                  <a:pt x="2015571" y="2192338"/>
                  <a:pt x="2015571" y="2192338"/>
                  <a:pt x="2015571" y="2192338"/>
                </a:cubicBezTo>
                <a:cubicBezTo>
                  <a:pt x="2049055" y="2192338"/>
                  <a:pt x="2076450" y="2219688"/>
                  <a:pt x="2076450" y="2253117"/>
                </a:cubicBezTo>
                <a:cubicBezTo>
                  <a:pt x="2076450" y="3088823"/>
                  <a:pt x="2076450" y="3088823"/>
                  <a:pt x="2076450" y="3088823"/>
                </a:cubicBezTo>
                <a:cubicBezTo>
                  <a:pt x="2076450" y="3122251"/>
                  <a:pt x="2049055" y="3149601"/>
                  <a:pt x="2015571" y="3149601"/>
                </a:cubicBezTo>
                <a:cubicBezTo>
                  <a:pt x="1178480" y="3149601"/>
                  <a:pt x="1178480" y="3149601"/>
                  <a:pt x="1178480" y="3149601"/>
                </a:cubicBezTo>
                <a:cubicBezTo>
                  <a:pt x="1144996" y="3149601"/>
                  <a:pt x="1117600" y="3122251"/>
                  <a:pt x="1117600" y="3088823"/>
                </a:cubicBezTo>
                <a:cubicBezTo>
                  <a:pt x="1117600" y="2253117"/>
                  <a:pt x="1117600" y="2253117"/>
                  <a:pt x="1117600" y="2253117"/>
                </a:cubicBezTo>
                <a:cubicBezTo>
                  <a:pt x="1117600" y="2219688"/>
                  <a:pt x="1144996" y="2192338"/>
                  <a:pt x="1178480" y="2192338"/>
                </a:cubicBezTo>
                <a:close/>
                <a:moveTo>
                  <a:pt x="60779" y="2192338"/>
                </a:moveTo>
                <a:cubicBezTo>
                  <a:pt x="896485" y="2192338"/>
                  <a:pt x="896485" y="2192338"/>
                  <a:pt x="896485" y="2192338"/>
                </a:cubicBezTo>
                <a:cubicBezTo>
                  <a:pt x="929913" y="2192338"/>
                  <a:pt x="957263" y="2219688"/>
                  <a:pt x="957263" y="2253117"/>
                </a:cubicBezTo>
                <a:cubicBezTo>
                  <a:pt x="957263" y="3088823"/>
                  <a:pt x="957263" y="3088823"/>
                  <a:pt x="957263" y="3088823"/>
                </a:cubicBezTo>
                <a:cubicBezTo>
                  <a:pt x="957263" y="3122251"/>
                  <a:pt x="929913" y="3149601"/>
                  <a:pt x="896485" y="3149601"/>
                </a:cubicBezTo>
                <a:cubicBezTo>
                  <a:pt x="60779" y="3149601"/>
                  <a:pt x="60779" y="3149601"/>
                  <a:pt x="60779" y="3149601"/>
                </a:cubicBezTo>
                <a:cubicBezTo>
                  <a:pt x="27351" y="3149601"/>
                  <a:pt x="0" y="3122251"/>
                  <a:pt x="0" y="3088823"/>
                </a:cubicBezTo>
                <a:cubicBezTo>
                  <a:pt x="0" y="2253117"/>
                  <a:pt x="0" y="2253117"/>
                  <a:pt x="0" y="2253117"/>
                </a:cubicBezTo>
                <a:cubicBezTo>
                  <a:pt x="0" y="2219688"/>
                  <a:pt x="27351" y="2192338"/>
                  <a:pt x="60779" y="2192338"/>
                </a:cubicBezTo>
                <a:close/>
                <a:moveTo>
                  <a:pt x="2359025" y="1219200"/>
                </a:moveTo>
                <a:lnTo>
                  <a:pt x="2359025" y="1930400"/>
                </a:lnTo>
                <a:lnTo>
                  <a:pt x="3073400" y="1930400"/>
                </a:lnTo>
                <a:lnTo>
                  <a:pt x="3073400" y="1219200"/>
                </a:lnTo>
                <a:close/>
                <a:moveTo>
                  <a:pt x="1239838" y="1219200"/>
                </a:moveTo>
                <a:lnTo>
                  <a:pt x="1239838" y="1930400"/>
                </a:lnTo>
                <a:lnTo>
                  <a:pt x="1954213" y="1930400"/>
                </a:lnTo>
                <a:lnTo>
                  <a:pt x="1954213" y="1219200"/>
                </a:lnTo>
                <a:close/>
                <a:moveTo>
                  <a:pt x="120650" y="1219200"/>
                </a:moveTo>
                <a:lnTo>
                  <a:pt x="120650" y="1930400"/>
                </a:lnTo>
                <a:lnTo>
                  <a:pt x="835025" y="1930400"/>
                </a:lnTo>
                <a:lnTo>
                  <a:pt x="835025" y="1219200"/>
                </a:lnTo>
                <a:close/>
                <a:moveTo>
                  <a:pt x="2297567" y="1096963"/>
                </a:moveTo>
                <a:cubicBezTo>
                  <a:pt x="3133273" y="1096963"/>
                  <a:pt x="3133273" y="1096963"/>
                  <a:pt x="3133273" y="1096963"/>
                </a:cubicBezTo>
                <a:cubicBezTo>
                  <a:pt x="3166701" y="1096963"/>
                  <a:pt x="3194051" y="1124355"/>
                  <a:pt x="3194051" y="1157834"/>
                </a:cubicBezTo>
                <a:cubicBezTo>
                  <a:pt x="3194051" y="1991767"/>
                  <a:pt x="3194051" y="1991767"/>
                  <a:pt x="3194051" y="1991767"/>
                </a:cubicBezTo>
                <a:cubicBezTo>
                  <a:pt x="3194051" y="2025246"/>
                  <a:pt x="3166701" y="2052638"/>
                  <a:pt x="3133273" y="2052638"/>
                </a:cubicBezTo>
                <a:cubicBezTo>
                  <a:pt x="2297567" y="2052638"/>
                  <a:pt x="2297567" y="2052638"/>
                  <a:pt x="2297567" y="2052638"/>
                </a:cubicBezTo>
                <a:cubicBezTo>
                  <a:pt x="2264139" y="2052638"/>
                  <a:pt x="2236788" y="2025246"/>
                  <a:pt x="2236788" y="1991767"/>
                </a:cubicBezTo>
                <a:cubicBezTo>
                  <a:pt x="2236788" y="1157834"/>
                  <a:pt x="2236788" y="1157834"/>
                  <a:pt x="2236788" y="1157834"/>
                </a:cubicBezTo>
                <a:cubicBezTo>
                  <a:pt x="2236788" y="1124355"/>
                  <a:pt x="2264139" y="1096963"/>
                  <a:pt x="2297567" y="1096963"/>
                </a:cubicBezTo>
                <a:close/>
                <a:moveTo>
                  <a:pt x="1178480" y="1096963"/>
                </a:moveTo>
                <a:cubicBezTo>
                  <a:pt x="2015571" y="1096963"/>
                  <a:pt x="2015571" y="1096963"/>
                  <a:pt x="2015571" y="1096963"/>
                </a:cubicBezTo>
                <a:cubicBezTo>
                  <a:pt x="2049055" y="1096963"/>
                  <a:pt x="2076450" y="1124355"/>
                  <a:pt x="2076450" y="1157834"/>
                </a:cubicBezTo>
                <a:cubicBezTo>
                  <a:pt x="2076450" y="1991767"/>
                  <a:pt x="2076450" y="1991767"/>
                  <a:pt x="2076450" y="1991767"/>
                </a:cubicBezTo>
                <a:cubicBezTo>
                  <a:pt x="2076450" y="2025246"/>
                  <a:pt x="2049055" y="2052638"/>
                  <a:pt x="2015571" y="2052638"/>
                </a:cubicBezTo>
                <a:cubicBezTo>
                  <a:pt x="1178480" y="2052638"/>
                  <a:pt x="1178480" y="2052638"/>
                  <a:pt x="1178480" y="2052638"/>
                </a:cubicBezTo>
                <a:cubicBezTo>
                  <a:pt x="1144996" y="2052638"/>
                  <a:pt x="1117600" y="2025246"/>
                  <a:pt x="1117600" y="1991767"/>
                </a:cubicBezTo>
                <a:cubicBezTo>
                  <a:pt x="1117600" y="1157834"/>
                  <a:pt x="1117600" y="1157834"/>
                  <a:pt x="1117600" y="1157834"/>
                </a:cubicBezTo>
                <a:cubicBezTo>
                  <a:pt x="1117600" y="1124355"/>
                  <a:pt x="1144996" y="1096963"/>
                  <a:pt x="1178480" y="1096963"/>
                </a:cubicBezTo>
                <a:close/>
                <a:moveTo>
                  <a:pt x="60779" y="1096963"/>
                </a:moveTo>
                <a:cubicBezTo>
                  <a:pt x="896485" y="1096963"/>
                  <a:pt x="896485" y="1096963"/>
                  <a:pt x="896485" y="1096963"/>
                </a:cubicBezTo>
                <a:cubicBezTo>
                  <a:pt x="929913" y="1096963"/>
                  <a:pt x="957263" y="1124355"/>
                  <a:pt x="957263" y="1157834"/>
                </a:cubicBezTo>
                <a:cubicBezTo>
                  <a:pt x="957263" y="1991767"/>
                  <a:pt x="957263" y="1991767"/>
                  <a:pt x="957263" y="1991767"/>
                </a:cubicBezTo>
                <a:cubicBezTo>
                  <a:pt x="957263" y="2025246"/>
                  <a:pt x="929913" y="2052638"/>
                  <a:pt x="896485" y="2052638"/>
                </a:cubicBezTo>
                <a:cubicBezTo>
                  <a:pt x="60779" y="2052638"/>
                  <a:pt x="60779" y="2052638"/>
                  <a:pt x="60779" y="2052638"/>
                </a:cubicBezTo>
                <a:cubicBezTo>
                  <a:pt x="27351" y="2052638"/>
                  <a:pt x="0" y="2025246"/>
                  <a:pt x="0" y="1991767"/>
                </a:cubicBezTo>
                <a:cubicBezTo>
                  <a:pt x="0" y="1157834"/>
                  <a:pt x="0" y="1157834"/>
                  <a:pt x="0" y="1157834"/>
                </a:cubicBezTo>
                <a:cubicBezTo>
                  <a:pt x="0" y="1124355"/>
                  <a:pt x="27351" y="1096963"/>
                  <a:pt x="60779" y="1096963"/>
                </a:cubicBezTo>
                <a:close/>
                <a:moveTo>
                  <a:pt x="2359025" y="122238"/>
                </a:moveTo>
                <a:lnTo>
                  <a:pt x="2359025" y="860426"/>
                </a:lnTo>
                <a:lnTo>
                  <a:pt x="3073400" y="860426"/>
                </a:lnTo>
                <a:lnTo>
                  <a:pt x="3073400" y="122238"/>
                </a:lnTo>
                <a:close/>
                <a:moveTo>
                  <a:pt x="1239838" y="122238"/>
                </a:moveTo>
                <a:lnTo>
                  <a:pt x="1239838" y="860426"/>
                </a:lnTo>
                <a:lnTo>
                  <a:pt x="1954213" y="860426"/>
                </a:lnTo>
                <a:lnTo>
                  <a:pt x="1954213" y="122238"/>
                </a:lnTo>
                <a:close/>
                <a:moveTo>
                  <a:pt x="120650" y="122238"/>
                </a:moveTo>
                <a:lnTo>
                  <a:pt x="120650" y="860426"/>
                </a:lnTo>
                <a:lnTo>
                  <a:pt x="835025" y="860426"/>
                </a:lnTo>
                <a:lnTo>
                  <a:pt x="835025" y="122238"/>
                </a:lnTo>
                <a:close/>
                <a:moveTo>
                  <a:pt x="2297567" y="0"/>
                </a:moveTo>
                <a:cubicBezTo>
                  <a:pt x="3133273" y="0"/>
                  <a:pt x="3133273" y="0"/>
                  <a:pt x="3133273" y="0"/>
                </a:cubicBezTo>
                <a:cubicBezTo>
                  <a:pt x="3166701" y="0"/>
                  <a:pt x="3194051" y="27381"/>
                  <a:pt x="3194051" y="60846"/>
                </a:cubicBezTo>
                <a:cubicBezTo>
                  <a:pt x="3194051" y="921817"/>
                  <a:pt x="3194051" y="921817"/>
                  <a:pt x="3194051" y="921817"/>
                </a:cubicBezTo>
                <a:cubicBezTo>
                  <a:pt x="3194051" y="955282"/>
                  <a:pt x="3166701" y="982663"/>
                  <a:pt x="3133273" y="982663"/>
                </a:cubicBezTo>
                <a:cubicBezTo>
                  <a:pt x="2297567" y="982663"/>
                  <a:pt x="2297567" y="982663"/>
                  <a:pt x="2297567" y="982663"/>
                </a:cubicBezTo>
                <a:cubicBezTo>
                  <a:pt x="2264139" y="982663"/>
                  <a:pt x="2236788" y="955282"/>
                  <a:pt x="2236788" y="921817"/>
                </a:cubicBezTo>
                <a:cubicBezTo>
                  <a:pt x="2236788" y="60846"/>
                  <a:pt x="2236788" y="60846"/>
                  <a:pt x="2236788" y="60846"/>
                </a:cubicBezTo>
                <a:cubicBezTo>
                  <a:pt x="2236788" y="27381"/>
                  <a:pt x="2264139" y="0"/>
                  <a:pt x="2297567" y="0"/>
                </a:cubicBezTo>
                <a:close/>
                <a:moveTo>
                  <a:pt x="1178480" y="0"/>
                </a:moveTo>
                <a:cubicBezTo>
                  <a:pt x="2015571" y="0"/>
                  <a:pt x="2015571" y="0"/>
                  <a:pt x="2015571" y="0"/>
                </a:cubicBezTo>
                <a:cubicBezTo>
                  <a:pt x="2049055" y="0"/>
                  <a:pt x="2076450" y="27381"/>
                  <a:pt x="2076450" y="60846"/>
                </a:cubicBezTo>
                <a:cubicBezTo>
                  <a:pt x="2076450" y="921817"/>
                  <a:pt x="2076450" y="921817"/>
                  <a:pt x="2076450" y="921817"/>
                </a:cubicBezTo>
                <a:cubicBezTo>
                  <a:pt x="2076450" y="955282"/>
                  <a:pt x="2049055" y="982663"/>
                  <a:pt x="2015571" y="982663"/>
                </a:cubicBezTo>
                <a:cubicBezTo>
                  <a:pt x="1178480" y="982663"/>
                  <a:pt x="1178480" y="982663"/>
                  <a:pt x="1178480" y="982663"/>
                </a:cubicBezTo>
                <a:cubicBezTo>
                  <a:pt x="1144996" y="982663"/>
                  <a:pt x="1117600" y="955282"/>
                  <a:pt x="1117600" y="921817"/>
                </a:cubicBezTo>
                <a:cubicBezTo>
                  <a:pt x="1117600" y="60846"/>
                  <a:pt x="1117600" y="60846"/>
                  <a:pt x="1117600" y="60846"/>
                </a:cubicBezTo>
                <a:cubicBezTo>
                  <a:pt x="1117600" y="27381"/>
                  <a:pt x="1144996" y="0"/>
                  <a:pt x="1178480" y="0"/>
                </a:cubicBezTo>
                <a:close/>
                <a:moveTo>
                  <a:pt x="60779" y="0"/>
                </a:moveTo>
                <a:cubicBezTo>
                  <a:pt x="896485" y="0"/>
                  <a:pt x="896485" y="0"/>
                  <a:pt x="896485" y="0"/>
                </a:cubicBezTo>
                <a:cubicBezTo>
                  <a:pt x="929913" y="0"/>
                  <a:pt x="957263" y="27381"/>
                  <a:pt x="957263" y="60846"/>
                </a:cubicBezTo>
                <a:cubicBezTo>
                  <a:pt x="957263" y="921817"/>
                  <a:pt x="957263" y="921817"/>
                  <a:pt x="957263" y="921817"/>
                </a:cubicBezTo>
                <a:cubicBezTo>
                  <a:pt x="957263" y="955282"/>
                  <a:pt x="929913" y="982663"/>
                  <a:pt x="896485" y="982663"/>
                </a:cubicBezTo>
                <a:cubicBezTo>
                  <a:pt x="60779" y="982663"/>
                  <a:pt x="60779" y="982663"/>
                  <a:pt x="60779" y="982663"/>
                </a:cubicBezTo>
                <a:cubicBezTo>
                  <a:pt x="27351" y="982663"/>
                  <a:pt x="0" y="955282"/>
                  <a:pt x="0" y="921817"/>
                </a:cubicBezTo>
                <a:cubicBezTo>
                  <a:pt x="0" y="60846"/>
                  <a:pt x="0" y="60846"/>
                  <a:pt x="0" y="60846"/>
                </a:cubicBezTo>
                <a:cubicBezTo>
                  <a:pt x="0" y="27381"/>
                  <a:pt x="27351" y="0"/>
                  <a:pt x="60779" y="0"/>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59" name="Rectangle 58"/>
          <p:cNvSpPr/>
          <p:nvPr/>
        </p:nvSpPr>
        <p:spPr bwMode="auto">
          <a:xfrm>
            <a:off x="2566913" y="2415195"/>
            <a:ext cx="1307290" cy="40125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accent1"/>
                </a:solidFill>
                <a:effectLst/>
                <a:uLnTx/>
                <a:uFillTx/>
              </a:rPr>
              <a:t>Event Hubs</a:t>
            </a:r>
          </a:p>
        </p:txBody>
      </p:sp>
      <p:sp>
        <p:nvSpPr>
          <p:cNvPr id="60" name="Rectangle 59"/>
          <p:cNvSpPr/>
          <p:nvPr/>
        </p:nvSpPr>
        <p:spPr bwMode="auto">
          <a:xfrm>
            <a:off x="2561584" y="4326090"/>
            <a:ext cx="1307290" cy="40125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accent1"/>
                </a:solidFill>
                <a:effectLst/>
                <a:uLnTx/>
                <a:uFillTx/>
              </a:rPr>
              <a:t>Blob Storage</a:t>
            </a:r>
          </a:p>
        </p:txBody>
      </p:sp>
      <p:sp>
        <p:nvSpPr>
          <p:cNvPr id="61" name="Rectangle 60"/>
          <p:cNvSpPr/>
          <p:nvPr/>
        </p:nvSpPr>
        <p:spPr bwMode="auto">
          <a:xfrm>
            <a:off x="5725336" y="3347396"/>
            <a:ext cx="1307290" cy="586627"/>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sp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accent1"/>
                </a:solidFill>
                <a:effectLst/>
                <a:uLnTx/>
                <a:uFillTx/>
              </a:rPr>
              <a:t>Stream Analytics</a:t>
            </a:r>
          </a:p>
        </p:txBody>
      </p:sp>
      <p:sp>
        <p:nvSpPr>
          <p:cNvPr id="62" name="Rectangle 61"/>
          <p:cNvSpPr/>
          <p:nvPr/>
        </p:nvSpPr>
        <p:spPr bwMode="auto">
          <a:xfrm>
            <a:off x="8873260" y="1791850"/>
            <a:ext cx="1307290" cy="340406"/>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sp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accent1"/>
                </a:solidFill>
                <a:effectLst/>
                <a:uLnTx/>
                <a:uFillTx/>
              </a:rPr>
              <a:t>SQL Database</a:t>
            </a:r>
          </a:p>
        </p:txBody>
      </p:sp>
      <p:sp>
        <p:nvSpPr>
          <p:cNvPr id="63" name="Rectangle 62"/>
          <p:cNvSpPr/>
          <p:nvPr/>
        </p:nvSpPr>
        <p:spPr bwMode="auto">
          <a:xfrm>
            <a:off x="8873260" y="2968691"/>
            <a:ext cx="1307290" cy="340406"/>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sp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accent1"/>
                </a:solidFill>
                <a:effectLst/>
                <a:uLnTx/>
                <a:uFillTx/>
              </a:rPr>
              <a:t>Event Hubs</a:t>
            </a:r>
          </a:p>
        </p:txBody>
      </p:sp>
      <p:sp>
        <p:nvSpPr>
          <p:cNvPr id="64" name="Rectangle 63"/>
          <p:cNvSpPr/>
          <p:nvPr/>
        </p:nvSpPr>
        <p:spPr bwMode="auto">
          <a:xfrm>
            <a:off x="8873260" y="4211723"/>
            <a:ext cx="1307290" cy="340406"/>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sp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accent1"/>
                </a:solidFill>
                <a:effectLst/>
                <a:uLnTx/>
                <a:uFillTx/>
              </a:rPr>
              <a:t>Power BI</a:t>
            </a:r>
          </a:p>
        </p:txBody>
      </p:sp>
      <p:sp>
        <p:nvSpPr>
          <p:cNvPr id="65" name="Rectangle 64"/>
          <p:cNvSpPr/>
          <p:nvPr/>
        </p:nvSpPr>
        <p:spPr bwMode="auto">
          <a:xfrm>
            <a:off x="8873260" y="2349847"/>
            <a:ext cx="1307290" cy="40125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accent1"/>
                </a:solidFill>
                <a:effectLst/>
                <a:uLnTx/>
                <a:uFillTx/>
              </a:rPr>
              <a:t>Blob Storage</a:t>
            </a:r>
          </a:p>
        </p:txBody>
      </p:sp>
      <p:sp>
        <p:nvSpPr>
          <p:cNvPr id="66" name="Rectangle 65"/>
          <p:cNvSpPr/>
          <p:nvPr/>
        </p:nvSpPr>
        <p:spPr bwMode="auto">
          <a:xfrm>
            <a:off x="8873260" y="3561913"/>
            <a:ext cx="1307290" cy="40125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accent1"/>
                </a:solidFill>
                <a:effectLst/>
                <a:uLnTx/>
                <a:uFillTx/>
              </a:rPr>
              <a:t>Table Storage</a:t>
            </a:r>
          </a:p>
        </p:txBody>
      </p:sp>
      <p:cxnSp>
        <p:nvCxnSpPr>
          <p:cNvPr id="67" name="Straight Arrow Connector 66"/>
          <p:cNvCxnSpPr/>
          <p:nvPr/>
        </p:nvCxnSpPr>
        <p:spPr>
          <a:xfrm flipV="1">
            <a:off x="3874203" y="3166049"/>
            <a:ext cx="2015827" cy="1"/>
          </a:xfrm>
          <a:prstGeom prst="straightConnector1">
            <a:avLst/>
          </a:pr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68" name="Elbow Connector 67"/>
          <p:cNvCxnSpPr/>
          <p:nvPr/>
        </p:nvCxnSpPr>
        <p:spPr>
          <a:xfrm rot="16200000" flipH="1">
            <a:off x="2690580" y="3149380"/>
            <a:ext cx="1910894" cy="770"/>
          </a:xfrm>
          <a:prstGeom prst="bentConnector4">
            <a:avLst>
              <a:gd name="adj1" fmla="val 154"/>
              <a:gd name="adj2" fmla="val 29788312"/>
            </a:avLst>
          </a:prstGeom>
          <a:ln w="12700">
            <a:solidFill>
              <a:schemeClr val="accent1"/>
            </a:solidFill>
            <a:headEnd type="none"/>
            <a:tailEnd type="none" w="lg" len="med"/>
          </a:ln>
        </p:spPr>
        <p:style>
          <a:lnRef idx="1">
            <a:schemeClr val="accent1"/>
          </a:lnRef>
          <a:fillRef idx="0">
            <a:schemeClr val="accent1"/>
          </a:fillRef>
          <a:effectRef idx="0">
            <a:schemeClr val="accent1"/>
          </a:effectRef>
          <a:fontRef idx="minor">
            <a:schemeClr val="tx1"/>
          </a:fontRef>
        </p:style>
      </p:cxnSp>
      <p:grpSp>
        <p:nvGrpSpPr>
          <p:cNvPr id="137" name="Group 136"/>
          <p:cNvGrpSpPr>
            <a:grpSpLocks noChangeAspect="1"/>
          </p:cNvGrpSpPr>
          <p:nvPr/>
        </p:nvGrpSpPr>
        <p:grpSpPr>
          <a:xfrm>
            <a:off x="6040802" y="2912423"/>
            <a:ext cx="564995" cy="434024"/>
            <a:chOff x="1260022" y="5196402"/>
            <a:chExt cx="3273425" cy="2514600"/>
          </a:xfrm>
          <a:solidFill>
            <a:schemeClr val="accent1"/>
          </a:solidFill>
        </p:grpSpPr>
        <p:sp>
          <p:nvSpPr>
            <p:cNvPr id="169" name="Freeform 168"/>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170" name="Freeform 169"/>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171" name="Freeform 170"/>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172" name="Freeform 171"/>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grpSp>
      <p:sp>
        <p:nvSpPr>
          <p:cNvPr id="173" name="Freeform 172"/>
          <p:cNvSpPr>
            <a:spLocks noChangeAspect="1"/>
          </p:cNvSpPr>
          <p:nvPr/>
        </p:nvSpPr>
        <p:spPr bwMode="auto">
          <a:xfrm>
            <a:off x="2996441" y="1994052"/>
            <a:ext cx="402442" cy="421143"/>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chemeClr val="tx1"/>
              </a:solidFill>
              <a:effectLst/>
              <a:uLnTx/>
              <a:uFillTx/>
              <a:ea typeface="Segoe UI" pitchFamily="34" charset="0"/>
              <a:cs typeface="Segoe UI" pitchFamily="34" charset="0"/>
            </a:endParaRPr>
          </a:p>
        </p:txBody>
      </p:sp>
      <p:grpSp>
        <p:nvGrpSpPr>
          <p:cNvPr id="174" name="Group 173"/>
          <p:cNvGrpSpPr>
            <a:grpSpLocks noChangeAspect="1"/>
          </p:cNvGrpSpPr>
          <p:nvPr/>
        </p:nvGrpSpPr>
        <p:grpSpPr>
          <a:xfrm>
            <a:off x="10274186" y="4175874"/>
            <a:ext cx="511956" cy="327217"/>
            <a:chOff x="7884058" y="5368509"/>
            <a:chExt cx="324905" cy="207663"/>
          </a:xfrm>
          <a:solidFill>
            <a:schemeClr val="accent1"/>
          </a:solidFill>
        </p:grpSpPr>
        <p:sp>
          <p:nvSpPr>
            <p:cNvPr id="17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7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7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7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7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grpSp>
      <p:sp>
        <p:nvSpPr>
          <p:cNvPr id="180" name="Freeform 179"/>
          <p:cNvSpPr>
            <a:spLocks noChangeAspect="1"/>
          </p:cNvSpPr>
          <p:nvPr/>
        </p:nvSpPr>
        <p:spPr bwMode="auto">
          <a:xfrm>
            <a:off x="10314509" y="2963204"/>
            <a:ext cx="402442" cy="421143"/>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chemeClr val="tx1"/>
              </a:solidFill>
              <a:effectLst/>
              <a:uLnTx/>
              <a:uFillTx/>
              <a:ea typeface="Segoe UI" pitchFamily="34" charset="0"/>
              <a:cs typeface="Segoe UI" pitchFamily="34" charset="0"/>
            </a:endParaRPr>
          </a:p>
        </p:txBody>
      </p:sp>
      <p:pic>
        <p:nvPicPr>
          <p:cNvPr id="181" name="Picture 18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317870" y="1732013"/>
            <a:ext cx="510313" cy="510313"/>
          </a:xfrm>
          <a:prstGeom prst="rect">
            <a:avLst/>
          </a:prstGeom>
          <a:noFill/>
        </p:spPr>
      </p:pic>
      <p:pic>
        <p:nvPicPr>
          <p:cNvPr id="78" name="Picture 7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277820" y="2321493"/>
            <a:ext cx="508322" cy="508322"/>
          </a:xfrm>
          <a:prstGeom prst="rect">
            <a:avLst/>
          </a:prstGeom>
        </p:spPr>
      </p:pic>
      <p:cxnSp>
        <p:nvCxnSpPr>
          <p:cNvPr id="79" name="Straight Arrow Connector 78"/>
          <p:cNvCxnSpPr/>
          <p:nvPr/>
        </p:nvCxnSpPr>
        <p:spPr>
          <a:xfrm>
            <a:off x="8296435" y="1957096"/>
            <a:ext cx="498846"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a:off x="8296435" y="2565436"/>
            <a:ext cx="498846"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a:off x="8312939" y="3782116"/>
            <a:ext cx="498846"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8312939" y="3173776"/>
            <a:ext cx="498846"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a:off x="8329446" y="4390457"/>
            <a:ext cx="498846"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8296435" y="1966110"/>
            <a:ext cx="16504" cy="2424945"/>
          </a:xfrm>
          <a:prstGeom prst="line">
            <a:avLst/>
          </a:prstGeom>
          <a:ln w="9525">
            <a:solidFill>
              <a:srgbClr val="0078D7"/>
            </a:solidFill>
            <a:miter lim="800000"/>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nvCxnSpPr>
        <p:spPr>
          <a:xfrm>
            <a:off x="6734839" y="3173777"/>
            <a:ext cx="1427637"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pic>
        <p:nvPicPr>
          <p:cNvPr id="87" name="Picture 8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954878" y="3850875"/>
            <a:ext cx="508322" cy="508322"/>
          </a:xfrm>
          <a:prstGeom prst="rect">
            <a:avLst/>
          </a:prstGeom>
        </p:spPr>
      </p:pic>
    </p:spTree>
    <p:extLst>
      <p:ext uri="{BB962C8B-B14F-4D97-AF65-F5344CB8AC3E}">
        <p14:creationId xmlns:p14="http://schemas.microsoft.com/office/powerpoint/2010/main" val="3688052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a:t>
            </a:r>
          </a:p>
        </p:txBody>
      </p:sp>
    </p:spTree>
    <p:extLst>
      <p:ext uri="{BB962C8B-B14F-4D97-AF65-F5344CB8AC3E}">
        <p14:creationId xmlns:p14="http://schemas.microsoft.com/office/powerpoint/2010/main" val="3044653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 name="Title 1"/>
          <p:cNvSpPr>
            <a:spLocks noGrp="1"/>
          </p:cNvSpPr>
          <p:nvPr>
            <p:ph type="title"/>
          </p:nvPr>
        </p:nvSpPr>
        <p:spPr/>
        <p:txBody>
          <a:bodyPr/>
          <a:lstStyle/>
          <a:p>
            <a:r>
              <a:rPr lang="en-US" dirty="0">
                <a:solidFill>
                  <a:schemeClr val="bg1"/>
                </a:solidFill>
              </a:rPr>
              <a:t>Intelligence</a:t>
            </a:r>
          </a:p>
        </p:txBody>
      </p:sp>
      <p:grpSp>
        <p:nvGrpSpPr>
          <p:cNvPr id="7" name="Group 6"/>
          <p:cNvGrpSpPr/>
          <p:nvPr/>
        </p:nvGrpSpPr>
        <p:grpSpPr>
          <a:xfrm>
            <a:off x="249407" y="1649550"/>
            <a:ext cx="9673363" cy="4292632"/>
            <a:chOff x="249407" y="1649550"/>
            <a:chExt cx="9673363" cy="4292632"/>
          </a:xfrm>
        </p:grpSpPr>
        <p:grpSp>
          <p:nvGrpSpPr>
            <p:cNvPr id="125" name="Group 124"/>
            <p:cNvGrpSpPr/>
            <p:nvPr/>
          </p:nvGrpSpPr>
          <p:grpSpPr>
            <a:xfrm>
              <a:off x="9402269" y="2364104"/>
              <a:ext cx="200749" cy="211051"/>
              <a:chOff x="4106551" y="3401141"/>
              <a:chExt cx="254631" cy="267699"/>
            </a:xfrm>
          </p:grpSpPr>
          <p:sp>
            <p:nvSpPr>
              <p:cNvPr id="156" name="Rectangle 155"/>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7" name="Rectangle 156"/>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8" name="Oval 157"/>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9" name="Oval 158"/>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0" name="Rectangle 159"/>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1" name="Rectangle 160"/>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2" name="Oval 161"/>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3" name="Oval 162"/>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4" name="Rectangle 163"/>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5" name="Rectangle 164"/>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6" name="Oval 165"/>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7" name="Oval 166"/>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8" name="Rectangle 167"/>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0" name="Rectangle 169"/>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1" name="Oval 170"/>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2" name="Oval 171"/>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84" name="Rectangle 83"/>
            <p:cNvSpPr/>
            <p:nvPr/>
          </p:nvSpPr>
          <p:spPr bwMode="auto">
            <a:xfrm>
              <a:off x="7912174" y="1649551"/>
              <a:ext cx="1771946" cy="2368251"/>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telligence</a:t>
              </a:r>
            </a:p>
          </p:txBody>
        </p:sp>
        <p:sp>
          <p:nvSpPr>
            <p:cNvPr id="90" name="Rectangle 89"/>
            <p:cNvSpPr/>
            <p:nvPr/>
          </p:nvSpPr>
          <p:spPr>
            <a:xfrm>
              <a:off x="8628640" y="3494326"/>
              <a:ext cx="1294130" cy="270285"/>
            </a:xfrm>
            <a:prstGeom prst="rect">
              <a:avLst/>
            </a:prstGeom>
          </p:spPr>
          <p:txBody>
            <a:bodyPr wrap="square">
              <a:spAutoFit/>
            </a:bodyPr>
            <a:lstStyle/>
            <a:p>
              <a:r>
                <a:rPr lang="en-US" sz="1122" dirty="0">
                  <a:cs typeface="Segoe UI Semilight" panose="020B0402040204020203" pitchFamily="34" charset="0"/>
                </a:rPr>
                <a:t>Cortana</a:t>
              </a:r>
            </a:p>
          </p:txBody>
        </p:sp>
        <p:grpSp>
          <p:nvGrpSpPr>
            <p:cNvPr id="91" name="Group 90"/>
            <p:cNvGrpSpPr/>
            <p:nvPr/>
          </p:nvGrpSpPr>
          <p:grpSpPr>
            <a:xfrm>
              <a:off x="8215816" y="3473788"/>
              <a:ext cx="322045" cy="916301"/>
              <a:chOff x="3236100" y="-9820169"/>
              <a:chExt cx="5641200" cy="16050667"/>
            </a:xfrm>
          </p:grpSpPr>
          <p:sp>
            <p:nvSpPr>
              <p:cNvPr id="92" name="Freeform 91"/>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sp>
            <p:nvSpPr>
              <p:cNvPr id="93" name="Freeform 92"/>
              <p:cNvSpPr/>
              <p:nvPr/>
            </p:nvSpPr>
            <p:spPr bwMode="auto">
              <a:xfrm>
                <a:off x="3615076" y="-9820169"/>
                <a:ext cx="5262206" cy="5262206"/>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grpSp>
        <p:sp>
          <p:nvSpPr>
            <p:cNvPr id="123" name="Rectangle 122"/>
            <p:cNvSpPr/>
            <p:nvPr/>
          </p:nvSpPr>
          <p:spPr>
            <a:xfrm>
              <a:off x="8628640" y="2883292"/>
              <a:ext cx="1294130" cy="446397"/>
            </a:xfrm>
            <a:prstGeom prst="rect">
              <a:avLst/>
            </a:prstGeom>
          </p:spPr>
          <p:txBody>
            <a:bodyPr wrap="square" anchor="ctr">
              <a:spAutoFit/>
            </a:bodyPr>
            <a:lstStyle/>
            <a:p>
              <a:r>
                <a:rPr lang="en-US" sz="1122" dirty="0">
                  <a:cs typeface="Segoe UI Semilight" panose="020B0402040204020203" pitchFamily="34" charset="0"/>
                </a:rPr>
                <a:t>Bot </a:t>
              </a:r>
              <a:br>
                <a:rPr lang="en-US" sz="1122" dirty="0">
                  <a:cs typeface="Segoe UI Semilight" panose="020B0402040204020203" pitchFamily="34" charset="0"/>
                </a:rPr>
              </a:br>
              <a:r>
                <a:rPr lang="en-US" sz="1122" dirty="0">
                  <a:cs typeface="Segoe UI Semilight" panose="020B0402040204020203" pitchFamily="34" charset="0"/>
                </a:rPr>
                <a:t>Framework</a:t>
              </a:r>
            </a:p>
          </p:txBody>
        </p:sp>
        <p:sp>
          <p:nvSpPr>
            <p:cNvPr id="124" name="Rectangle 123"/>
            <p:cNvSpPr/>
            <p:nvPr/>
          </p:nvSpPr>
          <p:spPr>
            <a:xfrm>
              <a:off x="8619675" y="2350141"/>
              <a:ext cx="1294130" cy="446397"/>
            </a:xfrm>
            <a:prstGeom prst="rect">
              <a:avLst/>
            </a:prstGeom>
          </p:spPr>
          <p:txBody>
            <a:bodyPr wrap="square">
              <a:spAutoFit/>
            </a:bodyPr>
            <a:lstStyle/>
            <a:p>
              <a:r>
                <a:rPr lang="en-US" sz="1122" dirty="0">
                  <a:cs typeface="Segoe UI Semilight" panose="020B0402040204020203" pitchFamily="34" charset="0"/>
                </a:rPr>
                <a:t>Cognitive Services</a:t>
              </a:r>
            </a:p>
          </p:txBody>
        </p:sp>
        <p:grpSp>
          <p:nvGrpSpPr>
            <p:cNvPr id="126" name="Group 125"/>
            <p:cNvGrpSpPr/>
            <p:nvPr/>
          </p:nvGrpSpPr>
          <p:grpSpPr>
            <a:xfrm>
              <a:off x="8167833" y="2430107"/>
              <a:ext cx="435940" cy="279533"/>
              <a:chOff x="7831606" y="2717080"/>
              <a:chExt cx="427431" cy="274077"/>
            </a:xfrm>
          </p:grpSpPr>
          <p:sp>
            <p:nvSpPr>
              <p:cNvPr id="127" name="Freeform 126"/>
              <p:cNvSpPr>
                <a:spLocks/>
              </p:cNvSpPr>
              <p:nvPr/>
            </p:nvSpPr>
            <p:spPr bwMode="auto">
              <a:xfrm flipH="1">
                <a:off x="783160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3260" tIns="46630" rIns="93260" bIns="46630" numCol="1" anchor="t" anchorCtr="0" compatLnSpc="1">
                <a:prstTxWarp prst="textNoShape">
                  <a:avLst/>
                </a:prstTxWarp>
                <a:noAutofit/>
              </a:bodyPr>
              <a:lstStyle/>
              <a:p>
                <a:endParaRPr lang="en-US" sz="1836"/>
              </a:p>
            </p:txBody>
          </p:sp>
          <p:sp>
            <p:nvSpPr>
              <p:cNvPr id="128" name="Freeform 109"/>
              <p:cNvSpPr>
                <a:spLocks/>
              </p:cNvSpPr>
              <p:nvPr/>
            </p:nvSpPr>
            <p:spPr bwMode="auto">
              <a:xfrm>
                <a:off x="794547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grpSp>
        <p:sp>
          <p:nvSpPr>
            <p:cNvPr id="129" name="Freeform 128"/>
            <p:cNvSpPr/>
            <p:nvPr/>
          </p:nvSpPr>
          <p:spPr bwMode="auto">
            <a:xfrm>
              <a:off x="8195407" y="2972822"/>
              <a:ext cx="380791" cy="258848"/>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230" name="Rectangle 229"/>
            <p:cNvSpPr/>
            <p:nvPr/>
          </p:nvSpPr>
          <p:spPr bwMode="auto">
            <a:xfrm>
              <a:off x="4152200" y="1649550"/>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Big Data Stores</a:t>
              </a:r>
            </a:p>
          </p:txBody>
        </p:sp>
        <p:sp>
          <p:nvSpPr>
            <p:cNvPr id="231" name="Rectangle 230"/>
            <p:cNvSpPr/>
            <p:nvPr/>
          </p:nvSpPr>
          <p:spPr>
            <a:xfrm>
              <a:off x="4667785" y="3088249"/>
              <a:ext cx="1296319" cy="446397"/>
            </a:xfrm>
            <a:prstGeom prst="rect">
              <a:avLst/>
            </a:prstGeom>
          </p:spPr>
          <p:txBody>
            <a:bodyPr wrap="square">
              <a:spAutoFit/>
            </a:bodyPr>
            <a:lstStyle/>
            <a:p>
              <a:r>
                <a:rPr lang="en-US" sz="1122" dirty="0">
                  <a:cs typeface="Segoe UI Semilight" panose="020B0402040204020203" pitchFamily="34" charset="0"/>
                </a:rPr>
                <a:t>SQL Data </a:t>
              </a:r>
            </a:p>
            <a:p>
              <a:r>
                <a:rPr lang="en-US" sz="1122" dirty="0">
                  <a:cs typeface="Segoe UI Semilight" panose="020B0402040204020203" pitchFamily="34" charset="0"/>
                </a:rPr>
                <a:t>Warehouse</a:t>
              </a:r>
            </a:p>
          </p:txBody>
        </p:sp>
        <p:sp>
          <p:nvSpPr>
            <p:cNvPr id="232" name="Rectangle 231"/>
            <p:cNvSpPr/>
            <p:nvPr/>
          </p:nvSpPr>
          <p:spPr>
            <a:xfrm>
              <a:off x="4653693" y="2344046"/>
              <a:ext cx="1296319" cy="270285"/>
            </a:xfrm>
            <a:prstGeom prst="rect">
              <a:avLst/>
            </a:prstGeom>
          </p:spPr>
          <p:txBody>
            <a:bodyPr wrap="square">
              <a:spAutoFit/>
            </a:bodyPr>
            <a:lstStyle/>
            <a:p>
              <a:r>
                <a:rPr lang="en-US" sz="1122" dirty="0">
                  <a:cs typeface="Segoe UI Semilight" panose="020B0402040204020203" pitchFamily="34" charset="0"/>
                </a:rPr>
                <a:t>Data Lake Store</a:t>
              </a:r>
            </a:p>
          </p:txBody>
        </p:sp>
        <p:grpSp>
          <p:nvGrpSpPr>
            <p:cNvPr id="233" name="Group 232"/>
            <p:cNvGrpSpPr/>
            <p:nvPr/>
          </p:nvGrpSpPr>
          <p:grpSpPr>
            <a:xfrm>
              <a:off x="4339018" y="2349358"/>
              <a:ext cx="256193" cy="256193"/>
              <a:chOff x="4068192" y="3363795"/>
              <a:chExt cx="324957" cy="324957"/>
            </a:xfrm>
          </p:grpSpPr>
          <p:sp>
            <p:nvSpPr>
              <p:cNvPr id="279" name="Rounded Rectangle 278"/>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0" name="Rectangle 279"/>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1" name="Rectangle 280"/>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2" name="Oval 281"/>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3" name="Oval 282"/>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4" name="Rectangle 283"/>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5" name="Rectangle 284"/>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6" name="Oval 285"/>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7" name="Oval 286"/>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8" name="Rectangle 287"/>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9" name="Rectangle 288"/>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0" name="Oval 289"/>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1" name="Oval 290"/>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2" name="Rectangle 291"/>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3" name="Rectangle 292"/>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4" name="Oval 293"/>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5" name="Oval 294"/>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4" name="Group 233"/>
            <p:cNvGrpSpPr/>
            <p:nvPr/>
          </p:nvGrpSpPr>
          <p:grpSpPr>
            <a:xfrm>
              <a:off x="4339677" y="3152927"/>
              <a:ext cx="253198" cy="310108"/>
              <a:chOff x="-3084513" y="3390510"/>
              <a:chExt cx="2716213" cy="3363913"/>
            </a:xfrm>
            <a:solidFill>
              <a:schemeClr val="tx1"/>
            </a:solidFill>
          </p:grpSpPr>
          <p:sp>
            <p:nvSpPr>
              <p:cNvPr id="277"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78"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249" name="TextBox 248"/>
            <p:cNvSpPr txBox="1"/>
            <p:nvPr/>
          </p:nvSpPr>
          <p:spPr>
            <a:xfrm>
              <a:off x="1164202" y="1958379"/>
              <a:ext cx="528754" cy="323165"/>
            </a:xfrm>
            <a:prstGeom prst="rect">
              <a:avLst/>
            </a:prstGeom>
            <a:noFill/>
          </p:spPr>
          <p:txBody>
            <a:bodyPr wrap="square" lIns="0" tIns="0" rIns="0" bIns="0" rtlCol="0" anchor="ctr" anchorCtr="0">
              <a:spAutoFit/>
            </a:bodyPr>
            <a:lstStyle/>
            <a:p>
              <a:pPr defTabSz="932563">
                <a:spcAft>
                  <a:spcPts val="600"/>
                </a:spcAft>
              </a:pPr>
              <a:r>
                <a:rPr lang="en-US" sz="1050" dirty="0">
                  <a:solidFill>
                    <a:schemeClr val="bg2"/>
                  </a:solidFill>
                  <a:cs typeface="Segoe UI Semilight" panose="020B0402040204020203" pitchFamily="34" charset="0"/>
                </a:rPr>
                <a:t>Data Sources</a:t>
              </a:r>
            </a:p>
          </p:txBody>
        </p:sp>
        <p:sp>
          <p:nvSpPr>
            <p:cNvPr id="251" name="TextBox 250"/>
            <p:cNvSpPr txBox="1"/>
            <p:nvPr/>
          </p:nvSpPr>
          <p:spPr>
            <a:xfrm>
              <a:off x="1164202" y="3351045"/>
              <a:ext cx="528754" cy="161583"/>
            </a:xfrm>
            <a:prstGeom prst="rect">
              <a:avLst/>
            </a:prstGeom>
            <a:noFill/>
          </p:spPr>
          <p:txBody>
            <a:bodyPr wrap="square" lIns="0" tIns="0" rIns="0" bIns="0" rtlCol="0" anchor="ctr" anchorCtr="0">
              <a:spAutoFit/>
            </a:bodyPr>
            <a:lstStyle/>
            <a:p>
              <a:pPr defTabSz="932563">
                <a:spcBef>
                  <a:spcPct val="0"/>
                </a:spcBef>
                <a:spcAft>
                  <a:spcPts val="600"/>
                </a:spcAft>
              </a:pPr>
              <a:r>
                <a:rPr lang="en-US" sz="1050" dirty="0">
                  <a:solidFill>
                    <a:schemeClr val="bg2"/>
                  </a:solidFill>
                  <a:cs typeface="Segoe UI Semilight" panose="020B0402040204020203" pitchFamily="34" charset="0"/>
                </a:rPr>
                <a:t>Apps</a:t>
              </a:r>
            </a:p>
          </p:txBody>
        </p:sp>
        <p:sp>
          <p:nvSpPr>
            <p:cNvPr id="253" name="TextBox 252"/>
            <p:cNvSpPr txBox="1"/>
            <p:nvPr/>
          </p:nvSpPr>
          <p:spPr>
            <a:xfrm>
              <a:off x="1164202" y="4768746"/>
              <a:ext cx="735728" cy="323165"/>
            </a:xfrm>
            <a:prstGeom prst="rect">
              <a:avLst/>
            </a:prstGeom>
            <a:noFill/>
          </p:spPr>
          <p:txBody>
            <a:bodyPr wrap="square" lIns="0" tIns="0" rIns="0" bIns="0" rtlCol="0" anchor="ctr" anchorCtr="0">
              <a:spAutoFit/>
            </a:bodyPr>
            <a:lstStyle/>
            <a:p>
              <a:pPr defTabSz="932563">
                <a:spcBef>
                  <a:spcPct val="0"/>
                </a:spcBef>
                <a:spcAft>
                  <a:spcPts val="600"/>
                </a:spcAft>
              </a:pPr>
              <a:r>
                <a:rPr lang="en-US" sz="1050" dirty="0">
                  <a:solidFill>
                    <a:schemeClr val="bg2"/>
                  </a:solidFill>
                  <a:cs typeface="Segoe UI Semilight" panose="020B0402040204020203" pitchFamily="34" charset="0"/>
                </a:rPr>
                <a:t>Sensors </a:t>
              </a:r>
              <a:br>
                <a:rPr lang="en-US" sz="1050" dirty="0">
                  <a:solidFill>
                    <a:schemeClr val="bg2"/>
                  </a:solidFill>
                  <a:cs typeface="Segoe UI Semilight" panose="020B0402040204020203" pitchFamily="34" charset="0"/>
                </a:rPr>
              </a:br>
              <a:r>
                <a:rPr lang="en-US" sz="1050" dirty="0">
                  <a:solidFill>
                    <a:schemeClr val="bg2"/>
                  </a:solidFill>
                  <a:cs typeface="Segoe UI Semilight" panose="020B0402040204020203" pitchFamily="34" charset="0"/>
                </a:rPr>
                <a:t>and devices</a:t>
              </a:r>
            </a:p>
          </p:txBody>
        </p:sp>
        <p:sp>
          <p:nvSpPr>
            <p:cNvPr id="254" name="TextBox 253"/>
            <p:cNvSpPr txBox="1"/>
            <p:nvPr/>
          </p:nvSpPr>
          <p:spPr>
            <a:xfrm>
              <a:off x="806041" y="5665183"/>
              <a:ext cx="474490" cy="276999"/>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r>
                <a:rPr lang="en-US" sz="1800" dirty="0">
                  <a:solidFill>
                    <a:schemeClr val="bg2"/>
                  </a:solidFill>
                  <a:latin typeface="+mn-lt"/>
                </a:rPr>
                <a:t>Data</a:t>
              </a:r>
            </a:p>
          </p:txBody>
        </p:sp>
        <p:grpSp>
          <p:nvGrpSpPr>
            <p:cNvPr id="255" name="Group 254"/>
            <p:cNvGrpSpPr/>
            <p:nvPr/>
          </p:nvGrpSpPr>
          <p:grpSpPr>
            <a:xfrm>
              <a:off x="1776319" y="1668481"/>
              <a:ext cx="308472" cy="3830198"/>
              <a:chOff x="1810439" y="1858178"/>
              <a:chExt cx="308472" cy="3830198"/>
            </a:xfrm>
            <a:solidFill>
              <a:srgbClr val="0078D7"/>
            </a:solidFill>
          </p:grpSpPr>
          <p:sp>
            <p:nvSpPr>
              <p:cNvPr id="256" name="Freeform 255"/>
              <p:cNvSpPr/>
              <p:nvPr/>
            </p:nvSpPr>
            <p:spPr bwMode="auto">
              <a:xfrm>
                <a:off x="1995054" y="1858178"/>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cxnSp>
            <p:nvCxnSpPr>
              <p:cNvPr id="257" name="Straight Connector 256"/>
              <p:cNvCxnSpPr/>
              <p:nvPr/>
            </p:nvCxnSpPr>
            <p:spPr>
              <a:xfrm>
                <a:off x="1810439" y="3639239"/>
                <a:ext cx="308472" cy="0"/>
              </a:xfrm>
              <a:prstGeom prst="line">
                <a:avLst/>
              </a:prstGeom>
              <a:grp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38" name="Rectangle 237"/>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239" name="Rectangle 238"/>
            <p:cNvSpPr/>
            <p:nvPr/>
          </p:nvSpPr>
          <p:spPr>
            <a:xfrm>
              <a:off x="2833488" y="4199155"/>
              <a:ext cx="1296319" cy="270285"/>
            </a:xfrm>
            <a:prstGeom prst="rect">
              <a:avLst/>
            </a:prstGeom>
          </p:spPr>
          <p:txBody>
            <a:bodyPr wrap="square">
              <a:spAutoFit/>
            </a:bodyPr>
            <a:lstStyle/>
            <a:p>
              <a:r>
                <a:rPr lang="en-US" sz="1122" dirty="0">
                  <a:cs typeface="Segoe UI Semilight" panose="020B0402040204020203" pitchFamily="34" charset="0"/>
                </a:rPr>
                <a:t>Event Hubs</a:t>
              </a:r>
              <a:endParaRPr lang="en-US" sz="1122" dirty="0"/>
            </a:p>
          </p:txBody>
        </p:sp>
        <p:sp>
          <p:nvSpPr>
            <p:cNvPr id="240" name="Rectangle 239"/>
            <p:cNvSpPr/>
            <p:nvPr/>
          </p:nvSpPr>
          <p:spPr>
            <a:xfrm>
              <a:off x="2833488" y="3390244"/>
              <a:ext cx="1296319" cy="270285"/>
            </a:xfrm>
            <a:prstGeom prst="rect">
              <a:avLst/>
            </a:prstGeom>
          </p:spPr>
          <p:txBody>
            <a:bodyPr wrap="square">
              <a:spAutoFit/>
            </a:bodyPr>
            <a:lstStyle/>
            <a:p>
              <a:r>
                <a:rPr lang="en-US" sz="1122" dirty="0">
                  <a:cs typeface="Segoe UI Semilight" panose="020B0402040204020203" pitchFamily="34" charset="0"/>
                </a:rPr>
                <a:t>Data Catalog</a:t>
              </a:r>
            </a:p>
          </p:txBody>
        </p:sp>
        <p:grpSp>
          <p:nvGrpSpPr>
            <p:cNvPr id="241" name="Group 240"/>
            <p:cNvGrpSpPr/>
            <p:nvPr/>
          </p:nvGrpSpPr>
          <p:grpSpPr>
            <a:xfrm>
              <a:off x="2512312" y="3346955"/>
              <a:ext cx="280471" cy="298350"/>
              <a:chOff x="3232150" y="382588"/>
              <a:chExt cx="5727700" cy="6092825"/>
            </a:xfrm>
            <a:solidFill>
              <a:schemeClr val="tx1"/>
            </a:solidFill>
          </p:grpSpPr>
          <p:sp>
            <p:nvSpPr>
              <p:cNvPr id="245"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6"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7"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242" name="Rectangle 241"/>
            <p:cNvSpPr/>
            <p:nvPr/>
          </p:nvSpPr>
          <p:spPr>
            <a:xfrm>
              <a:off x="2833488" y="2538073"/>
              <a:ext cx="1296319" cy="270285"/>
            </a:xfrm>
            <a:prstGeom prst="rect">
              <a:avLst/>
            </a:prstGeom>
          </p:spPr>
          <p:txBody>
            <a:bodyPr wrap="square">
              <a:spAutoFit/>
            </a:bodyPr>
            <a:lstStyle/>
            <a:p>
              <a:r>
                <a:rPr lang="en-US" sz="1122" dirty="0">
                  <a:cs typeface="Segoe UI Semilight" panose="020B0402040204020203" pitchFamily="34" charset="0"/>
                </a:rPr>
                <a:t>Data Factory </a:t>
              </a:r>
              <a:endParaRPr lang="en-US" sz="1122" dirty="0"/>
            </a:p>
          </p:txBody>
        </p:sp>
        <p:sp>
          <p:nvSpPr>
            <p:cNvPr id="243" name="Freeform 242"/>
            <p:cNvSpPr/>
            <p:nvPr/>
          </p:nvSpPr>
          <p:spPr bwMode="auto">
            <a:xfrm>
              <a:off x="2508225" y="2475589"/>
              <a:ext cx="292163" cy="307023"/>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244" name="Freeform 243"/>
            <p:cNvSpPr/>
            <p:nvPr/>
          </p:nvSpPr>
          <p:spPr bwMode="auto">
            <a:xfrm>
              <a:off x="2528952" y="4204179"/>
              <a:ext cx="236184" cy="247159"/>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sp>
          <p:nvSpPr>
            <p:cNvPr id="214" name="Rectangle 213"/>
            <p:cNvSpPr/>
            <p:nvPr/>
          </p:nvSpPr>
          <p:spPr bwMode="auto">
            <a:xfrm>
              <a:off x="6030180" y="1649550"/>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Machine Learning and Analytics</a:t>
              </a:r>
            </a:p>
          </p:txBody>
        </p:sp>
        <p:sp>
          <p:nvSpPr>
            <p:cNvPr id="215" name="Rectangle 214"/>
            <p:cNvSpPr/>
            <p:nvPr/>
          </p:nvSpPr>
          <p:spPr>
            <a:xfrm>
              <a:off x="6671711" y="3853021"/>
              <a:ext cx="1294130" cy="622511"/>
            </a:xfrm>
            <a:prstGeom prst="rect">
              <a:avLst/>
            </a:prstGeom>
          </p:spPr>
          <p:txBody>
            <a:bodyPr wrap="square">
              <a:spAutoFit/>
            </a:bodyPr>
            <a:lstStyle/>
            <a:p>
              <a:r>
                <a:rPr lang="en-US" sz="1122" dirty="0">
                  <a:cs typeface="Segoe UI Semilight" panose="020B0402040204020203" pitchFamily="34" charset="0"/>
                </a:rPr>
                <a:t>HDInsight </a:t>
              </a:r>
            </a:p>
            <a:p>
              <a:r>
                <a:rPr lang="en-US" sz="1122" dirty="0">
                  <a:cs typeface="Segoe UI Semilight" panose="020B0402040204020203" pitchFamily="34" charset="0"/>
                </a:rPr>
                <a:t>(Hadoop and Spark)</a:t>
              </a:r>
            </a:p>
          </p:txBody>
        </p:sp>
        <p:sp>
          <p:nvSpPr>
            <p:cNvPr id="216" name="Rectangle 215"/>
            <p:cNvSpPr/>
            <p:nvPr/>
          </p:nvSpPr>
          <p:spPr>
            <a:xfrm>
              <a:off x="6671711" y="4705480"/>
              <a:ext cx="925088" cy="437684"/>
            </a:xfrm>
            <a:prstGeom prst="rect">
              <a:avLst/>
            </a:prstGeom>
          </p:spPr>
          <p:txBody>
            <a:bodyPr wrap="square">
              <a:spAutoFit/>
            </a:bodyPr>
            <a:lstStyle/>
            <a:p>
              <a:r>
                <a:rPr lang="en-US" sz="1122" dirty="0">
                  <a:cs typeface="Segoe UI Semilight" panose="020B0402040204020203" pitchFamily="34" charset="0"/>
                </a:rPr>
                <a:t>Stream Analytics</a:t>
              </a:r>
            </a:p>
          </p:txBody>
        </p:sp>
        <p:sp>
          <p:nvSpPr>
            <p:cNvPr id="217" name="Rectangle 216"/>
            <p:cNvSpPr/>
            <p:nvPr/>
          </p:nvSpPr>
          <p:spPr>
            <a:xfrm>
              <a:off x="6671711" y="3131506"/>
              <a:ext cx="1294130" cy="446397"/>
            </a:xfrm>
            <a:prstGeom prst="rect">
              <a:avLst/>
            </a:prstGeom>
          </p:spPr>
          <p:txBody>
            <a:bodyPr wrap="square">
              <a:spAutoFit/>
            </a:bodyPr>
            <a:lstStyle/>
            <a:p>
              <a:r>
                <a:rPr lang="en-US" sz="1122" dirty="0">
                  <a:cs typeface="Segoe UI Semilight" panose="020B0402040204020203" pitchFamily="34" charset="0"/>
                </a:rPr>
                <a:t>Data Lake Analytics</a:t>
              </a:r>
            </a:p>
          </p:txBody>
        </p:sp>
        <p:grpSp>
          <p:nvGrpSpPr>
            <p:cNvPr id="218" name="Group 217"/>
            <p:cNvGrpSpPr/>
            <p:nvPr/>
          </p:nvGrpSpPr>
          <p:grpSpPr>
            <a:xfrm>
              <a:off x="6293491" y="3216207"/>
              <a:ext cx="225034" cy="294370"/>
              <a:chOff x="3473450" y="4579938"/>
              <a:chExt cx="1741488" cy="2278062"/>
            </a:xfrm>
            <a:solidFill>
              <a:schemeClr val="tx1"/>
            </a:solidFill>
          </p:grpSpPr>
          <p:sp>
            <p:nvSpPr>
              <p:cNvPr id="227"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8"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9"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219" name="Rectangle 218"/>
            <p:cNvSpPr/>
            <p:nvPr/>
          </p:nvSpPr>
          <p:spPr>
            <a:xfrm>
              <a:off x="6671711" y="2451748"/>
              <a:ext cx="1294130" cy="446397"/>
            </a:xfrm>
            <a:prstGeom prst="rect">
              <a:avLst/>
            </a:prstGeom>
          </p:spPr>
          <p:txBody>
            <a:bodyPr wrap="square">
              <a:spAutoFit/>
            </a:bodyPr>
            <a:lstStyle/>
            <a:p>
              <a:r>
                <a:rPr lang="en-US" sz="1122" dirty="0">
                  <a:cs typeface="Segoe UI Semilight" panose="020B0402040204020203" pitchFamily="34" charset="0"/>
                </a:rPr>
                <a:t>Machine Learning</a:t>
              </a:r>
            </a:p>
          </p:txBody>
        </p:sp>
        <p:grpSp>
          <p:nvGrpSpPr>
            <p:cNvPr id="220" name="Group 219"/>
            <p:cNvGrpSpPr/>
            <p:nvPr/>
          </p:nvGrpSpPr>
          <p:grpSpPr>
            <a:xfrm>
              <a:off x="6228500" y="4707846"/>
              <a:ext cx="359675" cy="276298"/>
              <a:chOff x="1260022" y="5196402"/>
              <a:chExt cx="3273425" cy="2514600"/>
            </a:xfrm>
            <a:solidFill>
              <a:schemeClr val="tx1"/>
            </a:solidFill>
          </p:grpSpPr>
          <p:sp>
            <p:nvSpPr>
              <p:cNvPr id="223" name="Freeform 222"/>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224" name="Freeform 223"/>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225" name="Freeform 224"/>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226" name="Freeform 225"/>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grpSp>
        <p:sp>
          <p:nvSpPr>
            <p:cNvPr id="221" name="Freeform 220"/>
            <p:cNvSpPr>
              <a:spLocks/>
            </p:cNvSpPr>
            <p:nvPr/>
          </p:nvSpPr>
          <p:spPr bwMode="auto">
            <a:xfrm>
              <a:off x="6229842" y="4017802"/>
              <a:ext cx="373674" cy="2827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3260" tIns="46630" rIns="93260" bIns="46630" numCol="1" anchor="t" anchorCtr="0" compatLnSpc="1">
              <a:prstTxWarp prst="textNoShape">
                <a:avLst/>
              </a:prstTxWarp>
            </a:bodyPr>
            <a:lstStyle/>
            <a:p>
              <a:endParaRPr lang="en-US" sz="1632" dirty="0"/>
            </a:p>
          </p:txBody>
        </p:sp>
        <p:sp>
          <p:nvSpPr>
            <p:cNvPr id="222" name="Freeform 221"/>
            <p:cNvSpPr/>
            <p:nvPr/>
          </p:nvSpPr>
          <p:spPr bwMode="auto">
            <a:xfrm flipH="1">
              <a:off x="6273952" y="2531540"/>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pic>
          <p:nvPicPr>
            <p:cNvPr id="296" name="Picture 29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9407" y="3043119"/>
              <a:ext cx="776178" cy="908180"/>
            </a:xfrm>
            <a:prstGeom prst="rect">
              <a:avLst/>
            </a:prstGeom>
          </p:spPr>
        </p:pic>
        <p:pic>
          <p:nvPicPr>
            <p:cNvPr id="297" name="Picture 29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2823" y="4489811"/>
              <a:ext cx="752976" cy="881033"/>
            </a:xfrm>
            <a:prstGeom prst="rect">
              <a:avLst/>
            </a:prstGeom>
          </p:spPr>
        </p:pic>
        <p:pic>
          <p:nvPicPr>
            <p:cNvPr id="298" name="Picture 29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32969" y="1695508"/>
              <a:ext cx="685793" cy="802425"/>
            </a:xfrm>
            <a:prstGeom prst="rect">
              <a:avLst/>
            </a:prstGeom>
          </p:spPr>
        </p:pic>
      </p:grpSp>
    </p:spTree>
    <p:extLst>
      <p:ext uri="{BB962C8B-B14F-4D97-AF65-F5344CB8AC3E}">
        <p14:creationId xmlns:p14="http://schemas.microsoft.com/office/powerpoint/2010/main" val="962354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3.53076E-6 9.12392E-7 L -0.63684 9.12392E-7 " pathEditMode="relative" rAng="0" ptsTypes="AA">
                                      <p:cBhvr>
                                        <p:cTn id="6" dur="2000" fill="hold"/>
                                        <p:tgtEl>
                                          <p:spTgt spid="7"/>
                                        </p:tgtEl>
                                        <p:attrNameLst>
                                          <p:attrName>ppt_x</p:attrName>
                                          <p:attrName>ppt_y</p:attrName>
                                        </p:attrNameLst>
                                      </p:cBhvr>
                                      <p:rCtr x="-3184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83" name="Rectangle 282"/>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lvl="0" defTabSz="914400">
              <a:spcBef>
                <a:spcPts val="0"/>
              </a:spcBef>
              <a:spcAft>
                <a:spcPts val="600"/>
              </a:spcAft>
              <a:defRPr/>
            </a:pPr>
            <a:r>
              <a:rPr lang="en-US" kern="0" spc="0" dirty="0">
                <a:ln>
                  <a:noFill/>
                </a:ln>
                <a:solidFill>
                  <a:schemeClr val="bg1"/>
                </a:solidFill>
              </a:rPr>
              <a:t>Build applications that understand people</a:t>
            </a:r>
          </a:p>
        </p:txBody>
      </p:sp>
      <p:grpSp>
        <p:nvGrpSpPr>
          <p:cNvPr id="10" name="SM Face APIs"/>
          <p:cNvGrpSpPr/>
          <p:nvPr/>
        </p:nvGrpSpPr>
        <p:grpSpPr>
          <a:xfrm>
            <a:off x="4033339" y="1659983"/>
            <a:ext cx="1996472" cy="578270"/>
            <a:chOff x="274639" y="2278062"/>
            <a:chExt cx="2764730" cy="715766"/>
          </a:xfrm>
          <a:solidFill>
            <a:srgbClr val="E81123"/>
          </a:solidFill>
        </p:grpSpPr>
        <p:sp>
          <p:nvSpPr>
            <p:cNvPr id="11" name="Rectangle 10"/>
            <p:cNvSpPr/>
            <p:nvPr/>
          </p:nvSpPr>
          <p:spPr>
            <a:xfrm>
              <a:off x="274639" y="2278062"/>
              <a:ext cx="2764730" cy="715766"/>
            </a:xfrm>
            <a:prstGeom prst="rect">
              <a:avLst/>
            </a:prstGeom>
            <a:solidFill>
              <a:srgbClr val="0072C6"/>
            </a:solidFill>
            <a:ln w="9525" cap="flat" cmpd="sng" algn="ctr">
              <a:noFill/>
              <a:prstDash val="solid"/>
            </a:ln>
            <a:effectLst/>
          </p:spPr>
          <p:txBody>
            <a:bodyPr lIns="116971" tIns="58484" rIns="116971" bIns="5848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537" rtl="0" eaLnBrk="1" fontAlgn="auto" latinLnBrk="0" hangingPunct="1">
                <a:lnSpc>
                  <a:spcPct val="100000"/>
                </a:lnSpc>
                <a:spcBef>
                  <a:spcPts val="0"/>
                </a:spcBef>
                <a:spcAft>
                  <a:spcPts val="0"/>
                </a:spcAft>
                <a:buClrTx/>
                <a:buSzTx/>
                <a:buFontTx/>
                <a:buNone/>
                <a:tabLst/>
                <a:defRPr/>
              </a:pPr>
              <a:r>
                <a:rPr kumimoji="0" lang="en-US" sz="1537" b="0" i="0" u="none" strike="noStrike" kern="0" cap="none" spc="0" normalizeH="0" baseline="0" noProof="0" dirty="0">
                  <a:ln>
                    <a:noFill/>
                  </a:ln>
                  <a:gradFill>
                    <a:gsLst>
                      <a:gs pos="0">
                        <a:srgbClr val="FFFFFF"/>
                      </a:gs>
                      <a:gs pos="100000">
                        <a:srgbClr val="FFFFFF"/>
                      </a:gs>
                    </a:gsLst>
                    <a:lin ang="5400000" scaled="0"/>
                  </a:gradFill>
                  <a:effectLst/>
                  <a:uLnTx/>
                  <a:uFillTx/>
                  <a:latin typeface="+mn-lt"/>
                  <a:ea typeface="+mn-ea"/>
                  <a:cs typeface="+mn-cs"/>
                </a:rPr>
                <a:t>        Speech</a:t>
              </a:r>
            </a:p>
          </p:txBody>
        </p:sp>
        <p:pic>
          <p:nvPicPr>
            <p:cNvPr id="12" name="Picture 11" descr="Screen Clipping"/>
            <p:cNvPicPr>
              <a:picLocks noChangeAspect="1"/>
            </p:cNvPicPr>
            <p:nvPr/>
          </p:nvPicPr>
          <p:blipFill>
            <a:blip r:embed="rId3" cstate="email">
              <a:clrChange>
                <a:clrFrom>
                  <a:srgbClr val="00B294"/>
                </a:clrFrom>
                <a:clrTo>
                  <a:srgbClr val="00B294">
                    <a:alpha val="0"/>
                  </a:srgbClr>
                </a:clrTo>
              </a:clrChange>
              <a:duotone>
                <a:prstClr val="black"/>
                <a:schemeClr val="tx1">
                  <a:tint val="45000"/>
                  <a:satMod val="400000"/>
                </a:schemeClr>
              </a:duotone>
              <a:extLst>
                <a:ext uri="{28A0092B-C50C-407E-A947-70E740481C1C}">
                  <a14:useLocalDpi xmlns:a14="http://schemas.microsoft.com/office/drawing/2010/main"/>
                </a:ext>
              </a:extLst>
            </a:blip>
            <a:stretch>
              <a:fillRect/>
            </a:stretch>
          </p:blipFill>
          <p:spPr>
            <a:xfrm>
              <a:off x="410049" y="2418177"/>
              <a:ext cx="450325" cy="453956"/>
            </a:xfrm>
            <a:prstGeom prst="rect">
              <a:avLst/>
            </a:prstGeom>
            <a:noFill/>
          </p:spPr>
        </p:pic>
      </p:grpSp>
      <p:grpSp>
        <p:nvGrpSpPr>
          <p:cNvPr id="13" name="SM Vision APIs"/>
          <p:cNvGrpSpPr/>
          <p:nvPr/>
        </p:nvGrpSpPr>
        <p:grpSpPr>
          <a:xfrm>
            <a:off x="1957700" y="1661984"/>
            <a:ext cx="1994663" cy="576269"/>
            <a:chOff x="5968714" y="2278062"/>
            <a:chExt cx="2762225" cy="713289"/>
          </a:xfrm>
          <a:solidFill>
            <a:srgbClr val="5C2D91"/>
          </a:solidFill>
        </p:grpSpPr>
        <p:sp>
          <p:nvSpPr>
            <p:cNvPr id="14" name="Rectangle 13"/>
            <p:cNvSpPr/>
            <p:nvPr/>
          </p:nvSpPr>
          <p:spPr>
            <a:xfrm>
              <a:off x="5968714" y="2278062"/>
              <a:ext cx="2762225" cy="713289"/>
            </a:xfrm>
            <a:prstGeom prst="rect">
              <a:avLst/>
            </a:prstGeom>
            <a:solidFill>
              <a:srgbClr val="0072C6"/>
            </a:solidFill>
            <a:ln w="9525" cap="flat" cmpd="sng" algn="ctr">
              <a:noFill/>
              <a:prstDash val="solid"/>
            </a:ln>
            <a:effectLst/>
          </p:spPr>
          <p:txBody>
            <a:bodyPr lIns="116971" tIns="58484" rIns="116971" bIns="5848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537" rtl="0" eaLnBrk="1" fontAlgn="auto" latinLnBrk="0" hangingPunct="1">
                <a:lnSpc>
                  <a:spcPct val="100000"/>
                </a:lnSpc>
                <a:spcBef>
                  <a:spcPts val="0"/>
                </a:spcBef>
                <a:spcAft>
                  <a:spcPts val="0"/>
                </a:spcAft>
                <a:buClrTx/>
                <a:buSzTx/>
                <a:buFontTx/>
                <a:buNone/>
                <a:tabLst/>
                <a:defRPr/>
              </a:pPr>
              <a:r>
                <a:rPr kumimoji="0" lang="en-US" sz="1537" b="0" i="0" u="none" strike="noStrike" kern="0" cap="none" spc="0" normalizeH="0" baseline="0" noProof="0" dirty="0">
                  <a:ln>
                    <a:noFill/>
                  </a:ln>
                  <a:gradFill>
                    <a:gsLst>
                      <a:gs pos="0">
                        <a:srgbClr val="FFFFFF"/>
                      </a:gs>
                      <a:gs pos="100000">
                        <a:srgbClr val="FFFFFF"/>
                      </a:gs>
                    </a:gsLst>
                    <a:lin ang="5400000" scaled="0"/>
                  </a:gradFill>
                  <a:effectLst/>
                  <a:uLnTx/>
                  <a:uFillTx/>
                  <a:latin typeface="+mn-lt"/>
                  <a:ea typeface="+mn-ea"/>
                  <a:cs typeface="+mn-cs"/>
                </a:rPr>
                <a:t>Vision</a:t>
              </a:r>
            </a:p>
          </p:txBody>
        </p:sp>
        <p:pic>
          <p:nvPicPr>
            <p:cNvPr id="15" name="Picture 14" descr="Screen Clipping"/>
            <p:cNvPicPr>
              <a:picLocks noChangeAspect="1"/>
            </p:cNvPicPr>
            <p:nvPr/>
          </p:nvPicPr>
          <p:blipFill>
            <a:blip r:embed="rId4" cstate="email">
              <a:clrChange>
                <a:clrFrom>
                  <a:srgbClr val="00B294"/>
                </a:clrFrom>
                <a:clrTo>
                  <a:srgbClr val="00B294">
                    <a:alpha val="0"/>
                  </a:srgbClr>
                </a:clrTo>
              </a:clrChange>
              <a:duotone>
                <a:prstClr val="black"/>
                <a:schemeClr val="tx1">
                  <a:tint val="45000"/>
                  <a:satMod val="400000"/>
                </a:schemeClr>
              </a:duotone>
              <a:extLst>
                <a:ext uri="{28A0092B-C50C-407E-A947-70E740481C1C}">
                  <a14:useLocalDpi xmlns:a14="http://schemas.microsoft.com/office/drawing/2010/main"/>
                </a:ext>
              </a:extLst>
            </a:blip>
            <a:stretch>
              <a:fillRect/>
            </a:stretch>
          </p:blipFill>
          <p:spPr>
            <a:xfrm>
              <a:off x="6255845" y="2422025"/>
              <a:ext cx="564487" cy="436195"/>
            </a:xfrm>
            <a:prstGeom prst="rect">
              <a:avLst/>
            </a:prstGeom>
            <a:noFill/>
          </p:spPr>
        </p:pic>
      </p:grpSp>
      <p:sp>
        <p:nvSpPr>
          <p:cNvPr id="17" name="Rectangle 16"/>
          <p:cNvSpPr/>
          <p:nvPr/>
        </p:nvSpPr>
        <p:spPr>
          <a:xfrm>
            <a:off x="8198777" y="1659983"/>
            <a:ext cx="1955823" cy="578270"/>
          </a:xfrm>
          <a:prstGeom prst="rect">
            <a:avLst/>
          </a:prstGeom>
          <a:solidFill>
            <a:srgbClr val="0072C6"/>
          </a:solidFill>
          <a:ln w="9525" cap="flat" cmpd="sng" algn="ctr">
            <a:noFill/>
            <a:prstDash val="solid"/>
          </a:ln>
          <a:effectLst/>
        </p:spPr>
        <p:txBody>
          <a:bodyPr lIns="116971" tIns="58484" rIns="116971" bIns="5848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537" rtl="0" eaLnBrk="1" fontAlgn="auto" latinLnBrk="0" hangingPunct="1">
              <a:lnSpc>
                <a:spcPct val="100000"/>
              </a:lnSpc>
              <a:spcBef>
                <a:spcPts val="0"/>
              </a:spcBef>
              <a:spcAft>
                <a:spcPts val="0"/>
              </a:spcAft>
              <a:buClrTx/>
              <a:buSzTx/>
              <a:buFontTx/>
              <a:buNone/>
              <a:tabLst/>
              <a:defRPr/>
            </a:pPr>
            <a:r>
              <a:rPr kumimoji="0" lang="en-US" sz="1537" b="0" i="0" u="none" strike="noStrike" kern="0" cap="none" spc="0" normalizeH="0" baseline="0" noProof="0" dirty="0">
                <a:ln>
                  <a:noFill/>
                </a:ln>
                <a:gradFill>
                  <a:gsLst>
                    <a:gs pos="0">
                      <a:srgbClr val="FFFFFF"/>
                    </a:gs>
                    <a:gs pos="100000">
                      <a:srgbClr val="FFFFFF"/>
                    </a:gs>
                  </a:gsLst>
                  <a:lin ang="5400000" scaled="0"/>
                </a:gradFill>
                <a:effectLst/>
                <a:uLnTx/>
                <a:uFillTx/>
                <a:latin typeface="+mn-lt"/>
                <a:ea typeface="+mn-ea"/>
                <a:cs typeface="+mn-cs"/>
              </a:rPr>
              <a:t>          Knowledge</a:t>
            </a:r>
          </a:p>
        </p:txBody>
      </p:sp>
      <p:grpSp>
        <p:nvGrpSpPr>
          <p:cNvPr id="19" name="SM Speech APIs"/>
          <p:cNvGrpSpPr/>
          <p:nvPr/>
        </p:nvGrpSpPr>
        <p:grpSpPr>
          <a:xfrm>
            <a:off x="6110787" y="1659983"/>
            <a:ext cx="1994664" cy="578270"/>
            <a:chOff x="3145595" y="2278062"/>
            <a:chExt cx="2907380" cy="715766"/>
          </a:xfrm>
          <a:solidFill>
            <a:srgbClr val="F3C003"/>
          </a:solidFill>
        </p:grpSpPr>
        <p:sp>
          <p:nvSpPr>
            <p:cNvPr id="20" name="Rectangle 19"/>
            <p:cNvSpPr/>
            <p:nvPr/>
          </p:nvSpPr>
          <p:spPr>
            <a:xfrm>
              <a:off x="3145595" y="2278062"/>
              <a:ext cx="2907380" cy="715766"/>
            </a:xfrm>
            <a:prstGeom prst="rect">
              <a:avLst/>
            </a:prstGeom>
            <a:solidFill>
              <a:srgbClr val="0072C6"/>
            </a:solidFill>
            <a:ln w="9525" cap="flat" cmpd="sng" algn="ctr">
              <a:noFill/>
              <a:prstDash val="solid"/>
            </a:ln>
            <a:effectLst/>
          </p:spPr>
          <p:txBody>
            <a:bodyPr lIns="116971" tIns="58484" rIns="116971" bIns="5848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537" rtl="0" eaLnBrk="1" fontAlgn="auto" latinLnBrk="0" hangingPunct="1">
                <a:lnSpc>
                  <a:spcPct val="100000"/>
                </a:lnSpc>
                <a:spcBef>
                  <a:spcPts val="0"/>
                </a:spcBef>
                <a:spcAft>
                  <a:spcPts val="0"/>
                </a:spcAft>
                <a:buClrTx/>
                <a:buSzTx/>
                <a:buFontTx/>
                <a:buNone/>
                <a:tabLst/>
                <a:defRPr/>
              </a:pPr>
              <a:r>
                <a:rPr kumimoji="0" lang="en-US" sz="1537" b="0" i="0" u="none" strike="noStrike" kern="0" cap="none" spc="0" normalizeH="0" baseline="0" noProof="0" dirty="0">
                  <a:ln>
                    <a:noFill/>
                  </a:ln>
                  <a:gradFill>
                    <a:gsLst>
                      <a:gs pos="0">
                        <a:srgbClr val="FFFFFF"/>
                      </a:gs>
                      <a:gs pos="100000">
                        <a:srgbClr val="FFFFFF"/>
                      </a:gs>
                    </a:gsLst>
                    <a:lin ang="5400000" scaled="0"/>
                  </a:gradFill>
                  <a:effectLst/>
                  <a:uLnTx/>
                  <a:uFillTx/>
                  <a:latin typeface="+mn-lt"/>
                  <a:ea typeface="+mn-ea"/>
                  <a:cs typeface="+mn-cs"/>
                </a:rPr>
                <a:t>Language</a:t>
              </a:r>
            </a:p>
          </p:txBody>
        </p:sp>
        <p:pic>
          <p:nvPicPr>
            <p:cNvPr id="21" name="Picture 20" descr="Screen Clipping"/>
            <p:cNvPicPr>
              <a:picLocks noChangeAspect="1"/>
            </p:cNvPicPr>
            <p:nvPr/>
          </p:nvPicPr>
          <p:blipFill>
            <a:blip r:embed="rId5" cstate="email">
              <a:clrChange>
                <a:clrFrom>
                  <a:srgbClr val="00B294"/>
                </a:clrFrom>
                <a:clrTo>
                  <a:srgbClr val="00B294">
                    <a:alpha val="0"/>
                  </a:srgbClr>
                </a:clrTo>
              </a:clrChange>
              <a:duotone>
                <a:prstClr val="black"/>
                <a:schemeClr val="tx1">
                  <a:tint val="45000"/>
                  <a:satMod val="400000"/>
                </a:schemeClr>
              </a:duotone>
              <a:extLst>
                <a:ext uri="{28A0092B-C50C-407E-A947-70E740481C1C}">
                  <a14:useLocalDpi xmlns:a14="http://schemas.microsoft.com/office/drawing/2010/main"/>
                </a:ext>
              </a:extLst>
            </a:blip>
            <a:stretch>
              <a:fillRect/>
            </a:stretch>
          </p:blipFill>
          <p:spPr>
            <a:xfrm>
              <a:off x="3274833" y="2424997"/>
              <a:ext cx="560092" cy="435627"/>
            </a:xfrm>
            <a:prstGeom prst="rect">
              <a:avLst/>
            </a:prstGeom>
            <a:noFill/>
          </p:spPr>
        </p:pic>
      </p:grpSp>
      <p:sp>
        <p:nvSpPr>
          <p:cNvPr id="24" name="Rectangle 23"/>
          <p:cNvSpPr/>
          <p:nvPr/>
        </p:nvSpPr>
        <p:spPr>
          <a:xfrm>
            <a:off x="10245681" y="1659983"/>
            <a:ext cx="1955823" cy="578270"/>
          </a:xfrm>
          <a:prstGeom prst="rect">
            <a:avLst/>
          </a:prstGeom>
          <a:solidFill>
            <a:srgbClr val="0072C6"/>
          </a:solidFill>
          <a:ln w="9525" cap="flat" cmpd="sng" algn="ctr">
            <a:noFill/>
            <a:prstDash val="solid"/>
          </a:ln>
          <a:effectLst/>
        </p:spPr>
        <p:txBody>
          <a:bodyPr lIns="116971" tIns="58484" rIns="116971" bIns="5848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537" rtl="0" eaLnBrk="1" fontAlgn="auto" latinLnBrk="0" hangingPunct="1">
              <a:lnSpc>
                <a:spcPct val="100000"/>
              </a:lnSpc>
              <a:spcBef>
                <a:spcPts val="0"/>
              </a:spcBef>
              <a:spcAft>
                <a:spcPts val="0"/>
              </a:spcAft>
              <a:buClrTx/>
              <a:buSzTx/>
              <a:buFontTx/>
              <a:buNone/>
              <a:tabLst/>
              <a:defRPr/>
            </a:pPr>
            <a:r>
              <a:rPr kumimoji="0" lang="en-US" sz="1537" b="0" i="0" u="none" strike="noStrike" kern="0" cap="none" spc="0" normalizeH="0" baseline="0" noProof="0" dirty="0">
                <a:ln>
                  <a:noFill/>
                </a:ln>
                <a:gradFill>
                  <a:gsLst>
                    <a:gs pos="0">
                      <a:srgbClr val="FFFFFF"/>
                    </a:gs>
                    <a:gs pos="100000">
                      <a:srgbClr val="FFFFFF"/>
                    </a:gs>
                  </a:gsLst>
                  <a:lin ang="5400000" scaled="0"/>
                </a:gradFill>
                <a:effectLst/>
                <a:uLnTx/>
                <a:uFillTx/>
                <a:latin typeface="+mn-lt"/>
                <a:ea typeface="+mn-ea"/>
                <a:cs typeface="+mn-cs"/>
              </a:rPr>
              <a:t>Search</a:t>
            </a:r>
          </a:p>
        </p:txBody>
      </p:sp>
      <p:pic>
        <p:nvPicPr>
          <p:cNvPr id="25" name="Picture 24" descr="Screen Clipping"/>
          <p:cNvPicPr>
            <a:picLocks noChangeAspect="1"/>
          </p:cNvPicPr>
          <p:nvPr/>
        </p:nvPicPr>
        <p:blipFill>
          <a:blip r:embed="rId6" cstate="email">
            <a:clrChange>
              <a:clrFrom>
                <a:srgbClr val="00B294"/>
              </a:clrFrom>
              <a:clrTo>
                <a:srgbClr val="00B294">
                  <a:alpha val="0"/>
                </a:srgbClr>
              </a:clrTo>
            </a:clrChange>
            <a:duotone>
              <a:prstClr val="black"/>
              <a:schemeClr val="tx1">
                <a:tint val="45000"/>
                <a:satMod val="400000"/>
              </a:schemeClr>
            </a:duotone>
            <a:extLst>
              <a:ext uri="{BEBA8EAE-BF5A-486C-A8C5-ECC9F3942E4B}">
                <a14:imgProps xmlns:a14="http://schemas.microsoft.com/office/drawing/2010/main">
                  <a14:imgLayer r:embed="rId7">
                    <a14:imgEffect>
                      <a14:saturation sat="400000"/>
                    </a14:imgEffect>
                  </a14:imgLayer>
                </a14:imgProps>
              </a:ext>
              <a:ext uri="{28A0092B-C50C-407E-A947-70E740481C1C}">
                <a14:useLocalDpi xmlns:a14="http://schemas.microsoft.com/office/drawing/2010/main"/>
              </a:ext>
            </a:extLst>
          </a:blip>
          <a:stretch>
            <a:fillRect/>
          </a:stretch>
        </p:blipFill>
        <p:spPr>
          <a:xfrm>
            <a:off x="10330494" y="1773182"/>
            <a:ext cx="506398" cy="336378"/>
          </a:xfrm>
          <a:prstGeom prst="rect">
            <a:avLst/>
          </a:prstGeom>
          <a:noFill/>
        </p:spPr>
      </p:pic>
      <p:grpSp>
        <p:nvGrpSpPr>
          <p:cNvPr id="3" name="Group 2"/>
          <p:cNvGrpSpPr/>
          <p:nvPr/>
        </p:nvGrpSpPr>
        <p:grpSpPr>
          <a:xfrm>
            <a:off x="1583539" y="5334540"/>
            <a:ext cx="10515485" cy="1280351"/>
            <a:chOff x="1646287" y="5677408"/>
            <a:chExt cx="10515485" cy="1392032"/>
          </a:xfrm>
        </p:grpSpPr>
        <p:sp>
          <p:nvSpPr>
            <p:cNvPr id="108" name="TextBox 107"/>
            <p:cNvSpPr txBox="1"/>
            <p:nvPr/>
          </p:nvSpPr>
          <p:spPr>
            <a:xfrm>
              <a:off x="1646287" y="5677408"/>
              <a:ext cx="6013661" cy="1030639"/>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Faces, images, emotion recognition and video intelligence</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Spoken language processing, speaker recognition, custom speech recognition</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Natural language processing, sentiment and topics analysis, spelling errors</a:t>
              </a:r>
            </a:p>
          </p:txBody>
        </p:sp>
        <p:sp>
          <p:nvSpPr>
            <p:cNvPr id="109" name="TextBox 108"/>
            <p:cNvSpPr txBox="1"/>
            <p:nvPr/>
          </p:nvSpPr>
          <p:spPr>
            <a:xfrm>
              <a:off x="7589436" y="5677408"/>
              <a:ext cx="4572336" cy="1392032"/>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Complex tasks processing, knowledge exploration, intelligent recommendations</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Bing engine capabilities for Web, Autosuggest, Image, Video and News</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endParaRPr kumimoji="0" lang="en-US" sz="1200" b="0" i="0" u="none" strike="noStrike" kern="0" cap="none" spc="0" normalizeH="0" baseline="0" noProof="0" dirty="0">
                <a:ln>
                  <a:noFill/>
                </a:ln>
                <a:solidFill>
                  <a:schemeClr val="bg1"/>
                </a:solidFill>
                <a:effectLst/>
                <a:uLnTx/>
                <a:uFillTx/>
              </a:endParaRPr>
            </a:p>
          </p:txBody>
        </p:sp>
      </p:grpSp>
      <p:sp>
        <p:nvSpPr>
          <p:cNvPr id="194" name="Freeform 193"/>
          <p:cNvSpPr/>
          <p:nvPr/>
        </p:nvSpPr>
        <p:spPr bwMode="auto">
          <a:xfrm flipH="1">
            <a:off x="8434252" y="1810439"/>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grpSp>
        <p:nvGrpSpPr>
          <p:cNvPr id="171" name="Group 170"/>
          <p:cNvGrpSpPr/>
          <p:nvPr/>
        </p:nvGrpSpPr>
        <p:grpSpPr>
          <a:xfrm>
            <a:off x="1492961" y="2364104"/>
            <a:ext cx="200749" cy="211051"/>
            <a:chOff x="4106551" y="3401141"/>
            <a:chExt cx="254631" cy="267699"/>
          </a:xfrm>
        </p:grpSpPr>
        <p:sp>
          <p:nvSpPr>
            <p:cNvPr id="267" name="Rectangle 266"/>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8" name="Rectangle 267"/>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9" name="Oval 268"/>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0" name="Oval 269"/>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1" name="Rectangle 270"/>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2" name="Rectangle 271"/>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3" name="Oval 272"/>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4" name="Oval 273"/>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5" name="Rectangle 274"/>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6" name="Rectangle 275"/>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7" name="Oval 276"/>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8" name="Oval 277"/>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9" name="Rectangle 278"/>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0" name="Rectangle 279"/>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1" name="Oval 280"/>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2" name="Oval 281"/>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96" name="Rectangle 195"/>
          <p:cNvSpPr/>
          <p:nvPr/>
        </p:nvSpPr>
        <p:spPr bwMode="auto">
          <a:xfrm>
            <a:off x="2866" y="1649551"/>
            <a:ext cx="1771946" cy="2368251"/>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telligence</a:t>
            </a:r>
          </a:p>
        </p:txBody>
      </p:sp>
      <p:sp>
        <p:nvSpPr>
          <p:cNvPr id="197" name="Rectangle 196"/>
          <p:cNvSpPr/>
          <p:nvPr/>
        </p:nvSpPr>
        <p:spPr>
          <a:xfrm>
            <a:off x="710367" y="3494326"/>
            <a:ext cx="1294130" cy="270285"/>
          </a:xfrm>
          <a:prstGeom prst="rect">
            <a:avLst/>
          </a:prstGeom>
        </p:spPr>
        <p:txBody>
          <a:bodyPr wrap="square">
            <a:spAutoFit/>
          </a:bodyPr>
          <a:lstStyle/>
          <a:p>
            <a:r>
              <a:rPr lang="en-US" sz="1122" dirty="0">
                <a:solidFill>
                  <a:schemeClr val="accent2">
                    <a:lumMod val="75000"/>
                  </a:schemeClr>
                </a:solidFill>
                <a:cs typeface="Segoe UI Semilight" panose="020B0402040204020203" pitchFamily="34" charset="0"/>
              </a:rPr>
              <a:t>Cortana</a:t>
            </a:r>
          </a:p>
        </p:txBody>
      </p:sp>
      <p:grpSp>
        <p:nvGrpSpPr>
          <p:cNvPr id="198" name="Group 197"/>
          <p:cNvGrpSpPr/>
          <p:nvPr/>
        </p:nvGrpSpPr>
        <p:grpSpPr>
          <a:xfrm>
            <a:off x="306506" y="3465756"/>
            <a:ext cx="322045" cy="322045"/>
            <a:chOff x="3236065" y="-9960864"/>
            <a:chExt cx="5641200" cy="5641200"/>
          </a:xfrm>
          <a:solidFill>
            <a:schemeClr val="accent2">
              <a:lumMod val="75000"/>
            </a:schemeClr>
          </a:solidFill>
        </p:grpSpPr>
        <p:sp>
          <p:nvSpPr>
            <p:cNvPr id="265" name="Freeform 264"/>
            <p:cNvSpPr/>
            <p:nvPr/>
          </p:nvSpPr>
          <p:spPr bwMode="auto">
            <a:xfrm>
              <a:off x="3236065" y="-9960864"/>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sp>
          <p:nvSpPr>
            <p:cNvPr id="266" name="Freeform 265"/>
            <p:cNvSpPr/>
            <p:nvPr/>
          </p:nvSpPr>
          <p:spPr bwMode="auto">
            <a:xfrm>
              <a:off x="3615094" y="-9598196"/>
              <a:ext cx="4883195" cy="4883195"/>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grpSp>
      <p:sp>
        <p:nvSpPr>
          <p:cNvPr id="199" name="Rectangle 198"/>
          <p:cNvSpPr/>
          <p:nvPr/>
        </p:nvSpPr>
        <p:spPr>
          <a:xfrm>
            <a:off x="710367" y="2883292"/>
            <a:ext cx="1294130" cy="446397"/>
          </a:xfrm>
          <a:prstGeom prst="rect">
            <a:avLst/>
          </a:prstGeom>
        </p:spPr>
        <p:txBody>
          <a:bodyPr wrap="square" anchor="ctr">
            <a:spAutoFit/>
          </a:bodyPr>
          <a:lstStyle/>
          <a:p>
            <a:r>
              <a:rPr lang="en-US" sz="1122" dirty="0">
                <a:solidFill>
                  <a:schemeClr val="accent2">
                    <a:lumMod val="75000"/>
                  </a:schemeClr>
                </a:solidFill>
                <a:cs typeface="Segoe UI Semilight" panose="020B0402040204020203" pitchFamily="34" charset="0"/>
              </a:rPr>
              <a:t>Bot </a:t>
            </a:r>
            <a:br>
              <a:rPr lang="en-US" sz="1122" dirty="0">
                <a:solidFill>
                  <a:schemeClr val="accent2">
                    <a:lumMod val="75000"/>
                  </a:schemeClr>
                </a:solidFill>
                <a:cs typeface="Segoe UI Semilight" panose="020B0402040204020203" pitchFamily="34" charset="0"/>
              </a:rPr>
            </a:br>
            <a:r>
              <a:rPr lang="en-US" sz="1122" dirty="0">
                <a:solidFill>
                  <a:schemeClr val="accent2">
                    <a:lumMod val="75000"/>
                  </a:schemeClr>
                </a:solidFill>
                <a:cs typeface="Segoe UI Semilight" panose="020B0402040204020203" pitchFamily="34" charset="0"/>
              </a:rPr>
              <a:t>Framework</a:t>
            </a:r>
          </a:p>
        </p:txBody>
      </p:sp>
      <p:sp>
        <p:nvSpPr>
          <p:cNvPr id="200" name="Rectangle 199"/>
          <p:cNvSpPr/>
          <p:nvPr/>
        </p:nvSpPr>
        <p:spPr>
          <a:xfrm>
            <a:off x="710367" y="2350141"/>
            <a:ext cx="1294130" cy="446397"/>
          </a:xfrm>
          <a:prstGeom prst="rect">
            <a:avLst/>
          </a:prstGeom>
        </p:spPr>
        <p:txBody>
          <a:bodyPr wrap="square">
            <a:spAutoFit/>
          </a:bodyPr>
          <a:lstStyle/>
          <a:p>
            <a:r>
              <a:rPr lang="en-US" sz="1122" dirty="0">
                <a:cs typeface="Segoe UI Semilight" panose="020B0402040204020203" pitchFamily="34" charset="0"/>
              </a:rPr>
              <a:t>Cognitive Services</a:t>
            </a:r>
          </a:p>
        </p:txBody>
      </p:sp>
      <p:grpSp>
        <p:nvGrpSpPr>
          <p:cNvPr id="201" name="Group 200"/>
          <p:cNvGrpSpPr/>
          <p:nvPr/>
        </p:nvGrpSpPr>
        <p:grpSpPr>
          <a:xfrm>
            <a:off x="249560" y="2430107"/>
            <a:ext cx="435940" cy="279533"/>
            <a:chOff x="7822816" y="2717080"/>
            <a:chExt cx="427431" cy="274077"/>
          </a:xfrm>
        </p:grpSpPr>
        <p:sp>
          <p:nvSpPr>
            <p:cNvPr id="263" name="Freeform 262"/>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3260" tIns="46630" rIns="93260" bIns="46630" numCol="1" anchor="t" anchorCtr="0" compatLnSpc="1">
              <a:prstTxWarp prst="textNoShape">
                <a:avLst/>
              </a:prstTxWarp>
              <a:noAutofit/>
            </a:bodyPr>
            <a:lstStyle/>
            <a:p>
              <a:endParaRPr lang="en-US" sz="1836"/>
            </a:p>
          </p:txBody>
        </p:sp>
        <p:sp>
          <p:nvSpPr>
            <p:cNvPr id="264"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grpSp>
      <p:sp>
        <p:nvSpPr>
          <p:cNvPr id="202" name="Freeform 201"/>
          <p:cNvSpPr/>
          <p:nvPr/>
        </p:nvSpPr>
        <p:spPr bwMode="auto">
          <a:xfrm>
            <a:off x="277134" y="2972822"/>
            <a:ext cx="380791" cy="258848"/>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89" name="Rectangle 88"/>
          <p:cNvSpPr/>
          <p:nvPr/>
        </p:nvSpPr>
        <p:spPr bwMode="auto">
          <a:xfrm>
            <a:off x="6110787" y="4685969"/>
            <a:ext cx="1994664"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lnSpc>
                <a:spcPct val="90000"/>
              </a:lnSpc>
              <a:spcAft>
                <a:spcPts val="600"/>
              </a:spcAft>
              <a:defRPr/>
            </a:pPr>
            <a:r>
              <a:rPr lang="en-US" sz="1200" kern="0">
                <a:gradFill>
                  <a:gsLst>
                    <a:gs pos="0">
                      <a:srgbClr val="404040"/>
                    </a:gs>
                    <a:gs pos="100000">
                      <a:srgbClr val="404040"/>
                    </a:gs>
                  </a:gsLst>
                  <a:lin ang="5400000" scaled="0"/>
                </a:gradFill>
              </a:rPr>
              <a:t>Language Understanding Intelligent Service</a:t>
            </a:r>
            <a:endParaRPr lang="en-US" sz="1200" kern="0" dirty="0">
              <a:gradFill>
                <a:gsLst>
                  <a:gs pos="0">
                    <a:srgbClr val="404040"/>
                  </a:gs>
                  <a:gs pos="100000">
                    <a:srgbClr val="404040"/>
                  </a:gs>
                </a:gsLst>
                <a:lin ang="5400000" scaled="0"/>
              </a:gradFill>
            </a:endParaRPr>
          </a:p>
        </p:txBody>
      </p:sp>
      <p:sp>
        <p:nvSpPr>
          <p:cNvPr id="90" name="Rectangle 89"/>
          <p:cNvSpPr/>
          <p:nvPr/>
        </p:nvSpPr>
        <p:spPr bwMode="auto">
          <a:xfrm>
            <a:off x="10258850" y="4685969"/>
            <a:ext cx="1942654"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lnSpc>
                <a:spcPct val="90000"/>
              </a:lnSpc>
              <a:spcAft>
                <a:spcPts val="600"/>
              </a:spcAft>
              <a:defRPr/>
            </a:pPr>
            <a:r>
              <a:rPr lang="en-US" sz="1200" kern="0">
                <a:gradFill>
                  <a:gsLst>
                    <a:gs pos="0">
                      <a:srgbClr val="404040"/>
                    </a:gs>
                    <a:gs pos="100000">
                      <a:srgbClr val="404040"/>
                    </a:gs>
                  </a:gsLst>
                  <a:lin ang="5400000" scaled="0"/>
                </a:gradFill>
              </a:rPr>
              <a:t>Bing Auto Suggest API</a:t>
            </a:r>
            <a:endParaRPr lang="en-US" sz="1200" kern="0" dirty="0">
              <a:gradFill>
                <a:gsLst>
                  <a:gs pos="0">
                    <a:srgbClr val="404040"/>
                  </a:gs>
                  <a:gs pos="100000">
                    <a:srgbClr val="404040"/>
                  </a:gs>
                </a:gsLst>
                <a:lin ang="5400000" scaled="0"/>
              </a:gradFill>
            </a:endParaRPr>
          </a:p>
        </p:txBody>
      </p:sp>
      <p:sp>
        <p:nvSpPr>
          <p:cNvPr id="91" name="Rectangle 90"/>
          <p:cNvSpPr/>
          <p:nvPr/>
        </p:nvSpPr>
        <p:spPr bwMode="auto">
          <a:xfrm>
            <a:off x="4029646" y="2328074"/>
            <a:ext cx="1994664"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dirty="0">
                <a:gradFill>
                  <a:gsLst>
                    <a:gs pos="0">
                      <a:srgbClr val="404040"/>
                    </a:gs>
                    <a:gs pos="100000">
                      <a:srgbClr val="404040"/>
                    </a:gs>
                  </a:gsLst>
                  <a:lin ang="5400000" scaled="0"/>
                </a:gradFill>
              </a:rPr>
              <a:t>Speaker Recognition</a:t>
            </a:r>
          </a:p>
        </p:txBody>
      </p:sp>
      <p:sp>
        <p:nvSpPr>
          <p:cNvPr id="92" name="Rectangle 91"/>
          <p:cNvSpPr/>
          <p:nvPr/>
        </p:nvSpPr>
        <p:spPr bwMode="auto">
          <a:xfrm>
            <a:off x="4029646" y="2917548"/>
            <a:ext cx="1994664"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a:gradFill>
                  <a:gsLst>
                    <a:gs pos="0">
                      <a:srgbClr val="404040"/>
                    </a:gs>
                    <a:gs pos="100000">
                      <a:srgbClr val="404040"/>
                    </a:gs>
                  </a:gsLst>
                  <a:lin ang="5400000" scaled="0"/>
                </a:gradFill>
              </a:rPr>
              <a:t>Speech</a:t>
            </a:r>
            <a:endParaRPr lang="en-US" sz="1200" kern="0" dirty="0">
              <a:gradFill>
                <a:gsLst>
                  <a:gs pos="0">
                    <a:srgbClr val="404040"/>
                  </a:gs>
                  <a:gs pos="100000">
                    <a:srgbClr val="404040"/>
                  </a:gs>
                </a:gsLst>
                <a:lin ang="5400000" scaled="0"/>
              </a:gradFill>
            </a:endParaRPr>
          </a:p>
        </p:txBody>
      </p:sp>
      <p:sp>
        <p:nvSpPr>
          <p:cNvPr id="93" name="Rectangle 92"/>
          <p:cNvSpPr/>
          <p:nvPr/>
        </p:nvSpPr>
        <p:spPr bwMode="auto">
          <a:xfrm>
            <a:off x="4029646" y="3507022"/>
            <a:ext cx="1994664"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a:gradFill>
                  <a:gsLst>
                    <a:gs pos="0">
                      <a:srgbClr val="404040"/>
                    </a:gs>
                    <a:gs pos="100000">
                      <a:srgbClr val="404040"/>
                    </a:gs>
                  </a:gsLst>
                  <a:lin ang="5400000" scaled="0"/>
                </a:gradFill>
              </a:rPr>
              <a:t>CRIS</a:t>
            </a:r>
            <a:endParaRPr lang="en-US" sz="1200" kern="0" dirty="0">
              <a:gradFill>
                <a:gsLst>
                  <a:gs pos="0">
                    <a:srgbClr val="404040"/>
                  </a:gs>
                  <a:gs pos="100000">
                    <a:srgbClr val="404040"/>
                  </a:gs>
                </a:gsLst>
                <a:lin ang="5400000" scaled="0"/>
              </a:gradFill>
            </a:endParaRPr>
          </a:p>
        </p:txBody>
      </p:sp>
      <p:sp>
        <p:nvSpPr>
          <p:cNvPr id="94" name="Rectangle 93"/>
          <p:cNvSpPr/>
          <p:nvPr/>
        </p:nvSpPr>
        <p:spPr bwMode="auto">
          <a:xfrm>
            <a:off x="6110787" y="2328074"/>
            <a:ext cx="1994664"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a:gradFill>
                  <a:gsLst>
                    <a:gs pos="0">
                      <a:srgbClr val="404040"/>
                    </a:gs>
                    <a:gs pos="100000">
                      <a:srgbClr val="404040"/>
                    </a:gs>
                  </a:gsLst>
                  <a:lin ang="5400000" scaled="0"/>
                </a:gradFill>
              </a:rPr>
              <a:t>Text Analytics</a:t>
            </a:r>
            <a:endParaRPr lang="en-US" sz="1200" kern="0" dirty="0">
              <a:gradFill>
                <a:gsLst>
                  <a:gs pos="0">
                    <a:srgbClr val="404040"/>
                  </a:gs>
                  <a:gs pos="100000">
                    <a:srgbClr val="404040"/>
                  </a:gs>
                </a:gsLst>
                <a:lin ang="5400000" scaled="0"/>
              </a:gradFill>
            </a:endParaRPr>
          </a:p>
        </p:txBody>
      </p:sp>
      <p:sp>
        <p:nvSpPr>
          <p:cNvPr id="95" name="Rectangle 94"/>
          <p:cNvSpPr/>
          <p:nvPr/>
        </p:nvSpPr>
        <p:spPr bwMode="auto">
          <a:xfrm>
            <a:off x="6110787" y="2917548"/>
            <a:ext cx="1994664"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dirty="0">
                <a:gradFill>
                  <a:gsLst>
                    <a:gs pos="0">
                      <a:srgbClr val="404040"/>
                    </a:gs>
                    <a:gs pos="100000">
                      <a:srgbClr val="404040"/>
                    </a:gs>
                  </a:gsLst>
                  <a:lin ang="5400000" scaled="0"/>
                </a:gradFill>
              </a:rPr>
              <a:t>Bing Speller</a:t>
            </a:r>
          </a:p>
        </p:txBody>
      </p:sp>
      <p:sp>
        <p:nvSpPr>
          <p:cNvPr id="96" name="Rectangle 95"/>
          <p:cNvSpPr/>
          <p:nvPr/>
        </p:nvSpPr>
        <p:spPr bwMode="auto">
          <a:xfrm>
            <a:off x="6110787" y="3507022"/>
            <a:ext cx="1994664"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lnSpc>
                <a:spcPct val="90000"/>
              </a:lnSpc>
              <a:spcAft>
                <a:spcPts val="600"/>
              </a:spcAft>
              <a:defRPr/>
            </a:pPr>
            <a:r>
              <a:rPr lang="en-US" sz="1200" kern="0" dirty="0">
                <a:gradFill>
                  <a:gsLst>
                    <a:gs pos="0">
                      <a:srgbClr val="404040"/>
                    </a:gs>
                    <a:gs pos="100000">
                      <a:srgbClr val="404040"/>
                    </a:gs>
                  </a:gsLst>
                  <a:lin ang="5400000" scaled="0"/>
                </a:gradFill>
              </a:rPr>
              <a:t>Web Language Model</a:t>
            </a:r>
          </a:p>
        </p:txBody>
      </p:sp>
      <p:sp>
        <p:nvSpPr>
          <p:cNvPr id="97" name="Rectangle 96"/>
          <p:cNvSpPr/>
          <p:nvPr/>
        </p:nvSpPr>
        <p:spPr bwMode="auto">
          <a:xfrm>
            <a:off x="6110787" y="4096496"/>
            <a:ext cx="1994664"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lnSpc>
                <a:spcPct val="90000"/>
              </a:lnSpc>
              <a:spcAft>
                <a:spcPts val="600"/>
              </a:spcAft>
              <a:defRPr/>
            </a:pPr>
            <a:r>
              <a:rPr lang="en-US" sz="1200" kern="0" dirty="0">
                <a:gradFill>
                  <a:gsLst>
                    <a:gs pos="0">
                      <a:srgbClr val="404040"/>
                    </a:gs>
                    <a:gs pos="100000">
                      <a:srgbClr val="404040"/>
                    </a:gs>
                  </a:gsLst>
                  <a:lin ang="5400000" scaled="0"/>
                </a:gradFill>
              </a:rPr>
              <a:t>Linguistic Analysis </a:t>
            </a:r>
          </a:p>
        </p:txBody>
      </p:sp>
      <p:sp>
        <p:nvSpPr>
          <p:cNvPr id="98" name="Rectangle 97"/>
          <p:cNvSpPr/>
          <p:nvPr/>
        </p:nvSpPr>
        <p:spPr bwMode="auto">
          <a:xfrm>
            <a:off x="8198558" y="2328074"/>
            <a:ext cx="1956042"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a:gradFill>
                  <a:gsLst>
                    <a:gs pos="0">
                      <a:srgbClr val="404040"/>
                    </a:gs>
                    <a:gs pos="100000">
                      <a:srgbClr val="404040"/>
                    </a:gs>
                  </a:gsLst>
                  <a:lin ang="5400000" scaled="0"/>
                </a:gradFill>
              </a:rPr>
              <a:t>Academic Knowledge</a:t>
            </a:r>
            <a:endParaRPr lang="en-US" sz="1200" kern="0" dirty="0">
              <a:gradFill>
                <a:gsLst>
                  <a:gs pos="0">
                    <a:srgbClr val="404040"/>
                  </a:gs>
                  <a:gs pos="100000">
                    <a:srgbClr val="404040"/>
                  </a:gs>
                </a:gsLst>
                <a:lin ang="5400000" scaled="0"/>
              </a:gradFill>
            </a:endParaRPr>
          </a:p>
        </p:txBody>
      </p:sp>
      <p:sp>
        <p:nvSpPr>
          <p:cNvPr id="99" name="Rectangle 98"/>
          <p:cNvSpPr/>
          <p:nvPr/>
        </p:nvSpPr>
        <p:spPr bwMode="auto">
          <a:xfrm>
            <a:off x="8198558" y="2917548"/>
            <a:ext cx="1956042"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dirty="0">
                <a:gradFill>
                  <a:gsLst>
                    <a:gs pos="0">
                      <a:srgbClr val="404040"/>
                    </a:gs>
                    <a:gs pos="100000">
                      <a:srgbClr val="404040"/>
                    </a:gs>
                  </a:gsLst>
                  <a:lin ang="5400000" scaled="0"/>
                </a:gradFill>
              </a:rPr>
              <a:t>Entity Linking Service</a:t>
            </a:r>
          </a:p>
        </p:txBody>
      </p:sp>
      <p:sp>
        <p:nvSpPr>
          <p:cNvPr id="100" name="Rectangle 99"/>
          <p:cNvSpPr/>
          <p:nvPr/>
        </p:nvSpPr>
        <p:spPr bwMode="auto">
          <a:xfrm>
            <a:off x="8198558" y="3507022"/>
            <a:ext cx="1956042"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lnSpc>
                <a:spcPct val="90000"/>
              </a:lnSpc>
              <a:spcAft>
                <a:spcPts val="600"/>
              </a:spcAft>
              <a:defRPr/>
            </a:pPr>
            <a:r>
              <a:rPr lang="en-US" sz="1200" kern="0" dirty="0">
                <a:gradFill>
                  <a:gsLst>
                    <a:gs pos="0">
                      <a:srgbClr val="404040"/>
                    </a:gs>
                    <a:gs pos="100000">
                      <a:srgbClr val="404040"/>
                    </a:gs>
                  </a:gsLst>
                  <a:lin ang="5400000" scaled="0"/>
                </a:gradFill>
              </a:rPr>
              <a:t>Knowledge Exploration Service</a:t>
            </a:r>
          </a:p>
        </p:txBody>
      </p:sp>
      <p:sp>
        <p:nvSpPr>
          <p:cNvPr id="101" name="Rectangle 100"/>
          <p:cNvSpPr/>
          <p:nvPr/>
        </p:nvSpPr>
        <p:spPr bwMode="auto">
          <a:xfrm>
            <a:off x="8198558" y="4096496"/>
            <a:ext cx="1956042"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a:gradFill>
                  <a:gsLst>
                    <a:gs pos="0">
                      <a:srgbClr val="404040"/>
                    </a:gs>
                    <a:gs pos="100000">
                      <a:srgbClr val="404040"/>
                    </a:gs>
                  </a:gsLst>
                  <a:lin ang="5400000" scaled="0"/>
                </a:gradFill>
              </a:rPr>
              <a:t>Recommendations</a:t>
            </a:r>
            <a:endParaRPr lang="en-US" sz="1200" kern="0" dirty="0">
              <a:gradFill>
                <a:gsLst>
                  <a:gs pos="0">
                    <a:srgbClr val="404040"/>
                  </a:gs>
                  <a:gs pos="100000">
                    <a:srgbClr val="404040"/>
                  </a:gs>
                </a:gsLst>
                <a:lin ang="5400000" scaled="0"/>
              </a:gradFill>
            </a:endParaRPr>
          </a:p>
        </p:txBody>
      </p:sp>
      <p:sp>
        <p:nvSpPr>
          <p:cNvPr id="102" name="Rectangle 101"/>
          <p:cNvSpPr/>
          <p:nvPr/>
        </p:nvSpPr>
        <p:spPr bwMode="auto">
          <a:xfrm>
            <a:off x="10247277" y="2328074"/>
            <a:ext cx="1956042"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lnSpc>
                <a:spcPct val="90000"/>
              </a:lnSpc>
              <a:spcAft>
                <a:spcPts val="600"/>
              </a:spcAft>
              <a:defRPr/>
            </a:pPr>
            <a:r>
              <a:rPr lang="en-US" sz="1200" kern="0">
                <a:gradFill>
                  <a:gsLst>
                    <a:gs pos="0">
                      <a:srgbClr val="404040"/>
                    </a:gs>
                    <a:gs pos="100000">
                      <a:srgbClr val="404040"/>
                    </a:gs>
                  </a:gsLst>
                  <a:lin ang="5400000" scaled="0"/>
                </a:gradFill>
              </a:rPr>
              <a:t>Bing Search API</a:t>
            </a:r>
            <a:endParaRPr lang="en-US" sz="1200" kern="0" dirty="0">
              <a:gradFill>
                <a:gsLst>
                  <a:gs pos="0">
                    <a:srgbClr val="404040"/>
                  </a:gs>
                  <a:gs pos="100000">
                    <a:srgbClr val="404040"/>
                  </a:gs>
                </a:gsLst>
                <a:lin ang="5400000" scaled="0"/>
              </a:gradFill>
            </a:endParaRPr>
          </a:p>
        </p:txBody>
      </p:sp>
      <p:sp>
        <p:nvSpPr>
          <p:cNvPr id="103" name="Rectangle 102"/>
          <p:cNvSpPr/>
          <p:nvPr/>
        </p:nvSpPr>
        <p:spPr bwMode="auto">
          <a:xfrm>
            <a:off x="10247277" y="2917548"/>
            <a:ext cx="1956042"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lnSpc>
                <a:spcPct val="90000"/>
              </a:lnSpc>
              <a:spcAft>
                <a:spcPts val="600"/>
              </a:spcAft>
              <a:defRPr/>
            </a:pPr>
            <a:r>
              <a:rPr lang="en-US" sz="1200" kern="0" dirty="0">
                <a:gradFill>
                  <a:gsLst>
                    <a:gs pos="0">
                      <a:srgbClr val="404040"/>
                    </a:gs>
                    <a:gs pos="100000">
                      <a:srgbClr val="404040"/>
                    </a:gs>
                  </a:gsLst>
                  <a:lin ang="5400000" scaled="0"/>
                </a:gradFill>
              </a:rPr>
              <a:t>Bing Image Search API</a:t>
            </a:r>
          </a:p>
        </p:txBody>
      </p:sp>
      <p:sp>
        <p:nvSpPr>
          <p:cNvPr id="104" name="Rectangle 103"/>
          <p:cNvSpPr/>
          <p:nvPr/>
        </p:nvSpPr>
        <p:spPr bwMode="auto">
          <a:xfrm>
            <a:off x="10247277" y="3507022"/>
            <a:ext cx="1956042"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lnSpc>
                <a:spcPct val="90000"/>
              </a:lnSpc>
              <a:spcAft>
                <a:spcPts val="600"/>
              </a:spcAft>
              <a:defRPr/>
            </a:pPr>
            <a:r>
              <a:rPr lang="en-US" sz="1200" kern="0">
                <a:gradFill>
                  <a:gsLst>
                    <a:gs pos="0">
                      <a:srgbClr val="404040"/>
                    </a:gs>
                    <a:gs pos="100000">
                      <a:srgbClr val="404040"/>
                    </a:gs>
                  </a:gsLst>
                  <a:lin ang="5400000" scaled="0"/>
                </a:gradFill>
              </a:rPr>
              <a:t>Bing Video Search API</a:t>
            </a:r>
            <a:endParaRPr lang="en-US" sz="1200" kern="0" dirty="0">
              <a:gradFill>
                <a:gsLst>
                  <a:gs pos="0">
                    <a:srgbClr val="404040"/>
                  </a:gs>
                  <a:gs pos="100000">
                    <a:srgbClr val="404040"/>
                  </a:gs>
                </a:gsLst>
                <a:lin ang="5400000" scaled="0"/>
              </a:gradFill>
            </a:endParaRPr>
          </a:p>
        </p:txBody>
      </p:sp>
      <p:sp>
        <p:nvSpPr>
          <p:cNvPr id="105" name="Rectangle 104"/>
          <p:cNvSpPr/>
          <p:nvPr/>
        </p:nvSpPr>
        <p:spPr bwMode="auto">
          <a:xfrm>
            <a:off x="10247277" y="4096496"/>
            <a:ext cx="1956042"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lnSpc>
                <a:spcPct val="90000"/>
              </a:lnSpc>
              <a:spcAft>
                <a:spcPts val="600"/>
              </a:spcAft>
              <a:defRPr/>
            </a:pPr>
            <a:r>
              <a:rPr lang="en-US" sz="1200" kern="0">
                <a:gradFill>
                  <a:gsLst>
                    <a:gs pos="0">
                      <a:srgbClr val="404040"/>
                    </a:gs>
                    <a:gs pos="100000">
                      <a:srgbClr val="404040"/>
                    </a:gs>
                  </a:gsLst>
                  <a:lin ang="5400000" scaled="0"/>
                </a:gradFill>
              </a:rPr>
              <a:t>Bing News Search API</a:t>
            </a:r>
            <a:endParaRPr lang="en-US" sz="1200" kern="0" dirty="0">
              <a:gradFill>
                <a:gsLst>
                  <a:gs pos="0">
                    <a:srgbClr val="404040"/>
                  </a:gs>
                  <a:gs pos="100000">
                    <a:srgbClr val="404040"/>
                  </a:gs>
                </a:gsLst>
                <a:lin ang="5400000" scaled="0"/>
              </a:gradFill>
            </a:endParaRPr>
          </a:p>
        </p:txBody>
      </p:sp>
      <p:sp>
        <p:nvSpPr>
          <p:cNvPr id="106" name="Rectangle 105"/>
          <p:cNvSpPr/>
          <p:nvPr/>
        </p:nvSpPr>
        <p:spPr bwMode="auto">
          <a:xfrm>
            <a:off x="1957777" y="2328074"/>
            <a:ext cx="1994664"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a:gradFill>
                  <a:gsLst>
                    <a:gs pos="0">
                      <a:srgbClr val="404040"/>
                    </a:gs>
                    <a:gs pos="100000">
                      <a:srgbClr val="404040"/>
                    </a:gs>
                  </a:gsLst>
                  <a:lin ang="5400000" scaled="0"/>
                </a:gradFill>
              </a:rPr>
              <a:t>Computer Vision</a:t>
            </a:r>
            <a:endParaRPr lang="en-US" sz="1200" kern="0" dirty="0">
              <a:gradFill>
                <a:gsLst>
                  <a:gs pos="0">
                    <a:srgbClr val="404040"/>
                  </a:gs>
                  <a:gs pos="100000">
                    <a:srgbClr val="404040"/>
                  </a:gs>
                </a:gsLst>
                <a:lin ang="5400000" scaled="0"/>
              </a:gradFill>
            </a:endParaRPr>
          </a:p>
        </p:txBody>
      </p:sp>
      <p:sp>
        <p:nvSpPr>
          <p:cNvPr id="107" name="Rectangle 106"/>
          <p:cNvSpPr/>
          <p:nvPr/>
        </p:nvSpPr>
        <p:spPr bwMode="auto">
          <a:xfrm>
            <a:off x="1957777" y="2917548"/>
            <a:ext cx="1994664"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a:gradFill>
                  <a:gsLst>
                    <a:gs pos="0">
                      <a:srgbClr val="404040"/>
                    </a:gs>
                    <a:gs pos="100000">
                      <a:srgbClr val="404040"/>
                    </a:gs>
                  </a:gsLst>
                  <a:lin ang="5400000" scaled="0"/>
                </a:gradFill>
              </a:rPr>
              <a:t>Face</a:t>
            </a:r>
            <a:endParaRPr lang="en-US" sz="1200" kern="0" dirty="0">
              <a:gradFill>
                <a:gsLst>
                  <a:gs pos="0">
                    <a:srgbClr val="404040"/>
                  </a:gs>
                  <a:gs pos="100000">
                    <a:srgbClr val="404040"/>
                  </a:gs>
                </a:gsLst>
                <a:lin ang="5400000" scaled="0"/>
              </a:gradFill>
            </a:endParaRPr>
          </a:p>
        </p:txBody>
      </p:sp>
      <p:sp>
        <p:nvSpPr>
          <p:cNvPr id="110" name="Rectangle 109"/>
          <p:cNvSpPr/>
          <p:nvPr/>
        </p:nvSpPr>
        <p:spPr bwMode="auto">
          <a:xfrm>
            <a:off x="1957777" y="3507022"/>
            <a:ext cx="1994664"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dirty="0">
                <a:gradFill>
                  <a:gsLst>
                    <a:gs pos="0">
                      <a:srgbClr val="404040"/>
                    </a:gs>
                    <a:gs pos="100000">
                      <a:srgbClr val="404040"/>
                    </a:gs>
                  </a:gsLst>
                  <a:lin ang="5400000" scaled="0"/>
                </a:gradFill>
              </a:rPr>
              <a:t>Emotion</a:t>
            </a:r>
          </a:p>
        </p:txBody>
      </p:sp>
      <p:sp>
        <p:nvSpPr>
          <p:cNvPr id="111" name="Rectangle 110"/>
          <p:cNvSpPr/>
          <p:nvPr/>
        </p:nvSpPr>
        <p:spPr bwMode="auto">
          <a:xfrm>
            <a:off x="1957777" y="4096496"/>
            <a:ext cx="1994664"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a:gradFill>
                  <a:gsLst>
                    <a:gs pos="0">
                      <a:srgbClr val="404040"/>
                    </a:gs>
                    <a:gs pos="100000">
                      <a:srgbClr val="404040"/>
                    </a:gs>
                  </a:gsLst>
                  <a:lin ang="5400000" scaled="0"/>
                </a:gradFill>
              </a:rPr>
              <a:t>Video</a:t>
            </a:r>
            <a:endParaRPr lang="en-US" sz="1200" kern="0" dirty="0">
              <a:gradFill>
                <a:gsLst>
                  <a:gs pos="0">
                    <a:srgbClr val="404040"/>
                  </a:gs>
                  <a:gs pos="100000">
                    <a:srgbClr val="404040"/>
                  </a:gs>
                </a:gsLst>
                <a:lin ang="5400000" scaled="0"/>
              </a:gradFill>
            </a:endParaRPr>
          </a:p>
        </p:txBody>
      </p:sp>
    </p:spTree>
    <p:extLst>
      <p:ext uri="{BB962C8B-B14F-4D97-AF65-F5344CB8AC3E}">
        <p14:creationId xmlns:p14="http://schemas.microsoft.com/office/powerpoint/2010/main" val="1119431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defTabSz="914400">
              <a:spcBef>
                <a:spcPts val="0"/>
              </a:spcBef>
              <a:spcAft>
                <a:spcPts val="600"/>
              </a:spcAft>
              <a:defRPr/>
            </a:pPr>
            <a:r>
              <a:rPr lang="en-US" kern="0" spc="0" dirty="0">
                <a:ln>
                  <a:noFill/>
                </a:ln>
                <a:solidFill>
                  <a:schemeClr val="bg1"/>
                </a:solidFill>
              </a:rPr>
              <a:t>Your bots – wherever your users converse</a:t>
            </a:r>
          </a:p>
        </p:txBody>
      </p:sp>
      <p:grpSp>
        <p:nvGrpSpPr>
          <p:cNvPr id="102" name="Group 101"/>
          <p:cNvGrpSpPr/>
          <p:nvPr/>
        </p:nvGrpSpPr>
        <p:grpSpPr>
          <a:xfrm>
            <a:off x="1492961" y="2364104"/>
            <a:ext cx="200749" cy="211051"/>
            <a:chOff x="4106551" y="3401141"/>
            <a:chExt cx="254631" cy="267699"/>
          </a:xfrm>
        </p:grpSpPr>
        <p:sp>
          <p:nvSpPr>
            <p:cNvPr id="103" name="Rectangle 102"/>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4" name="Rectangle 103"/>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Oval 104"/>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Oval 105"/>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Rectangle 106"/>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8" name="Rectangle 107"/>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9" name="Oval 108"/>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0" name="Oval 109"/>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1" name="Rectangle 110"/>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2" name="Rectangle 111"/>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3" name="Oval 112"/>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4" name="Oval 113"/>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5" name="Rectangle 114"/>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6" name="Rectangle 115"/>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7" name="Oval 116"/>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8" name="Oval 117"/>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19" name="Rectangle 118"/>
          <p:cNvSpPr/>
          <p:nvPr/>
        </p:nvSpPr>
        <p:spPr bwMode="auto">
          <a:xfrm>
            <a:off x="2866" y="1649551"/>
            <a:ext cx="1771946" cy="2368251"/>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telligence</a:t>
            </a:r>
          </a:p>
        </p:txBody>
      </p:sp>
      <p:grpSp>
        <p:nvGrpSpPr>
          <p:cNvPr id="120" name="Group 119"/>
          <p:cNvGrpSpPr/>
          <p:nvPr/>
        </p:nvGrpSpPr>
        <p:grpSpPr>
          <a:xfrm>
            <a:off x="306506" y="3465756"/>
            <a:ext cx="322045" cy="322045"/>
            <a:chOff x="3236065" y="-9960864"/>
            <a:chExt cx="5641200" cy="5641200"/>
          </a:xfrm>
          <a:solidFill>
            <a:schemeClr val="accent2">
              <a:lumMod val="75000"/>
            </a:schemeClr>
          </a:solidFill>
        </p:grpSpPr>
        <p:sp>
          <p:nvSpPr>
            <p:cNvPr id="121" name="Freeform 120"/>
            <p:cNvSpPr/>
            <p:nvPr/>
          </p:nvSpPr>
          <p:spPr bwMode="auto">
            <a:xfrm>
              <a:off x="3236065" y="-9960864"/>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sp>
          <p:nvSpPr>
            <p:cNvPr id="122" name="Freeform 121"/>
            <p:cNvSpPr/>
            <p:nvPr/>
          </p:nvSpPr>
          <p:spPr bwMode="auto">
            <a:xfrm>
              <a:off x="3615094" y="-9598196"/>
              <a:ext cx="4883195" cy="4883195"/>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grpSp>
      <p:grpSp>
        <p:nvGrpSpPr>
          <p:cNvPr id="123" name="Group 122"/>
          <p:cNvGrpSpPr/>
          <p:nvPr/>
        </p:nvGrpSpPr>
        <p:grpSpPr>
          <a:xfrm>
            <a:off x="249560" y="2430107"/>
            <a:ext cx="435940" cy="279533"/>
            <a:chOff x="7822816" y="2717080"/>
            <a:chExt cx="427431" cy="274077"/>
          </a:xfrm>
          <a:solidFill>
            <a:schemeClr val="accent2">
              <a:lumMod val="75000"/>
            </a:schemeClr>
          </a:solidFill>
        </p:grpSpPr>
        <p:sp>
          <p:nvSpPr>
            <p:cNvPr id="124" name="Freeform 123"/>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grpFill/>
            <a:ln>
              <a:noFill/>
            </a:ln>
          </p:spPr>
          <p:txBody>
            <a:bodyPr vert="horz" wrap="square" lIns="93260" tIns="46630" rIns="93260" bIns="46630" numCol="1" anchor="t" anchorCtr="0" compatLnSpc="1">
              <a:prstTxWarp prst="textNoShape">
                <a:avLst/>
              </a:prstTxWarp>
              <a:noAutofit/>
            </a:bodyPr>
            <a:lstStyle/>
            <a:p>
              <a:endParaRPr lang="en-US" sz="1836"/>
            </a:p>
          </p:txBody>
        </p:sp>
        <p:sp>
          <p:nvSpPr>
            <p:cNvPr id="125"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sz="1836"/>
            </a:p>
          </p:txBody>
        </p:sp>
      </p:grpSp>
      <p:sp>
        <p:nvSpPr>
          <p:cNvPr id="126" name="Freeform 125"/>
          <p:cNvSpPr/>
          <p:nvPr/>
        </p:nvSpPr>
        <p:spPr bwMode="auto">
          <a:xfrm>
            <a:off x="277134" y="2972822"/>
            <a:ext cx="380791" cy="258848"/>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127" name="Rectangle 126"/>
          <p:cNvSpPr/>
          <p:nvPr/>
        </p:nvSpPr>
        <p:spPr>
          <a:xfrm>
            <a:off x="710367" y="3494326"/>
            <a:ext cx="1294130" cy="270285"/>
          </a:xfrm>
          <a:prstGeom prst="rect">
            <a:avLst/>
          </a:prstGeom>
        </p:spPr>
        <p:txBody>
          <a:bodyPr wrap="square">
            <a:spAutoFit/>
          </a:bodyPr>
          <a:lstStyle/>
          <a:p>
            <a:r>
              <a:rPr lang="en-US" sz="1122" dirty="0">
                <a:solidFill>
                  <a:schemeClr val="accent2">
                    <a:lumMod val="75000"/>
                  </a:schemeClr>
                </a:solidFill>
                <a:cs typeface="Segoe UI Semilight" panose="020B0402040204020203" pitchFamily="34" charset="0"/>
              </a:rPr>
              <a:t>Cortana</a:t>
            </a:r>
          </a:p>
        </p:txBody>
      </p:sp>
      <p:sp>
        <p:nvSpPr>
          <p:cNvPr id="128" name="Rectangle 127"/>
          <p:cNvSpPr/>
          <p:nvPr/>
        </p:nvSpPr>
        <p:spPr>
          <a:xfrm>
            <a:off x="710367" y="2883292"/>
            <a:ext cx="1294130" cy="446397"/>
          </a:xfrm>
          <a:prstGeom prst="rect">
            <a:avLst/>
          </a:prstGeom>
        </p:spPr>
        <p:txBody>
          <a:bodyPr wrap="square" anchor="ctr">
            <a:spAutoFit/>
          </a:bodyPr>
          <a:lstStyle/>
          <a:p>
            <a:r>
              <a:rPr lang="en-US" sz="1122" dirty="0">
                <a:cs typeface="Segoe UI Semilight" panose="020B0402040204020203" pitchFamily="34" charset="0"/>
              </a:rPr>
              <a:t>Bot </a:t>
            </a:r>
            <a:br>
              <a:rPr lang="en-US" sz="1122" dirty="0">
                <a:cs typeface="Segoe UI Semilight" panose="020B0402040204020203" pitchFamily="34" charset="0"/>
              </a:rPr>
            </a:br>
            <a:r>
              <a:rPr lang="en-US" sz="1122" dirty="0">
                <a:cs typeface="Segoe UI Semilight" panose="020B0402040204020203" pitchFamily="34" charset="0"/>
              </a:rPr>
              <a:t>Framework</a:t>
            </a:r>
          </a:p>
        </p:txBody>
      </p:sp>
      <p:sp>
        <p:nvSpPr>
          <p:cNvPr id="129" name="Rectangle 128"/>
          <p:cNvSpPr/>
          <p:nvPr/>
        </p:nvSpPr>
        <p:spPr>
          <a:xfrm>
            <a:off x="710367" y="2350141"/>
            <a:ext cx="1294130" cy="446397"/>
          </a:xfrm>
          <a:prstGeom prst="rect">
            <a:avLst/>
          </a:prstGeom>
        </p:spPr>
        <p:txBody>
          <a:bodyPr wrap="square">
            <a:spAutoFit/>
          </a:bodyPr>
          <a:lstStyle/>
          <a:p>
            <a:r>
              <a:rPr lang="en-US" sz="1122" dirty="0">
                <a:solidFill>
                  <a:schemeClr val="accent2">
                    <a:lumMod val="75000"/>
                  </a:schemeClr>
                </a:solidFill>
                <a:cs typeface="Segoe UI Semilight" panose="020B0402040204020203" pitchFamily="34" charset="0"/>
              </a:rPr>
              <a:t>Cognitive Services</a:t>
            </a:r>
          </a:p>
        </p:txBody>
      </p:sp>
      <p:pic>
        <p:nvPicPr>
          <p:cNvPr id="43" name="Picture 4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22616" y="1308969"/>
            <a:ext cx="8863817" cy="3928048"/>
          </a:xfrm>
          <a:prstGeom prst="rect">
            <a:avLst/>
          </a:prstGeom>
        </p:spPr>
      </p:pic>
      <p:sp>
        <p:nvSpPr>
          <p:cNvPr id="52" name="Rectangle 51"/>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4" name="TextBox 53"/>
          <p:cNvSpPr txBox="1"/>
          <p:nvPr/>
        </p:nvSpPr>
        <p:spPr>
          <a:xfrm>
            <a:off x="1583539" y="5334540"/>
            <a:ext cx="10303916" cy="1600438"/>
          </a:xfrm>
          <a:prstGeom prst="rect">
            <a:avLst/>
          </a:prstGeom>
          <a:noFill/>
        </p:spPr>
        <p:txBody>
          <a:bodyPr wrap="square" lIns="182880" tIns="146304" rIns="182880" bIns="146304" rtlCol="0">
            <a:spAutoFit/>
          </a:bodyPr>
          <a:lstStyle/>
          <a:p>
            <a:pPr marL="177800" indent="-177800" defTabSz="914400">
              <a:lnSpc>
                <a:spcPct val="90000"/>
              </a:lnSpc>
              <a:spcAft>
                <a:spcPts val="600"/>
              </a:spcAft>
              <a:buClr>
                <a:schemeClr val="accent2"/>
              </a:buClr>
              <a:buFont typeface="Arial" panose="020B0604020202020204" pitchFamily="34" charset="0"/>
              <a:buChar char="•"/>
              <a:defRPr/>
            </a:pPr>
            <a:r>
              <a:rPr lang="en-US" sz="1200" kern="0" dirty="0">
                <a:solidFill>
                  <a:schemeClr val="bg1"/>
                </a:solidFill>
              </a:rPr>
              <a:t>Bot Connector Service:  A service to register your bot, configure channels and publish to the Bot Directory. Connect your bot(s) seamlessly to text/</a:t>
            </a:r>
            <a:r>
              <a:rPr lang="en-US" sz="1200" kern="0" dirty="0" err="1">
                <a:solidFill>
                  <a:schemeClr val="bg1"/>
                </a:solidFill>
              </a:rPr>
              <a:t>sms</a:t>
            </a:r>
            <a:r>
              <a:rPr lang="en-US" sz="1200" kern="0" dirty="0">
                <a:solidFill>
                  <a:schemeClr val="bg1"/>
                </a:solidFill>
              </a:rPr>
              <a:t>, Office 365 mail, Skype, Slack, Twitter, and more. </a:t>
            </a:r>
          </a:p>
          <a:p>
            <a:pPr marL="177800" indent="-177800" defTabSz="914400">
              <a:lnSpc>
                <a:spcPct val="90000"/>
              </a:lnSpc>
              <a:spcAft>
                <a:spcPts val="600"/>
              </a:spcAft>
              <a:buClr>
                <a:schemeClr val="accent2"/>
              </a:buClr>
              <a:buFont typeface="Arial" panose="020B0604020202020204" pitchFamily="34" charset="0"/>
              <a:buChar char="•"/>
              <a:defRPr/>
            </a:pPr>
            <a:r>
              <a:rPr lang="en-US" sz="1200" kern="0" dirty="0">
                <a:solidFill>
                  <a:schemeClr val="bg1"/>
                </a:solidFill>
              </a:rPr>
              <a:t>Bot Builder SDK: An open source SDK hosted on GitHub. Everything you need to build great dialogs within your Node.js or C# bot</a:t>
            </a:r>
          </a:p>
          <a:p>
            <a:pPr marL="177800" indent="-177800" defTabSz="914400">
              <a:lnSpc>
                <a:spcPct val="90000"/>
              </a:lnSpc>
              <a:spcAft>
                <a:spcPts val="600"/>
              </a:spcAft>
              <a:buClr>
                <a:schemeClr val="accent2"/>
              </a:buClr>
              <a:buFont typeface="Arial" panose="020B0604020202020204" pitchFamily="34" charset="0"/>
              <a:buChar char="•"/>
              <a:defRPr/>
            </a:pPr>
            <a:r>
              <a:rPr lang="en-US" sz="1200" kern="0" dirty="0">
                <a:solidFill>
                  <a:schemeClr val="bg1"/>
                </a:solidFill>
              </a:rPr>
              <a:t>Bot Directory: A public directory of bots registered through the Bot Connector Service. Discover, try, and add bots to conversation experiences</a:t>
            </a:r>
          </a:p>
          <a:p>
            <a:pPr marL="177800" lvl="0" indent="-177800" defTabSz="914400">
              <a:lnSpc>
                <a:spcPct val="90000"/>
              </a:lnSpc>
              <a:spcAft>
                <a:spcPts val="600"/>
              </a:spcAft>
              <a:buClr>
                <a:schemeClr val="accent2"/>
              </a:buClr>
              <a:buFont typeface="Arial" panose="020B0604020202020204" pitchFamily="34" charset="0"/>
              <a:buChar char="•"/>
              <a:defRPr/>
            </a:pPr>
            <a:endParaRPr lang="en-US" sz="1200" kern="0" dirty="0">
              <a:solidFill>
                <a:schemeClr val="bg1"/>
              </a:solidFill>
            </a:endParaRPr>
          </a:p>
          <a:p>
            <a:pPr marL="177800" indent="-177800" defTabSz="914400">
              <a:lnSpc>
                <a:spcPct val="90000"/>
              </a:lnSpc>
              <a:spcAft>
                <a:spcPts val="600"/>
              </a:spcAft>
              <a:buClr>
                <a:schemeClr val="accent2"/>
              </a:buClr>
              <a:buFont typeface="Arial" panose="020B0604020202020204" pitchFamily="34" charset="0"/>
              <a:buChar char="•"/>
              <a:defRPr/>
            </a:pPr>
            <a:endParaRPr lang="en-US" sz="1200" kern="0" dirty="0">
              <a:solidFill>
                <a:schemeClr val="bg1"/>
              </a:solidFill>
            </a:endParaRPr>
          </a:p>
        </p:txBody>
      </p:sp>
    </p:spTree>
    <p:extLst>
      <p:ext uri="{BB962C8B-B14F-4D97-AF65-F5344CB8AC3E}">
        <p14:creationId xmlns:p14="http://schemas.microsoft.com/office/powerpoint/2010/main" val="234420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defTabSz="914400">
              <a:spcBef>
                <a:spcPts val="0"/>
              </a:spcBef>
              <a:spcAft>
                <a:spcPts val="600"/>
              </a:spcAft>
              <a:defRPr/>
            </a:pPr>
            <a:r>
              <a:rPr lang="en-US" kern="0" spc="0" dirty="0">
                <a:ln>
                  <a:noFill/>
                </a:ln>
                <a:solidFill>
                  <a:schemeClr val="bg1"/>
                </a:solidFill>
              </a:rPr>
              <a:t>Get things done in more helpful, proactive and natural ways </a:t>
            </a:r>
          </a:p>
        </p:txBody>
      </p:sp>
      <p:grpSp>
        <p:nvGrpSpPr>
          <p:cNvPr id="3" name="Group 2"/>
          <p:cNvGrpSpPr/>
          <p:nvPr/>
        </p:nvGrpSpPr>
        <p:grpSpPr>
          <a:xfrm>
            <a:off x="1948668" y="1478464"/>
            <a:ext cx="10254870" cy="3702449"/>
            <a:chOff x="457200" y="1798776"/>
            <a:chExt cx="11283950" cy="4602024"/>
          </a:xfrm>
        </p:grpSpPr>
        <p:sp>
          <p:nvSpPr>
            <p:cNvPr id="143" name="Rectangle 142"/>
            <p:cNvSpPr/>
            <p:nvPr/>
          </p:nvSpPr>
          <p:spPr bwMode="auto">
            <a:xfrm>
              <a:off x="457200" y="1798776"/>
              <a:ext cx="3688781"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0" tIns="45720" rIns="0" bIns="45720" numCol="1" spcCol="0" rtlCol="0" fromWordArt="0" anchor="b"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0072C6"/>
                  </a:solidFill>
                  <a:effectLst/>
                  <a:uLnTx/>
                  <a:uFillTx/>
                  <a:latin typeface="+mj-lt"/>
                  <a:ea typeface="Segoe UI" pitchFamily="34" charset="0"/>
                  <a:cs typeface="Segoe UI" pitchFamily="34" charset="0"/>
                </a:rPr>
                <a:t>Here are some of the things I can help you with…</a:t>
              </a:r>
            </a:p>
          </p:txBody>
        </p:sp>
        <p:sp>
          <p:nvSpPr>
            <p:cNvPr id="144" name="Rectangle 143"/>
            <p:cNvSpPr/>
            <p:nvPr/>
          </p:nvSpPr>
          <p:spPr bwMode="auto">
            <a:xfrm>
              <a:off x="4254785" y="1798776"/>
              <a:ext cx="3688781"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0072C6"/>
                  </a:solidFill>
                  <a:effectLst/>
                  <a:uLnTx/>
                  <a:uFillTx/>
                  <a:latin typeface="+mj-lt"/>
                  <a:ea typeface="Segoe UI" pitchFamily="34" charset="0"/>
                  <a:cs typeface="Segoe UI" pitchFamily="34" charset="0"/>
                </a:rPr>
                <a:t>Cortana for</a:t>
              </a:r>
              <a:br>
                <a:rPr kumimoji="0" lang="en-US" sz="1800" b="0" i="0" u="none" strike="noStrike" kern="0" cap="none" spc="0" normalizeH="0" baseline="0" noProof="0" dirty="0">
                  <a:ln>
                    <a:noFill/>
                  </a:ln>
                  <a:solidFill>
                    <a:srgbClr val="0072C6"/>
                  </a:solidFill>
                  <a:effectLst/>
                  <a:uLnTx/>
                  <a:uFillTx/>
                  <a:latin typeface="+mj-lt"/>
                  <a:ea typeface="Segoe UI" pitchFamily="34" charset="0"/>
                  <a:cs typeface="Segoe UI" pitchFamily="34" charset="0"/>
                </a:rPr>
              </a:br>
              <a:r>
                <a:rPr kumimoji="0" lang="en-US" sz="1800" b="0" i="0" u="none" strike="noStrike" kern="0" cap="none" spc="0" normalizeH="0" baseline="0" noProof="0" dirty="0">
                  <a:ln>
                    <a:noFill/>
                  </a:ln>
                  <a:solidFill>
                    <a:srgbClr val="0072C6"/>
                  </a:solidFill>
                  <a:effectLst/>
                  <a:uLnTx/>
                  <a:uFillTx/>
                  <a:latin typeface="+mj-lt"/>
                  <a:ea typeface="Segoe UI" pitchFamily="34" charset="0"/>
                  <a:cs typeface="Segoe UI" pitchFamily="34" charset="0"/>
                </a:rPr>
                <a:t>Consumers (today)</a:t>
              </a:r>
            </a:p>
          </p:txBody>
        </p:sp>
        <p:sp>
          <p:nvSpPr>
            <p:cNvPr id="145" name="Rectangle 144"/>
            <p:cNvSpPr/>
            <p:nvPr/>
          </p:nvSpPr>
          <p:spPr bwMode="auto">
            <a:xfrm>
              <a:off x="8052369" y="1798776"/>
              <a:ext cx="3688781"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0072C6"/>
                  </a:solidFill>
                  <a:effectLst/>
                  <a:uLnTx/>
                  <a:uFillTx/>
                  <a:latin typeface="+mj-lt"/>
                  <a:ea typeface="Segoe UI" pitchFamily="34" charset="0"/>
                  <a:cs typeface="Segoe UI" pitchFamily="34" charset="0"/>
                </a:rPr>
                <a:t>With the Cortana</a:t>
              </a:r>
              <a:br>
                <a:rPr kumimoji="0" lang="en-US" sz="1800" b="0" i="0" u="none" strike="noStrike" kern="0" cap="none" spc="0" normalizeH="0" baseline="0" noProof="0" dirty="0">
                  <a:ln>
                    <a:noFill/>
                  </a:ln>
                  <a:solidFill>
                    <a:srgbClr val="0072C6"/>
                  </a:solidFill>
                  <a:effectLst/>
                  <a:uLnTx/>
                  <a:uFillTx/>
                  <a:latin typeface="+mj-lt"/>
                  <a:ea typeface="Segoe UI" pitchFamily="34" charset="0"/>
                  <a:cs typeface="Segoe UI" pitchFamily="34" charset="0"/>
                </a:rPr>
              </a:br>
              <a:r>
                <a:rPr kumimoji="0" lang="en-US" sz="1800" b="0" i="0" u="none" strike="noStrike" kern="0" cap="none" spc="0" normalizeH="0" baseline="0" noProof="0" dirty="0">
                  <a:ln>
                    <a:noFill/>
                  </a:ln>
                  <a:solidFill>
                    <a:srgbClr val="0072C6"/>
                  </a:solidFill>
                  <a:effectLst/>
                  <a:uLnTx/>
                  <a:uFillTx/>
                  <a:latin typeface="+mj-lt"/>
                  <a:ea typeface="Segoe UI" pitchFamily="34" charset="0"/>
                  <a:cs typeface="Segoe UI" pitchFamily="34" charset="0"/>
                </a:rPr>
                <a:t>Intelligence Suite</a:t>
              </a:r>
            </a:p>
          </p:txBody>
        </p:sp>
        <p:pic>
          <p:nvPicPr>
            <p:cNvPr id="146" name="Picture 145"/>
            <p:cNvPicPr>
              <a:picLocks/>
            </p:cNvPicPr>
            <p:nvPr/>
          </p:nvPicPr>
          <p:blipFill rotWithShape="1">
            <a:blip r:embed="rId3" cstate="email">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a:ext>
              </a:extLst>
            </a:blip>
            <a:srcRect/>
            <a:stretch/>
          </p:blipFill>
          <p:spPr>
            <a:xfrm>
              <a:off x="457200" y="1913076"/>
              <a:ext cx="604318" cy="685800"/>
            </a:xfrm>
            <a:prstGeom prst="rect">
              <a:avLst/>
            </a:prstGeom>
          </p:spPr>
        </p:pic>
        <p:sp>
          <p:nvSpPr>
            <p:cNvPr id="147" name="Rectangle 146"/>
            <p:cNvSpPr/>
            <p:nvPr/>
          </p:nvSpPr>
          <p:spPr bwMode="auto">
            <a:xfrm>
              <a:off x="457200" y="2789376"/>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chemeClr val="bg1"/>
                  </a:solidFill>
                  <a:effectLst/>
                  <a:uLnTx/>
                  <a:uFillTx/>
                  <a:latin typeface="Segoe UI Semibold" panose="020B0702040204020203" pitchFamily="34" charset="0"/>
                  <a:ea typeface="Segoe UI" pitchFamily="34" charset="0"/>
                  <a:cs typeface="Segoe UI Semibold" panose="020B0702040204020203" pitchFamily="34" charset="0"/>
                </a:rPr>
                <a:t>Answers</a:t>
              </a:r>
            </a:p>
          </p:txBody>
        </p:sp>
        <p:sp>
          <p:nvSpPr>
            <p:cNvPr id="148" name="Rectangle 147"/>
            <p:cNvSpPr/>
            <p:nvPr/>
          </p:nvSpPr>
          <p:spPr bwMode="auto">
            <a:xfrm>
              <a:off x="4254785" y="2789376"/>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pitchFamily="34" charset="0"/>
                </a:rPr>
                <a:t>Public reference data answers – “</a:t>
              </a:r>
              <a:r>
                <a:rPr kumimoji="0" lang="en-US" sz="1200" b="0" i="1" u="none" strike="noStrike" kern="0" cap="none" spc="0" normalizeH="0" baseline="0" noProof="0" dirty="0">
                  <a:ln>
                    <a:noFill/>
                  </a:ln>
                  <a:solidFill>
                    <a:schemeClr val="bg1"/>
                  </a:solidFill>
                  <a:effectLst/>
                  <a:uLnTx/>
                  <a:uFillTx/>
                  <a:ea typeface="Segoe UI" pitchFamily="34" charset="0"/>
                  <a:cs typeface="Segoe UI" pitchFamily="34" charset="0"/>
                </a:rPr>
                <a:t>How far is it from Los Angeles to San Francisco?”</a:t>
              </a:r>
            </a:p>
          </p:txBody>
        </p:sp>
        <p:sp>
          <p:nvSpPr>
            <p:cNvPr id="149" name="Rectangle 148"/>
            <p:cNvSpPr/>
            <p:nvPr/>
          </p:nvSpPr>
          <p:spPr bwMode="auto">
            <a:xfrm>
              <a:off x="8052369" y="2789376"/>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pitchFamily="34" charset="0"/>
                </a:rPr>
                <a:t>Answers from organizational data in Power BI</a:t>
              </a:r>
            </a:p>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1" u="none" strike="noStrike" kern="0" cap="none" spc="0" normalizeH="0" baseline="0" noProof="0" dirty="0">
                  <a:ln>
                    <a:noFill/>
                  </a:ln>
                  <a:solidFill>
                    <a:schemeClr val="bg1"/>
                  </a:solidFill>
                  <a:effectLst/>
                  <a:uLnTx/>
                  <a:uFillTx/>
                  <a:ea typeface="Segoe UI" pitchFamily="34" charset="0"/>
                  <a:cs typeface="Segoe UI" pitchFamily="34" charset="0"/>
                </a:rPr>
                <a:t>“What were our biggest deals that closed </a:t>
              </a:r>
              <a:br>
                <a:rPr kumimoji="0" lang="en-US" sz="1200" b="0" i="1" u="none" strike="noStrike" kern="0" cap="none" spc="0" normalizeH="0" baseline="0" noProof="0" dirty="0">
                  <a:ln>
                    <a:noFill/>
                  </a:ln>
                  <a:solidFill>
                    <a:schemeClr val="bg1"/>
                  </a:solidFill>
                  <a:effectLst/>
                  <a:uLnTx/>
                  <a:uFillTx/>
                  <a:ea typeface="Segoe UI" pitchFamily="34" charset="0"/>
                  <a:cs typeface="Segoe UI" pitchFamily="34" charset="0"/>
                </a:rPr>
              </a:br>
              <a:r>
                <a:rPr kumimoji="0" lang="en-US" sz="1200" b="0" i="1" u="none" strike="noStrike" kern="0" cap="none" spc="0" normalizeH="0" baseline="0" noProof="0" dirty="0">
                  <a:ln>
                    <a:noFill/>
                  </a:ln>
                  <a:solidFill>
                    <a:schemeClr val="bg1"/>
                  </a:solidFill>
                  <a:effectLst/>
                  <a:uLnTx/>
                  <a:uFillTx/>
                  <a:ea typeface="Segoe UI" pitchFamily="34" charset="0"/>
                  <a:cs typeface="Segoe UI" pitchFamily="34" charset="0"/>
                </a:rPr>
                <a:t>last month?”</a:t>
              </a:r>
            </a:p>
          </p:txBody>
        </p:sp>
        <p:sp>
          <p:nvSpPr>
            <p:cNvPr id="150" name="Rectangle 149"/>
            <p:cNvSpPr/>
            <p:nvPr/>
          </p:nvSpPr>
          <p:spPr bwMode="auto">
            <a:xfrm>
              <a:off x="457200" y="3720624"/>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chemeClr val="bg1"/>
                  </a:solidFill>
                  <a:effectLst/>
                  <a:uLnTx/>
                  <a:uFillTx/>
                  <a:latin typeface="Segoe UI Semibold" panose="020B0702040204020203" pitchFamily="34" charset="0"/>
                  <a:ea typeface="Segoe UI" pitchFamily="34" charset="0"/>
                  <a:cs typeface="Segoe UI Semibold" panose="020B0702040204020203" pitchFamily="34" charset="0"/>
                </a:rPr>
                <a:t>Predictions</a:t>
              </a:r>
            </a:p>
          </p:txBody>
        </p:sp>
        <p:sp>
          <p:nvSpPr>
            <p:cNvPr id="151" name="Rectangle 150"/>
            <p:cNvSpPr/>
            <p:nvPr/>
          </p:nvSpPr>
          <p:spPr bwMode="auto">
            <a:xfrm>
              <a:off x="4254785" y="3720624"/>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pitchFamily="34" charset="0"/>
                </a:rPr>
                <a:t>Event predictions – </a:t>
              </a:r>
              <a:r>
                <a:rPr kumimoji="0" lang="en-US" sz="1200" b="0" i="1" u="none" strike="noStrike" kern="0" cap="none" spc="0" normalizeH="0" baseline="0" noProof="0" dirty="0">
                  <a:ln>
                    <a:noFill/>
                  </a:ln>
                  <a:solidFill>
                    <a:schemeClr val="bg1"/>
                  </a:solidFill>
                  <a:effectLst/>
                  <a:uLnTx/>
                  <a:uFillTx/>
                  <a:ea typeface="Segoe UI" pitchFamily="34" charset="0"/>
                  <a:cs typeface="Segoe UI" pitchFamily="34" charset="0"/>
                </a:rPr>
                <a:t>“Who do you think is going to win the Germany Italy game?”</a:t>
              </a:r>
            </a:p>
          </p:txBody>
        </p:sp>
        <p:sp>
          <p:nvSpPr>
            <p:cNvPr id="152" name="Rectangle 151"/>
            <p:cNvSpPr/>
            <p:nvPr/>
          </p:nvSpPr>
          <p:spPr bwMode="auto">
            <a:xfrm>
              <a:off x="8052369" y="3720624"/>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pitchFamily="34" charset="0"/>
                </a:rPr>
                <a:t>Integration with prediction solutions</a:t>
              </a:r>
            </a:p>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1" u="none" strike="noStrike" kern="0" cap="none" spc="0" normalizeH="0" baseline="0" noProof="0" dirty="0">
                  <a:ln>
                    <a:noFill/>
                  </a:ln>
                  <a:solidFill>
                    <a:schemeClr val="bg1"/>
                  </a:solidFill>
                  <a:effectLst/>
                  <a:uLnTx/>
                  <a:uFillTx/>
                  <a:ea typeface="Segoe UI" pitchFamily="34" charset="0"/>
                  <a:cs typeface="Segoe UI" pitchFamily="34" charset="0"/>
                </a:rPr>
                <a:t>“Which of our customers are most likely to churn in the next quarter?”</a:t>
              </a:r>
            </a:p>
          </p:txBody>
        </p:sp>
        <p:sp>
          <p:nvSpPr>
            <p:cNvPr id="153" name="Rectangle 152"/>
            <p:cNvSpPr/>
            <p:nvPr/>
          </p:nvSpPr>
          <p:spPr bwMode="auto">
            <a:xfrm>
              <a:off x="457200" y="4651871"/>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chemeClr val="bg1"/>
                  </a:solidFill>
                  <a:effectLst/>
                  <a:uLnTx/>
                  <a:uFillTx/>
                  <a:latin typeface="Segoe UI Semibold" panose="020B0702040204020203" pitchFamily="34" charset="0"/>
                  <a:ea typeface="Segoe UI" pitchFamily="34" charset="0"/>
                  <a:cs typeface="Segoe UI Semibold" panose="020B0702040204020203" pitchFamily="34" charset="0"/>
                </a:rPr>
                <a:t>Monitoring &amp; Alerts</a:t>
              </a:r>
            </a:p>
          </p:txBody>
        </p:sp>
        <p:sp>
          <p:nvSpPr>
            <p:cNvPr id="154" name="Rectangle 153"/>
            <p:cNvSpPr/>
            <p:nvPr/>
          </p:nvSpPr>
          <p:spPr bwMode="auto">
            <a:xfrm>
              <a:off x="4254785" y="4651871"/>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pitchFamily="34" charset="0"/>
                </a:rPr>
                <a:t>Flight status, traffic conditions, changes in weather, …</a:t>
              </a:r>
            </a:p>
          </p:txBody>
        </p:sp>
        <p:sp>
          <p:nvSpPr>
            <p:cNvPr id="155" name="Rectangle 154"/>
            <p:cNvSpPr/>
            <p:nvPr/>
          </p:nvSpPr>
          <p:spPr bwMode="auto">
            <a:xfrm>
              <a:off x="8052369" y="4651871"/>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pitchFamily="34" charset="0"/>
                </a:rPr>
                <a:t>Monitoring KPIs and preemptive alerting</a:t>
              </a:r>
            </a:p>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1" u="none" strike="noStrike" kern="0" cap="none" spc="0" normalizeH="0" baseline="0" noProof="0" dirty="0">
                  <a:ln>
                    <a:noFill/>
                  </a:ln>
                  <a:solidFill>
                    <a:schemeClr val="bg1"/>
                  </a:solidFill>
                  <a:effectLst/>
                  <a:uLnTx/>
                  <a:uFillTx/>
                  <a:ea typeface="Segoe UI" pitchFamily="34" charset="0"/>
                  <a:cs typeface="Segoe UI" pitchFamily="34" charset="0"/>
                </a:rPr>
                <a:t>“Alert me if this customer ever has a 90% chance of churn in the next 30 days”</a:t>
              </a:r>
            </a:p>
          </p:txBody>
        </p:sp>
        <p:sp>
          <p:nvSpPr>
            <p:cNvPr id="156" name="Rectangle 155"/>
            <p:cNvSpPr/>
            <p:nvPr/>
          </p:nvSpPr>
          <p:spPr bwMode="auto">
            <a:xfrm>
              <a:off x="457200" y="5583119"/>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chemeClr val="bg1"/>
                  </a:solidFill>
                  <a:effectLst/>
                  <a:uLnTx/>
                  <a:uFillTx/>
                  <a:latin typeface="Segoe UI Semibold" panose="020B0702040204020203" pitchFamily="34" charset="0"/>
                  <a:ea typeface="Segoe UI" pitchFamily="34" charset="0"/>
                  <a:cs typeface="Segoe UI Semibold" panose="020B0702040204020203" pitchFamily="34" charset="0"/>
                </a:rPr>
                <a:t>Task Completion</a:t>
              </a:r>
            </a:p>
          </p:txBody>
        </p:sp>
        <p:sp>
          <p:nvSpPr>
            <p:cNvPr id="157" name="Rectangle 156"/>
            <p:cNvSpPr/>
            <p:nvPr/>
          </p:nvSpPr>
          <p:spPr bwMode="auto">
            <a:xfrm>
              <a:off x="4254785" y="5583119"/>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pitchFamily="34" charset="0"/>
                </a:rPr>
                <a:t>Setting reminders, scheduling meetings, getting directions, …</a:t>
              </a:r>
            </a:p>
          </p:txBody>
        </p:sp>
        <p:sp>
          <p:nvSpPr>
            <p:cNvPr id="158" name="Rectangle 157"/>
            <p:cNvSpPr/>
            <p:nvPr/>
          </p:nvSpPr>
          <p:spPr bwMode="auto">
            <a:xfrm>
              <a:off x="8052369" y="5583119"/>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pitchFamily="34" charset="0"/>
                </a:rPr>
                <a:t>Line of business process integration</a:t>
              </a:r>
            </a:p>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1" u="none" strike="noStrike" kern="0" cap="none" spc="0" normalizeH="0" baseline="0" noProof="0" dirty="0">
                  <a:ln>
                    <a:noFill/>
                  </a:ln>
                  <a:solidFill>
                    <a:schemeClr val="bg1"/>
                  </a:solidFill>
                  <a:effectLst/>
                  <a:uLnTx/>
                  <a:uFillTx/>
                  <a:ea typeface="Segoe UI" pitchFamily="34" charset="0"/>
                  <a:cs typeface="Segoe UI" pitchFamily="34" charset="0"/>
                </a:rPr>
                <a:t>Assistance with expense report submission </a:t>
              </a:r>
              <a:br>
                <a:rPr kumimoji="0" lang="en-US" sz="1200" b="0" i="1" u="none" strike="noStrike" kern="0" cap="none" spc="0" normalizeH="0" baseline="0" noProof="0" dirty="0">
                  <a:ln>
                    <a:noFill/>
                  </a:ln>
                  <a:solidFill>
                    <a:schemeClr val="bg1"/>
                  </a:solidFill>
                  <a:effectLst/>
                  <a:uLnTx/>
                  <a:uFillTx/>
                  <a:ea typeface="Segoe UI" pitchFamily="34" charset="0"/>
                  <a:cs typeface="Segoe UI" pitchFamily="34" charset="0"/>
                </a:rPr>
              </a:br>
              <a:r>
                <a:rPr kumimoji="0" lang="en-US" sz="1200" b="0" i="1" u="none" strike="noStrike" kern="0" cap="none" spc="0" normalizeH="0" baseline="0" noProof="0" dirty="0">
                  <a:ln>
                    <a:noFill/>
                  </a:ln>
                  <a:solidFill>
                    <a:schemeClr val="bg1"/>
                  </a:solidFill>
                  <a:effectLst/>
                  <a:uLnTx/>
                  <a:uFillTx/>
                  <a:ea typeface="Segoe UI" pitchFamily="34" charset="0"/>
                  <a:cs typeface="Segoe UI" pitchFamily="34" charset="0"/>
                </a:rPr>
                <a:t>on-time within policy</a:t>
              </a:r>
            </a:p>
          </p:txBody>
        </p:sp>
        <p:cxnSp>
          <p:nvCxnSpPr>
            <p:cNvPr id="159" name="Straight Connector 158"/>
            <p:cNvCxnSpPr/>
            <p:nvPr/>
          </p:nvCxnSpPr>
          <p:spPr>
            <a:xfrm>
              <a:off x="457200" y="2713176"/>
              <a:ext cx="3688781" cy="0"/>
            </a:xfrm>
            <a:prstGeom prst="line">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nvCxnSpPr>
          <p:spPr>
            <a:xfrm>
              <a:off x="4254785" y="2713176"/>
              <a:ext cx="3688781" cy="0"/>
            </a:xfrm>
            <a:prstGeom prst="line">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nvCxnSpPr>
          <p:spPr>
            <a:xfrm>
              <a:off x="8052369" y="2713176"/>
              <a:ext cx="3688781" cy="0"/>
            </a:xfrm>
            <a:prstGeom prst="line">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4" name="Group 123"/>
          <p:cNvGrpSpPr/>
          <p:nvPr/>
        </p:nvGrpSpPr>
        <p:grpSpPr>
          <a:xfrm>
            <a:off x="1492961" y="2364104"/>
            <a:ext cx="200749" cy="211051"/>
            <a:chOff x="4106551" y="3401141"/>
            <a:chExt cx="254631" cy="267699"/>
          </a:xfrm>
        </p:grpSpPr>
        <p:sp>
          <p:nvSpPr>
            <p:cNvPr id="125" name="Rectangle 124"/>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6" name="Rectangle 125"/>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7" name="Oval 126"/>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8" name="Oval 127"/>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9" name="Rectangle 128"/>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0" name="Rectangle 129"/>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1" name="Oval 130"/>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2" name="Oval 131"/>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3" name="Rectangle 132"/>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4" name="Rectangle 133"/>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5" name="Oval 134"/>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6" name="Oval 135"/>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7" name="Rectangle 136"/>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8" name="Rectangle 137"/>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9" name="Oval 138"/>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0" name="Oval 139"/>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41" name="Rectangle 140"/>
          <p:cNvSpPr/>
          <p:nvPr/>
        </p:nvSpPr>
        <p:spPr bwMode="auto">
          <a:xfrm>
            <a:off x="2866" y="1649551"/>
            <a:ext cx="1771946" cy="2368251"/>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telligence</a:t>
            </a:r>
          </a:p>
        </p:txBody>
      </p:sp>
      <p:grpSp>
        <p:nvGrpSpPr>
          <p:cNvPr id="142" name="Group 141"/>
          <p:cNvGrpSpPr/>
          <p:nvPr/>
        </p:nvGrpSpPr>
        <p:grpSpPr>
          <a:xfrm>
            <a:off x="306506" y="3465756"/>
            <a:ext cx="322045" cy="322045"/>
            <a:chOff x="3236065" y="-9960864"/>
            <a:chExt cx="5641200" cy="5641200"/>
          </a:xfrm>
          <a:solidFill>
            <a:schemeClr val="tx1"/>
          </a:solidFill>
        </p:grpSpPr>
        <p:sp>
          <p:nvSpPr>
            <p:cNvPr id="162" name="Freeform 161"/>
            <p:cNvSpPr/>
            <p:nvPr/>
          </p:nvSpPr>
          <p:spPr bwMode="auto">
            <a:xfrm>
              <a:off x="3236065" y="-9960864"/>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sp>
          <p:nvSpPr>
            <p:cNvPr id="163" name="Freeform 162"/>
            <p:cNvSpPr/>
            <p:nvPr/>
          </p:nvSpPr>
          <p:spPr bwMode="auto">
            <a:xfrm>
              <a:off x="3615094" y="-9598196"/>
              <a:ext cx="4883195" cy="4883195"/>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grpSp>
      <p:grpSp>
        <p:nvGrpSpPr>
          <p:cNvPr id="164" name="Group 163"/>
          <p:cNvGrpSpPr/>
          <p:nvPr/>
        </p:nvGrpSpPr>
        <p:grpSpPr>
          <a:xfrm>
            <a:off x="249560" y="2430107"/>
            <a:ext cx="435940" cy="279533"/>
            <a:chOff x="7822816" y="2717080"/>
            <a:chExt cx="427431" cy="274077"/>
          </a:xfrm>
          <a:solidFill>
            <a:schemeClr val="accent2">
              <a:lumMod val="75000"/>
            </a:schemeClr>
          </a:solidFill>
        </p:grpSpPr>
        <p:sp>
          <p:nvSpPr>
            <p:cNvPr id="165" name="Freeform 164"/>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grpFill/>
            <a:ln>
              <a:noFill/>
            </a:ln>
          </p:spPr>
          <p:txBody>
            <a:bodyPr vert="horz" wrap="square" lIns="93260" tIns="46630" rIns="93260" bIns="46630" numCol="1" anchor="t" anchorCtr="0" compatLnSpc="1">
              <a:prstTxWarp prst="textNoShape">
                <a:avLst/>
              </a:prstTxWarp>
              <a:noAutofit/>
            </a:bodyPr>
            <a:lstStyle/>
            <a:p>
              <a:endParaRPr lang="en-US" sz="1836"/>
            </a:p>
          </p:txBody>
        </p:sp>
        <p:sp>
          <p:nvSpPr>
            <p:cNvPr id="166"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sz="1836"/>
            </a:p>
          </p:txBody>
        </p:sp>
      </p:grpSp>
      <p:sp>
        <p:nvSpPr>
          <p:cNvPr id="167" name="Freeform 166"/>
          <p:cNvSpPr/>
          <p:nvPr/>
        </p:nvSpPr>
        <p:spPr bwMode="auto">
          <a:xfrm>
            <a:off x="277134" y="2972822"/>
            <a:ext cx="380791" cy="258848"/>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168" name="Rectangle 167"/>
          <p:cNvSpPr/>
          <p:nvPr/>
        </p:nvSpPr>
        <p:spPr>
          <a:xfrm>
            <a:off x="710367" y="3494326"/>
            <a:ext cx="1294130" cy="270285"/>
          </a:xfrm>
          <a:prstGeom prst="rect">
            <a:avLst/>
          </a:prstGeom>
        </p:spPr>
        <p:txBody>
          <a:bodyPr wrap="square">
            <a:spAutoFit/>
          </a:bodyPr>
          <a:lstStyle/>
          <a:p>
            <a:r>
              <a:rPr lang="en-US" sz="1122" dirty="0">
                <a:cs typeface="Segoe UI Semilight" panose="020B0402040204020203" pitchFamily="34" charset="0"/>
              </a:rPr>
              <a:t>Cortana</a:t>
            </a:r>
          </a:p>
        </p:txBody>
      </p:sp>
      <p:sp>
        <p:nvSpPr>
          <p:cNvPr id="169" name="Rectangle 168"/>
          <p:cNvSpPr/>
          <p:nvPr/>
        </p:nvSpPr>
        <p:spPr>
          <a:xfrm>
            <a:off x="710367" y="2883292"/>
            <a:ext cx="1294130" cy="446397"/>
          </a:xfrm>
          <a:prstGeom prst="rect">
            <a:avLst/>
          </a:prstGeom>
        </p:spPr>
        <p:txBody>
          <a:bodyPr wrap="square" anchor="ctr">
            <a:spAutoFit/>
          </a:bodyPr>
          <a:lstStyle/>
          <a:p>
            <a:r>
              <a:rPr lang="en-US" sz="1122" dirty="0">
                <a:solidFill>
                  <a:schemeClr val="accent2">
                    <a:lumMod val="75000"/>
                  </a:schemeClr>
                </a:solidFill>
                <a:cs typeface="Segoe UI Semilight" panose="020B0402040204020203" pitchFamily="34" charset="0"/>
              </a:rPr>
              <a:t>Bot </a:t>
            </a:r>
            <a:br>
              <a:rPr lang="en-US" sz="1122" dirty="0">
                <a:solidFill>
                  <a:schemeClr val="accent2">
                    <a:lumMod val="75000"/>
                  </a:schemeClr>
                </a:solidFill>
                <a:cs typeface="Segoe UI Semilight" panose="020B0402040204020203" pitchFamily="34" charset="0"/>
              </a:rPr>
            </a:br>
            <a:r>
              <a:rPr lang="en-US" sz="1122" dirty="0">
                <a:solidFill>
                  <a:schemeClr val="accent2">
                    <a:lumMod val="75000"/>
                  </a:schemeClr>
                </a:solidFill>
                <a:cs typeface="Segoe UI Semilight" panose="020B0402040204020203" pitchFamily="34" charset="0"/>
              </a:rPr>
              <a:t>Framework</a:t>
            </a:r>
          </a:p>
        </p:txBody>
      </p:sp>
      <p:sp>
        <p:nvSpPr>
          <p:cNvPr id="170" name="Rectangle 169"/>
          <p:cNvSpPr/>
          <p:nvPr/>
        </p:nvSpPr>
        <p:spPr>
          <a:xfrm>
            <a:off x="710367" y="2350141"/>
            <a:ext cx="1294130" cy="446397"/>
          </a:xfrm>
          <a:prstGeom prst="rect">
            <a:avLst/>
          </a:prstGeom>
        </p:spPr>
        <p:txBody>
          <a:bodyPr wrap="square">
            <a:spAutoFit/>
          </a:bodyPr>
          <a:lstStyle/>
          <a:p>
            <a:r>
              <a:rPr lang="en-US" sz="1122" dirty="0">
                <a:solidFill>
                  <a:schemeClr val="accent2">
                    <a:lumMod val="75000"/>
                  </a:schemeClr>
                </a:solidFill>
                <a:cs typeface="Segoe UI Semilight" panose="020B0402040204020203" pitchFamily="34" charset="0"/>
              </a:rPr>
              <a:t>Cognitive Services</a:t>
            </a:r>
          </a:p>
        </p:txBody>
      </p:sp>
    </p:spTree>
    <p:extLst>
      <p:ext uri="{BB962C8B-B14F-4D97-AF65-F5344CB8AC3E}">
        <p14:creationId xmlns:p14="http://schemas.microsoft.com/office/powerpoint/2010/main" val="3705620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spcAft>
                <a:spcPts val="600"/>
              </a:spcAft>
            </a:pPr>
            <a:r>
              <a:rPr lang="en-US" dirty="0">
                <a:solidFill>
                  <a:schemeClr val="bg1"/>
                </a:solidFill>
              </a:rPr>
              <a:t>Dashboards &amp; Visualizations</a:t>
            </a:r>
          </a:p>
        </p:txBody>
      </p:sp>
      <p:grpSp>
        <p:nvGrpSpPr>
          <p:cNvPr id="5" name="Group 4"/>
          <p:cNvGrpSpPr/>
          <p:nvPr/>
        </p:nvGrpSpPr>
        <p:grpSpPr>
          <a:xfrm>
            <a:off x="8005941" y="4267723"/>
            <a:ext cx="1675820" cy="1293008"/>
            <a:chOff x="8005941" y="4267723"/>
            <a:chExt cx="1675820" cy="1293008"/>
          </a:xfrm>
        </p:grpSpPr>
        <p:sp>
          <p:nvSpPr>
            <p:cNvPr id="358" name="Rectangle 357"/>
            <p:cNvSpPr/>
            <p:nvPr/>
          </p:nvSpPr>
          <p:spPr bwMode="auto">
            <a:xfrm>
              <a:off x="8005941" y="4267723"/>
              <a:ext cx="1660373" cy="1293008"/>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Dashboards &amp; Visualizations</a:t>
              </a:r>
            </a:p>
          </p:txBody>
        </p:sp>
        <p:sp>
          <p:nvSpPr>
            <p:cNvPr id="444" name="Rectangle 443"/>
            <p:cNvSpPr/>
            <p:nvPr/>
          </p:nvSpPr>
          <p:spPr>
            <a:xfrm>
              <a:off x="8467066" y="5017712"/>
              <a:ext cx="1214695" cy="253266"/>
            </a:xfrm>
            <a:prstGeom prst="rect">
              <a:avLst/>
            </a:prstGeom>
          </p:spPr>
          <p:txBody>
            <a:bodyPr wrap="square">
              <a:spAutoFit/>
            </a:bodyPr>
            <a:lstStyle/>
            <a:p>
              <a:r>
                <a:rPr lang="en-US" sz="1122" dirty="0">
                  <a:cs typeface="Segoe UI Semilight" panose="020B0402040204020203" pitchFamily="34" charset="0"/>
                </a:rPr>
                <a:t>Power BI</a:t>
              </a:r>
            </a:p>
          </p:txBody>
        </p:sp>
        <p:grpSp>
          <p:nvGrpSpPr>
            <p:cNvPr id="445" name="Group 444"/>
            <p:cNvGrpSpPr/>
            <p:nvPr/>
          </p:nvGrpSpPr>
          <p:grpSpPr>
            <a:xfrm>
              <a:off x="8125156" y="5043491"/>
              <a:ext cx="310508" cy="198461"/>
              <a:chOff x="7884058" y="5368509"/>
              <a:chExt cx="324905" cy="207663"/>
            </a:xfrm>
          </p:grpSpPr>
          <p:sp>
            <p:nvSpPr>
              <p:cNvPr id="446"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447"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448"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449"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450"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grpSp>
      </p:grpSp>
      <p:grpSp>
        <p:nvGrpSpPr>
          <p:cNvPr id="4" name="Group 3"/>
          <p:cNvGrpSpPr/>
          <p:nvPr/>
        </p:nvGrpSpPr>
        <p:grpSpPr>
          <a:xfrm>
            <a:off x="823336" y="1212849"/>
            <a:ext cx="9036740" cy="4964405"/>
            <a:chOff x="823336" y="1212849"/>
            <a:chExt cx="9036740" cy="4964405"/>
          </a:xfrm>
        </p:grpSpPr>
        <p:sp>
          <p:nvSpPr>
            <p:cNvPr id="357" name="Rectangle 356"/>
            <p:cNvSpPr/>
            <p:nvPr/>
          </p:nvSpPr>
          <p:spPr bwMode="auto">
            <a:xfrm>
              <a:off x="8005941" y="1212849"/>
              <a:ext cx="1660373" cy="2928083"/>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telligence</a:t>
              </a:r>
            </a:p>
          </p:txBody>
        </p:sp>
        <p:sp>
          <p:nvSpPr>
            <p:cNvPr id="359" name="Rectangle 358"/>
            <p:cNvSpPr/>
            <p:nvPr/>
          </p:nvSpPr>
          <p:spPr bwMode="auto">
            <a:xfrm>
              <a:off x="2679611" y="1212849"/>
              <a:ext cx="1660373" cy="434788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360" name="Rectangle 359"/>
            <p:cNvSpPr/>
            <p:nvPr/>
          </p:nvSpPr>
          <p:spPr bwMode="auto">
            <a:xfrm>
              <a:off x="4455055" y="1212850"/>
              <a:ext cx="1660373" cy="434788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Big Data Stores</a:t>
              </a:r>
            </a:p>
          </p:txBody>
        </p:sp>
        <p:sp>
          <p:nvSpPr>
            <p:cNvPr id="361" name="Rectangle 360"/>
            <p:cNvSpPr/>
            <p:nvPr/>
          </p:nvSpPr>
          <p:spPr bwMode="auto">
            <a:xfrm>
              <a:off x="6230498" y="1212850"/>
              <a:ext cx="1660373" cy="434788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Machine Learning and Analytics</a:t>
              </a:r>
            </a:p>
          </p:txBody>
        </p:sp>
        <p:sp>
          <p:nvSpPr>
            <p:cNvPr id="362" name="Rectangle 361"/>
            <p:cNvSpPr/>
            <p:nvPr/>
          </p:nvSpPr>
          <p:spPr>
            <a:xfrm>
              <a:off x="8647433" y="3601914"/>
              <a:ext cx="1212643" cy="253266"/>
            </a:xfrm>
            <a:prstGeom prst="rect">
              <a:avLst/>
            </a:prstGeom>
          </p:spPr>
          <p:txBody>
            <a:bodyPr wrap="square">
              <a:spAutoFit/>
            </a:bodyPr>
            <a:lstStyle/>
            <a:p>
              <a:r>
                <a:rPr lang="en-US" sz="1122" dirty="0">
                  <a:cs typeface="Segoe UI Semilight" panose="020B0402040204020203" pitchFamily="34" charset="0"/>
                </a:rPr>
                <a:t>Cortana</a:t>
              </a:r>
            </a:p>
          </p:txBody>
        </p:sp>
        <p:grpSp>
          <p:nvGrpSpPr>
            <p:cNvPr id="363" name="Group 362"/>
            <p:cNvGrpSpPr/>
            <p:nvPr/>
          </p:nvGrpSpPr>
          <p:grpSpPr>
            <a:xfrm>
              <a:off x="8269003" y="3574270"/>
              <a:ext cx="301767" cy="301767"/>
              <a:chOff x="3236100" y="589298"/>
              <a:chExt cx="5641200" cy="5641200"/>
            </a:xfrm>
          </p:grpSpPr>
          <p:sp>
            <p:nvSpPr>
              <p:cNvPr id="364" name="Freeform 363"/>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sp>
            <p:nvSpPr>
              <p:cNvPr id="365" name="Freeform 364"/>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grpSp>
        <p:sp>
          <p:nvSpPr>
            <p:cNvPr id="366" name="Rectangle 365"/>
            <p:cNvSpPr/>
            <p:nvPr/>
          </p:nvSpPr>
          <p:spPr>
            <a:xfrm>
              <a:off x="3208175" y="3601914"/>
              <a:ext cx="1214695" cy="265009"/>
            </a:xfrm>
            <a:prstGeom prst="rect">
              <a:avLst/>
            </a:prstGeom>
          </p:spPr>
          <p:txBody>
            <a:bodyPr wrap="square">
              <a:spAutoFit/>
            </a:bodyPr>
            <a:lstStyle/>
            <a:p>
              <a:r>
                <a:rPr lang="en-US" sz="1122" dirty="0">
                  <a:cs typeface="Segoe UI Semilight" panose="020B0402040204020203" pitchFamily="34" charset="0"/>
                </a:rPr>
                <a:t>Event Hubs</a:t>
              </a:r>
              <a:endParaRPr lang="en-US" sz="1122" dirty="0"/>
            </a:p>
          </p:txBody>
        </p:sp>
        <p:sp>
          <p:nvSpPr>
            <p:cNvPr id="367" name="Rectangle 366"/>
            <p:cNvSpPr/>
            <p:nvPr/>
          </p:nvSpPr>
          <p:spPr>
            <a:xfrm>
              <a:off x="6831635" y="3440138"/>
              <a:ext cx="1212643" cy="583314"/>
            </a:xfrm>
            <a:prstGeom prst="rect">
              <a:avLst/>
            </a:prstGeom>
          </p:spPr>
          <p:txBody>
            <a:bodyPr wrap="square">
              <a:spAutoFit/>
            </a:bodyPr>
            <a:lstStyle/>
            <a:p>
              <a:r>
                <a:rPr lang="en-US" sz="1122" dirty="0">
                  <a:cs typeface="Segoe UI Semilight" panose="020B0402040204020203" pitchFamily="34" charset="0"/>
                </a:rPr>
                <a:t>HDInsight </a:t>
              </a:r>
            </a:p>
            <a:p>
              <a:r>
                <a:rPr lang="en-US" sz="1122" dirty="0">
                  <a:cs typeface="Segoe UI Semilight" panose="020B0402040204020203" pitchFamily="34" charset="0"/>
                </a:rPr>
                <a:t>(Hadoop and Spark)</a:t>
              </a:r>
            </a:p>
          </p:txBody>
        </p:sp>
        <p:sp>
          <p:nvSpPr>
            <p:cNvPr id="368" name="Rectangle 367"/>
            <p:cNvSpPr/>
            <p:nvPr/>
          </p:nvSpPr>
          <p:spPr>
            <a:xfrm>
              <a:off x="6831635" y="4394523"/>
              <a:ext cx="866839" cy="410125"/>
            </a:xfrm>
            <a:prstGeom prst="rect">
              <a:avLst/>
            </a:prstGeom>
          </p:spPr>
          <p:txBody>
            <a:bodyPr wrap="square">
              <a:spAutoFit/>
            </a:bodyPr>
            <a:lstStyle/>
            <a:p>
              <a:r>
                <a:rPr lang="en-US" sz="1122" dirty="0">
                  <a:cs typeface="Segoe UI Semilight" panose="020B0402040204020203" pitchFamily="34" charset="0"/>
                </a:rPr>
                <a:t>Stream Analytics</a:t>
              </a:r>
            </a:p>
          </p:txBody>
        </p:sp>
        <p:sp>
          <p:nvSpPr>
            <p:cNvPr id="369" name="Rectangle 368"/>
            <p:cNvSpPr/>
            <p:nvPr/>
          </p:nvSpPr>
          <p:spPr>
            <a:xfrm>
              <a:off x="2169343" y="5843791"/>
              <a:ext cx="892227" cy="306913"/>
            </a:xfrm>
            <a:prstGeom prst="rect">
              <a:avLst/>
            </a:prstGeom>
          </p:spPr>
          <p:txBody>
            <a:bodyPr wrap="none" lIns="0" tIns="0" rIns="0" bIns="0" anchor="ctr">
              <a:noAutofit/>
            </a:bodyPr>
            <a:lstStyle/>
            <a:p>
              <a:pPr>
                <a:lnSpc>
                  <a:spcPct val="90000"/>
                </a:lnSpc>
              </a:pPr>
              <a:r>
                <a:rPr lang="en-US" sz="2448" dirty="0">
                  <a:solidFill>
                    <a:schemeClr val="bg2"/>
                  </a:solidFill>
                  <a:latin typeface="+mj-lt"/>
                </a:rPr>
                <a:t>Data</a:t>
              </a:r>
            </a:p>
          </p:txBody>
        </p:sp>
        <p:sp>
          <p:nvSpPr>
            <p:cNvPr id="370" name="Rectangle 369"/>
            <p:cNvSpPr/>
            <p:nvPr/>
          </p:nvSpPr>
          <p:spPr>
            <a:xfrm>
              <a:off x="5471961" y="5817241"/>
              <a:ext cx="1420136" cy="360013"/>
            </a:xfrm>
            <a:prstGeom prst="rect">
              <a:avLst/>
            </a:prstGeom>
          </p:spPr>
          <p:txBody>
            <a:bodyPr wrap="none" lIns="0" tIns="0" rIns="0" bIns="0" anchor="ctr">
              <a:spAutoFit/>
            </a:bodyPr>
            <a:lstStyle/>
            <a:p>
              <a:pPr algn="ctr" defTabSz="739440">
                <a:spcBef>
                  <a:spcPct val="0"/>
                </a:spcBef>
                <a:spcAft>
                  <a:spcPct val="35000"/>
                </a:spcAft>
              </a:pPr>
              <a:r>
                <a:rPr lang="en-US" sz="2448" dirty="0">
                  <a:solidFill>
                    <a:schemeClr val="bg2"/>
                  </a:solidFill>
                  <a:latin typeface="+mj-lt"/>
                </a:rPr>
                <a:t>Intelligence</a:t>
              </a:r>
              <a:endParaRPr lang="en-US" sz="1836" b="1" spc="-31" dirty="0">
                <a:solidFill>
                  <a:schemeClr val="bg2"/>
                </a:solidFill>
                <a:latin typeface="Segoe UI Semilight" panose="020B0402040204020203" pitchFamily="34" charset="0"/>
                <a:cs typeface="Segoe UI Semilight" panose="020B0402040204020203" pitchFamily="34" charset="0"/>
              </a:endParaRPr>
            </a:p>
          </p:txBody>
        </p:sp>
        <p:cxnSp>
          <p:nvCxnSpPr>
            <p:cNvPr id="371" name="Straight Connector 370"/>
            <p:cNvCxnSpPr/>
            <p:nvPr/>
          </p:nvCxnSpPr>
          <p:spPr>
            <a:xfrm>
              <a:off x="3506929" y="5997833"/>
              <a:ext cx="1296574" cy="0"/>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72" name="Group 371"/>
            <p:cNvGrpSpPr/>
            <p:nvPr/>
          </p:nvGrpSpPr>
          <p:grpSpPr>
            <a:xfrm rot="13500000">
              <a:off x="4602109" y="5911816"/>
              <a:ext cx="173455" cy="170863"/>
              <a:chOff x="402446" y="5872915"/>
              <a:chExt cx="292608" cy="288235"/>
            </a:xfrm>
            <a:solidFill>
              <a:schemeClr val="tx1">
                <a:lumMod val="85000"/>
              </a:schemeClr>
            </a:solidFill>
          </p:grpSpPr>
          <p:cxnSp>
            <p:nvCxnSpPr>
              <p:cNvPr id="373" name="Straight Connector 372"/>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4" name="Straight Connector 373"/>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80" name="Freeform 379"/>
            <p:cNvSpPr/>
            <p:nvPr/>
          </p:nvSpPr>
          <p:spPr bwMode="auto">
            <a:xfrm>
              <a:off x="2476641" y="1221590"/>
              <a:ext cx="118369" cy="4360661"/>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36"/>
            </a:p>
          </p:txBody>
        </p:sp>
        <p:sp>
          <p:nvSpPr>
            <p:cNvPr id="407" name="Rectangle 406"/>
            <p:cNvSpPr/>
            <p:nvPr/>
          </p:nvSpPr>
          <p:spPr>
            <a:xfrm>
              <a:off x="8647433" y="2739520"/>
              <a:ext cx="1212643" cy="418289"/>
            </a:xfrm>
            <a:prstGeom prst="rect">
              <a:avLst/>
            </a:prstGeom>
          </p:spPr>
          <p:txBody>
            <a:bodyPr wrap="square" anchor="ctr">
              <a:spAutoFit/>
            </a:bodyPr>
            <a:lstStyle/>
            <a:p>
              <a:r>
                <a:rPr lang="en-US" sz="1122" dirty="0">
                  <a:cs typeface="Segoe UI Semilight" panose="020B0402040204020203" pitchFamily="34" charset="0"/>
                </a:rPr>
                <a:t>Bot </a:t>
              </a:r>
              <a:br>
                <a:rPr lang="en-US" sz="1122" dirty="0">
                  <a:cs typeface="Segoe UI Semilight" panose="020B0402040204020203" pitchFamily="34" charset="0"/>
                </a:rPr>
              </a:br>
              <a:r>
                <a:rPr lang="en-US" sz="1122" dirty="0">
                  <a:cs typeface="Segoe UI Semilight" panose="020B0402040204020203" pitchFamily="34" charset="0"/>
                </a:rPr>
                <a:t>Framework</a:t>
              </a:r>
            </a:p>
          </p:txBody>
        </p:sp>
        <p:sp>
          <p:nvSpPr>
            <p:cNvPr id="408" name="Rectangle 407"/>
            <p:cNvSpPr/>
            <p:nvPr/>
          </p:nvSpPr>
          <p:spPr>
            <a:xfrm>
              <a:off x="4944592" y="2742767"/>
              <a:ext cx="1214695" cy="418289"/>
            </a:xfrm>
            <a:prstGeom prst="rect">
              <a:avLst/>
            </a:prstGeom>
          </p:spPr>
          <p:txBody>
            <a:bodyPr wrap="square">
              <a:spAutoFit/>
            </a:bodyPr>
            <a:lstStyle/>
            <a:p>
              <a:r>
                <a:rPr lang="en-US" sz="1122" dirty="0">
                  <a:cs typeface="Segoe UI Semilight" panose="020B0402040204020203" pitchFamily="34" charset="0"/>
                </a:rPr>
                <a:t>SQL Data </a:t>
              </a:r>
            </a:p>
            <a:p>
              <a:r>
                <a:rPr lang="en-US" sz="1122" dirty="0">
                  <a:cs typeface="Segoe UI Semilight" panose="020B0402040204020203" pitchFamily="34" charset="0"/>
                </a:rPr>
                <a:t>Warehouse</a:t>
              </a:r>
            </a:p>
          </p:txBody>
        </p:sp>
        <p:sp>
          <p:nvSpPr>
            <p:cNvPr id="409" name="Rectangle 408"/>
            <p:cNvSpPr/>
            <p:nvPr/>
          </p:nvSpPr>
          <p:spPr>
            <a:xfrm>
              <a:off x="3208175" y="2843937"/>
              <a:ext cx="1214695" cy="253266"/>
            </a:xfrm>
            <a:prstGeom prst="rect">
              <a:avLst/>
            </a:prstGeom>
          </p:spPr>
          <p:txBody>
            <a:bodyPr wrap="square">
              <a:spAutoFit/>
            </a:bodyPr>
            <a:lstStyle/>
            <a:p>
              <a:r>
                <a:rPr lang="en-US" sz="1122" dirty="0">
                  <a:cs typeface="Segoe UI Semilight" panose="020B0402040204020203" pitchFamily="34" charset="0"/>
                </a:rPr>
                <a:t>Data Catalog</a:t>
              </a:r>
            </a:p>
          </p:txBody>
        </p:sp>
        <p:grpSp>
          <p:nvGrpSpPr>
            <p:cNvPr id="410" name="Group 409"/>
            <p:cNvGrpSpPr/>
            <p:nvPr/>
          </p:nvGrpSpPr>
          <p:grpSpPr>
            <a:xfrm>
              <a:off x="2907222" y="2803374"/>
              <a:ext cx="262811" cy="279564"/>
              <a:chOff x="3232150" y="382588"/>
              <a:chExt cx="5727700" cy="6092825"/>
            </a:xfrm>
            <a:solidFill>
              <a:schemeClr val="tx1"/>
            </a:solidFill>
          </p:grpSpPr>
          <p:sp>
            <p:nvSpPr>
              <p:cNvPr id="411"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12"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13"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414" name="Rectangle 413"/>
            <p:cNvSpPr/>
            <p:nvPr/>
          </p:nvSpPr>
          <p:spPr>
            <a:xfrm>
              <a:off x="6831635" y="2742767"/>
              <a:ext cx="1212643" cy="418289"/>
            </a:xfrm>
            <a:prstGeom prst="rect">
              <a:avLst/>
            </a:prstGeom>
          </p:spPr>
          <p:txBody>
            <a:bodyPr wrap="square">
              <a:spAutoFit/>
            </a:bodyPr>
            <a:lstStyle/>
            <a:p>
              <a:r>
                <a:rPr lang="en-US" sz="1122" dirty="0">
                  <a:cs typeface="Segoe UI Semilight" panose="020B0402040204020203" pitchFamily="34" charset="0"/>
                </a:rPr>
                <a:t>Data Lake Analytics</a:t>
              </a:r>
            </a:p>
          </p:txBody>
        </p:sp>
        <p:grpSp>
          <p:nvGrpSpPr>
            <p:cNvPr id="415" name="Group 414"/>
            <p:cNvGrpSpPr/>
            <p:nvPr/>
          </p:nvGrpSpPr>
          <p:grpSpPr>
            <a:xfrm>
              <a:off x="6477230" y="2822135"/>
              <a:ext cx="210864" cy="275835"/>
              <a:chOff x="3473450" y="4579938"/>
              <a:chExt cx="1741488" cy="2278062"/>
            </a:xfrm>
            <a:solidFill>
              <a:schemeClr val="tx1"/>
            </a:solidFill>
          </p:grpSpPr>
          <p:sp>
            <p:nvSpPr>
              <p:cNvPr id="416"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17"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18"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419" name="Rectangle 418"/>
            <p:cNvSpPr/>
            <p:nvPr/>
          </p:nvSpPr>
          <p:spPr>
            <a:xfrm>
              <a:off x="3208175" y="2045424"/>
              <a:ext cx="1214695" cy="253266"/>
            </a:xfrm>
            <a:prstGeom prst="rect">
              <a:avLst/>
            </a:prstGeom>
          </p:spPr>
          <p:txBody>
            <a:bodyPr wrap="square">
              <a:spAutoFit/>
            </a:bodyPr>
            <a:lstStyle/>
            <a:p>
              <a:r>
                <a:rPr lang="en-US" sz="1122" dirty="0">
                  <a:cs typeface="Segoe UI Semilight" panose="020B0402040204020203" pitchFamily="34" charset="0"/>
                </a:rPr>
                <a:t>Data Factory </a:t>
              </a:r>
              <a:endParaRPr lang="en-US" sz="1122" dirty="0"/>
            </a:p>
          </p:txBody>
        </p:sp>
        <p:sp>
          <p:nvSpPr>
            <p:cNvPr id="420" name="Rectangle 419"/>
            <p:cNvSpPr/>
            <p:nvPr/>
          </p:nvSpPr>
          <p:spPr>
            <a:xfrm>
              <a:off x="6831635" y="1964537"/>
              <a:ext cx="1212643" cy="418289"/>
            </a:xfrm>
            <a:prstGeom prst="rect">
              <a:avLst/>
            </a:prstGeom>
          </p:spPr>
          <p:txBody>
            <a:bodyPr wrap="square">
              <a:spAutoFit/>
            </a:bodyPr>
            <a:lstStyle/>
            <a:p>
              <a:r>
                <a:rPr lang="en-US" sz="1122" dirty="0">
                  <a:cs typeface="Segoe UI Semilight" panose="020B0402040204020203" pitchFamily="34" charset="0"/>
                </a:rPr>
                <a:t>Machine Learning</a:t>
              </a:r>
            </a:p>
          </p:txBody>
        </p:sp>
        <p:sp>
          <p:nvSpPr>
            <p:cNvPr id="421" name="Rectangle 420"/>
            <p:cNvSpPr/>
            <p:nvPr/>
          </p:nvSpPr>
          <p:spPr>
            <a:xfrm>
              <a:off x="4931387" y="2045424"/>
              <a:ext cx="1214695" cy="253266"/>
            </a:xfrm>
            <a:prstGeom prst="rect">
              <a:avLst/>
            </a:prstGeom>
          </p:spPr>
          <p:txBody>
            <a:bodyPr wrap="square">
              <a:spAutoFit/>
            </a:bodyPr>
            <a:lstStyle/>
            <a:p>
              <a:r>
                <a:rPr lang="en-US" sz="1122" dirty="0">
                  <a:cs typeface="Segoe UI Semilight" panose="020B0402040204020203" pitchFamily="34" charset="0"/>
                </a:rPr>
                <a:t>Data Lake Store</a:t>
              </a:r>
            </a:p>
          </p:txBody>
        </p:sp>
        <p:grpSp>
          <p:nvGrpSpPr>
            <p:cNvPr id="422" name="Group 421"/>
            <p:cNvGrpSpPr/>
            <p:nvPr/>
          </p:nvGrpSpPr>
          <p:grpSpPr>
            <a:xfrm>
              <a:off x="4636526" y="2050402"/>
              <a:ext cx="240061" cy="240061"/>
              <a:chOff x="4068192" y="3363795"/>
              <a:chExt cx="324957" cy="324957"/>
            </a:xfrm>
          </p:grpSpPr>
          <p:sp>
            <p:nvSpPr>
              <p:cNvPr id="423" name="Rounded Rectangle 422"/>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4" name="Rectangle 423"/>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5" name="Rectangle 424"/>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6" name="Oval 425"/>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7" name="Oval 426"/>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8" name="Rectangle 427"/>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9" name="Rectangle 428"/>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0" name="Oval 429"/>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1" name="Oval 430"/>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2" name="Rectangle 431"/>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3" name="Rectangle 432"/>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4" name="Oval 433"/>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5" name="Oval 434"/>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6" name="Rectangle 435"/>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7" name="Rectangle 436"/>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8" name="Oval 437"/>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9" name="Oval 438"/>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40" name="Rectangle 439"/>
            <p:cNvSpPr/>
            <p:nvPr/>
          </p:nvSpPr>
          <p:spPr>
            <a:xfrm>
              <a:off x="8647433" y="1964537"/>
              <a:ext cx="1212643" cy="418289"/>
            </a:xfrm>
            <a:prstGeom prst="rect">
              <a:avLst/>
            </a:prstGeom>
          </p:spPr>
          <p:txBody>
            <a:bodyPr wrap="square">
              <a:spAutoFit/>
            </a:bodyPr>
            <a:lstStyle/>
            <a:p>
              <a:r>
                <a:rPr lang="en-US" sz="1122" dirty="0">
                  <a:cs typeface="Segoe UI Semilight" panose="020B0402040204020203" pitchFamily="34" charset="0"/>
                </a:rPr>
                <a:t>Cognitive Services</a:t>
              </a:r>
            </a:p>
          </p:txBody>
        </p:sp>
        <p:grpSp>
          <p:nvGrpSpPr>
            <p:cNvPr id="441" name="Group 440"/>
            <p:cNvGrpSpPr/>
            <p:nvPr/>
          </p:nvGrpSpPr>
          <p:grpSpPr>
            <a:xfrm>
              <a:off x="8215641" y="2039467"/>
              <a:ext cx="408490" cy="261932"/>
              <a:chOff x="7822816" y="2717080"/>
              <a:chExt cx="427431" cy="274077"/>
            </a:xfrm>
          </p:grpSpPr>
          <p:sp>
            <p:nvSpPr>
              <p:cNvPr id="442" name="Freeform 441"/>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3260" tIns="46630" rIns="93260" bIns="46630" numCol="1" anchor="t" anchorCtr="0" compatLnSpc="1">
                <a:prstTxWarp prst="textNoShape">
                  <a:avLst/>
                </a:prstTxWarp>
                <a:noAutofit/>
              </a:bodyPr>
              <a:lstStyle/>
              <a:p>
                <a:endParaRPr lang="en-US" sz="1836"/>
              </a:p>
            </p:txBody>
          </p:sp>
          <p:sp>
            <p:nvSpPr>
              <p:cNvPr id="443"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grpSp>
        <p:sp>
          <p:nvSpPr>
            <p:cNvPr id="451" name="Freeform 450"/>
            <p:cNvSpPr/>
            <p:nvPr/>
          </p:nvSpPr>
          <p:spPr bwMode="auto">
            <a:xfrm>
              <a:off x="8241479" y="2823412"/>
              <a:ext cx="356814" cy="242549"/>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grpSp>
          <p:nvGrpSpPr>
            <p:cNvPr id="452" name="Group 451"/>
            <p:cNvGrpSpPr/>
            <p:nvPr/>
          </p:nvGrpSpPr>
          <p:grpSpPr>
            <a:xfrm>
              <a:off x="6416331" y="4396740"/>
              <a:ext cx="337028" cy="258901"/>
              <a:chOff x="1260022" y="5196402"/>
              <a:chExt cx="3273425" cy="2514600"/>
            </a:xfrm>
            <a:solidFill>
              <a:schemeClr val="tx1"/>
            </a:solidFill>
          </p:grpSpPr>
          <p:sp>
            <p:nvSpPr>
              <p:cNvPr id="453" name="Freeform 452"/>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454" name="Freeform 453"/>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455" name="Freeform 454"/>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456" name="Freeform 455"/>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grpSp>
        <p:sp>
          <p:nvSpPr>
            <p:cNvPr id="457" name="Freeform 456"/>
            <p:cNvSpPr>
              <a:spLocks/>
            </p:cNvSpPr>
            <p:nvPr/>
          </p:nvSpPr>
          <p:spPr bwMode="auto">
            <a:xfrm>
              <a:off x="6417588" y="3594543"/>
              <a:ext cx="350145" cy="264972"/>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3260" tIns="46630" rIns="93260" bIns="46630" numCol="1" anchor="t" anchorCtr="0" compatLnSpc="1">
              <a:prstTxWarp prst="textNoShape">
                <a:avLst/>
              </a:prstTxWarp>
            </a:bodyPr>
            <a:lstStyle/>
            <a:p>
              <a:endParaRPr lang="en-US" sz="1632" dirty="0"/>
            </a:p>
          </p:txBody>
        </p:sp>
        <p:sp>
          <p:nvSpPr>
            <p:cNvPr id="458" name="Freeform 457"/>
            <p:cNvSpPr/>
            <p:nvPr/>
          </p:nvSpPr>
          <p:spPr bwMode="auto">
            <a:xfrm>
              <a:off x="2903392" y="1986875"/>
              <a:ext cx="273767" cy="287691"/>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459" name="Freeform 458"/>
            <p:cNvSpPr/>
            <p:nvPr/>
          </p:nvSpPr>
          <p:spPr bwMode="auto">
            <a:xfrm>
              <a:off x="2922814" y="3606622"/>
              <a:ext cx="221312" cy="231596"/>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sp>
          <p:nvSpPr>
            <p:cNvPr id="460" name="Freeform 459"/>
            <p:cNvSpPr/>
            <p:nvPr/>
          </p:nvSpPr>
          <p:spPr bwMode="auto">
            <a:xfrm flipH="1">
              <a:off x="6458921" y="2039304"/>
              <a:ext cx="255409" cy="270286"/>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grpSp>
          <p:nvGrpSpPr>
            <p:cNvPr id="461" name="Group 460"/>
            <p:cNvGrpSpPr/>
            <p:nvPr/>
          </p:nvGrpSpPr>
          <p:grpSpPr>
            <a:xfrm>
              <a:off x="4637144" y="2803373"/>
              <a:ext cx="237255" cy="290582"/>
              <a:chOff x="-3084513" y="3390510"/>
              <a:chExt cx="2716213" cy="3363913"/>
            </a:xfrm>
            <a:solidFill>
              <a:schemeClr val="tx1"/>
            </a:solidFill>
          </p:grpSpPr>
          <p:sp>
            <p:nvSpPr>
              <p:cNvPr id="462"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63"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464" name="TextBox 463"/>
            <p:cNvSpPr txBox="1"/>
            <p:nvPr/>
          </p:nvSpPr>
          <p:spPr>
            <a:xfrm>
              <a:off x="1680530" y="1747940"/>
              <a:ext cx="495460" cy="302817"/>
            </a:xfrm>
            <a:prstGeom prst="rect">
              <a:avLst/>
            </a:prstGeom>
            <a:noFill/>
          </p:spPr>
          <p:txBody>
            <a:bodyPr wrap="square" lIns="0" tIns="0" rIns="0" bIns="0" rtlCol="0" anchor="ctr" anchorCtr="0">
              <a:spAutoFit/>
            </a:bodyPr>
            <a:lstStyle/>
            <a:p>
              <a:pPr defTabSz="932563">
                <a:spcAft>
                  <a:spcPts val="600"/>
                </a:spcAft>
              </a:pPr>
              <a:r>
                <a:rPr lang="en-US" sz="1050" dirty="0">
                  <a:solidFill>
                    <a:schemeClr val="bg2"/>
                  </a:solidFill>
                  <a:cs typeface="Segoe UI Semilight" panose="020B0402040204020203" pitchFamily="34" charset="0"/>
                </a:rPr>
                <a:t>Data Sources</a:t>
              </a:r>
            </a:p>
          </p:txBody>
        </p:sp>
        <p:sp>
          <p:nvSpPr>
            <p:cNvPr id="465" name="TextBox 464"/>
            <p:cNvSpPr txBox="1"/>
            <p:nvPr/>
          </p:nvSpPr>
          <p:spPr>
            <a:xfrm>
              <a:off x="1680530" y="3052915"/>
              <a:ext cx="495460" cy="151409"/>
            </a:xfrm>
            <a:prstGeom prst="rect">
              <a:avLst/>
            </a:prstGeom>
            <a:noFill/>
          </p:spPr>
          <p:txBody>
            <a:bodyPr wrap="square" lIns="0" tIns="0" rIns="0" bIns="0" rtlCol="0" anchor="ctr" anchorCtr="0">
              <a:spAutoFit/>
            </a:bodyPr>
            <a:lstStyle/>
            <a:p>
              <a:pPr defTabSz="932563">
                <a:spcBef>
                  <a:spcPct val="0"/>
                </a:spcBef>
                <a:spcAft>
                  <a:spcPts val="600"/>
                </a:spcAft>
              </a:pPr>
              <a:r>
                <a:rPr lang="en-US" sz="1050" dirty="0">
                  <a:solidFill>
                    <a:schemeClr val="bg2"/>
                  </a:solidFill>
                  <a:cs typeface="Segoe UI Semilight" panose="020B0402040204020203" pitchFamily="34" charset="0"/>
                </a:rPr>
                <a:t>Apps</a:t>
              </a:r>
            </a:p>
          </p:txBody>
        </p:sp>
        <p:sp>
          <p:nvSpPr>
            <p:cNvPr id="466" name="TextBox 465"/>
            <p:cNvSpPr txBox="1"/>
            <p:nvPr/>
          </p:nvSpPr>
          <p:spPr>
            <a:xfrm>
              <a:off x="1680530" y="4381349"/>
              <a:ext cx="689402" cy="302817"/>
            </a:xfrm>
            <a:prstGeom prst="rect">
              <a:avLst/>
            </a:prstGeom>
            <a:noFill/>
          </p:spPr>
          <p:txBody>
            <a:bodyPr wrap="square" lIns="0" tIns="0" rIns="0" bIns="0" rtlCol="0" anchor="ctr" anchorCtr="0">
              <a:spAutoFit/>
            </a:bodyPr>
            <a:lstStyle/>
            <a:p>
              <a:pPr defTabSz="932563">
                <a:spcBef>
                  <a:spcPct val="0"/>
                </a:spcBef>
                <a:spcAft>
                  <a:spcPts val="600"/>
                </a:spcAft>
              </a:pPr>
              <a:r>
                <a:rPr lang="en-US" sz="1050" dirty="0">
                  <a:solidFill>
                    <a:schemeClr val="bg2"/>
                  </a:solidFill>
                  <a:cs typeface="Segoe UI Semilight" panose="020B0402040204020203" pitchFamily="34" charset="0"/>
                </a:rPr>
                <a:t>Sensors </a:t>
              </a:r>
              <a:br>
                <a:rPr lang="en-US" sz="1050" dirty="0">
                  <a:solidFill>
                    <a:schemeClr val="bg2"/>
                  </a:solidFill>
                  <a:cs typeface="Segoe UI Semilight" panose="020B0402040204020203" pitchFamily="34" charset="0"/>
                </a:rPr>
              </a:br>
              <a:r>
                <a:rPr lang="en-US" sz="1050" dirty="0">
                  <a:solidFill>
                    <a:schemeClr val="bg2"/>
                  </a:solidFill>
                  <a:cs typeface="Segoe UI Semilight" panose="020B0402040204020203" pitchFamily="34" charset="0"/>
                </a:rPr>
                <a:t>and devices</a:t>
              </a:r>
            </a:p>
          </p:txBody>
        </p:sp>
        <p:sp>
          <p:nvSpPr>
            <p:cNvPr id="467" name="TextBox 466"/>
            <p:cNvSpPr txBox="1"/>
            <p:nvPr/>
          </p:nvSpPr>
          <p:spPr>
            <a:xfrm>
              <a:off x="1344921" y="5221341"/>
              <a:ext cx="444613" cy="259557"/>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r>
                <a:rPr lang="en-US" sz="1800" dirty="0">
                  <a:solidFill>
                    <a:schemeClr val="bg2"/>
                  </a:solidFill>
                  <a:latin typeface="+mn-lt"/>
                </a:rPr>
                <a:t>Data</a:t>
              </a:r>
            </a:p>
          </p:txBody>
        </p:sp>
        <p:cxnSp>
          <p:nvCxnSpPr>
            <p:cNvPr id="468" name="Straight Connector 467"/>
            <p:cNvCxnSpPr/>
            <p:nvPr/>
          </p:nvCxnSpPr>
          <p:spPr>
            <a:xfrm>
              <a:off x="2254104" y="3145210"/>
              <a:ext cx="289049" cy="0"/>
            </a:xfrm>
            <a:prstGeom prst="line">
              <a:avLst/>
            </a:prstGeom>
            <a:solidFill>
              <a:srgbClr val="0078D7"/>
            </a:solid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469" name="Picture 46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23336" y="2764378"/>
              <a:ext cx="727305" cy="850995"/>
            </a:xfrm>
            <a:prstGeom prst="rect">
              <a:avLst/>
            </a:prstGeom>
          </p:spPr>
        </p:pic>
        <p:pic>
          <p:nvPicPr>
            <p:cNvPr id="470" name="Picture 46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01500" y="4119978"/>
              <a:ext cx="705564" cy="825558"/>
            </a:xfrm>
            <a:prstGeom prst="rect">
              <a:avLst/>
            </a:prstGeom>
          </p:spPr>
        </p:pic>
        <p:pic>
          <p:nvPicPr>
            <p:cNvPr id="471" name="Picture 47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01636" y="1501621"/>
              <a:ext cx="642611" cy="751899"/>
            </a:xfrm>
            <a:prstGeom prst="rect">
              <a:avLst/>
            </a:prstGeom>
          </p:spPr>
        </p:pic>
      </p:grpSp>
    </p:spTree>
    <p:extLst>
      <p:ext uri="{BB962C8B-B14F-4D97-AF65-F5344CB8AC3E}">
        <p14:creationId xmlns:p14="http://schemas.microsoft.com/office/powerpoint/2010/main" val="1509691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2.08833E-6 -3.44076E-6 L -0.64348 -3.44076E-6 " pathEditMode="relative" rAng="0" ptsTypes="AA">
                                      <p:cBhvr>
                                        <p:cTn id="6" dur="2000" fill="hold"/>
                                        <p:tgtEl>
                                          <p:spTgt spid="4"/>
                                        </p:tgtEl>
                                        <p:attrNameLst>
                                          <p:attrName>ppt_x</p:attrName>
                                          <p:attrName>ppt_y</p:attrName>
                                        </p:attrNameLst>
                                      </p:cBhvr>
                                      <p:rCtr x="-32180" y="0"/>
                                    </p:animMotion>
                                  </p:childTnLst>
                                </p:cTn>
                              </p:par>
                              <p:par>
                                <p:cTn id="7" presetID="35" presetClass="path" presetSubtype="0" accel="50000" decel="50000" fill="hold" nodeType="withEffect">
                                  <p:stCondLst>
                                    <p:cond delay="0"/>
                                  </p:stCondLst>
                                  <p:childTnLst>
                                    <p:animMotion origin="layout" path="M -9.67577E-7 -1.20291E-6 L -0.64335 -1.20291E-6 " pathEditMode="relative" rAng="0" ptsTypes="AA">
                                      <p:cBhvr>
                                        <p:cTn id="8" dur="2000" fill="hold"/>
                                        <p:tgtEl>
                                          <p:spTgt spid="5"/>
                                        </p:tgtEl>
                                        <p:attrNameLst>
                                          <p:attrName>ppt_x</p:attrName>
                                          <p:attrName>ppt_y</p:attrName>
                                        </p:attrNameLst>
                                      </p:cBhvr>
                                      <p:rCtr x="-32167" y="0"/>
                                    </p:animMotion>
                                  </p:childTnLst>
                                </p:cTn>
                              </p:par>
                            </p:childTnLst>
                          </p:cTn>
                        </p:par>
                        <p:par>
                          <p:cTn id="9" fill="hold">
                            <p:stCondLst>
                              <p:cond delay="2000"/>
                            </p:stCondLst>
                            <p:childTnLst>
                              <p:par>
                                <p:cTn id="10" presetID="10" presetClass="exit" presetSubtype="0" fill="hold" nodeType="afterEffect">
                                  <p:stCondLst>
                                    <p:cond delay="0"/>
                                  </p:stCondLst>
                                  <p:childTnLst>
                                    <p:animEffect transition="out" filter="fade">
                                      <p:cBhvr>
                                        <p:cTn id="11" dur="500"/>
                                        <p:tgtEl>
                                          <p:spTgt spid="4"/>
                                        </p:tgtEl>
                                      </p:cBhvr>
                                    </p:animEffect>
                                    <p:set>
                                      <p:cBhvr>
                                        <p:cTn id="12"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53" name="Rectangle 152"/>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a:spcAft>
                <a:spcPts val="600"/>
              </a:spcAft>
            </a:pPr>
            <a:r>
              <a:rPr lang="en-US" dirty="0">
                <a:solidFill>
                  <a:schemeClr val="bg1"/>
                </a:solidFill>
              </a:rPr>
              <a:t>Keep a pulse on your business with live, interactive dashboards</a:t>
            </a:r>
          </a:p>
        </p:txBody>
      </p:sp>
      <p:sp>
        <p:nvSpPr>
          <p:cNvPr id="58" name="Freeform 57"/>
          <p:cNvSpPr/>
          <p:nvPr/>
        </p:nvSpPr>
        <p:spPr bwMode="auto">
          <a:xfrm>
            <a:off x="2245649" y="2583708"/>
            <a:ext cx="491836" cy="547834"/>
          </a:xfrm>
          <a:custGeom>
            <a:avLst/>
            <a:gdLst>
              <a:gd name="connsiteX0" fmla="*/ 840105 w 2099417"/>
              <a:gd name="connsiteY0" fmla="*/ 193365 h 2338449"/>
              <a:gd name="connsiteX1" fmla="*/ 840105 w 2099417"/>
              <a:gd name="connsiteY1" fmla="*/ 637578 h 2338449"/>
              <a:gd name="connsiteX2" fmla="*/ 706532 w 2099417"/>
              <a:gd name="connsiteY2" fmla="*/ 898901 h 2338449"/>
              <a:gd name="connsiteX3" fmla="*/ 170288 w 2099417"/>
              <a:gd name="connsiteY3" fmla="*/ 1975105 h 2338449"/>
              <a:gd name="connsiteX4" fmla="*/ 322383 w 2099417"/>
              <a:gd name="connsiteY4" fmla="*/ 2220285 h 2338449"/>
              <a:gd name="connsiteX5" fmla="*/ 1777036 w 2099417"/>
              <a:gd name="connsiteY5" fmla="*/ 2220285 h 2338449"/>
              <a:gd name="connsiteX6" fmla="*/ 1929130 w 2099417"/>
              <a:gd name="connsiteY6" fmla="*/ 1975105 h 2338449"/>
              <a:gd name="connsiteX7" fmla="*/ 1395989 w 2099417"/>
              <a:gd name="connsiteY7" fmla="*/ 905127 h 2338449"/>
              <a:gd name="connsiteX8" fmla="*/ 1261586 w 2099417"/>
              <a:gd name="connsiteY8" fmla="*/ 642306 h 2338449"/>
              <a:gd name="connsiteX9" fmla="*/ 1261586 w 2099417"/>
              <a:gd name="connsiteY9" fmla="*/ 193365 h 2338449"/>
              <a:gd name="connsiteX10" fmla="*/ 510540 w 2099417"/>
              <a:gd name="connsiteY10" fmla="*/ 0 h 2338449"/>
              <a:gd name="connsiteX11" fmla="*/ 1592580 w 2099417"/>
              <a:gd name="connsiteY11" fmla="*/ 0 h 2338449"/>
              <a:gd name="connsiteX12" fmla="*/ 1592580 w 2099417"/>
              <a:gd name="connsiteY12" fmla="*/ 193365 h 2338449"/>
              <a:gd name="connsiteX13" fmla="*/ 1463040 w 2099417"/>
              <a:gd name="connsiteY13" fmla="*/ 193365 h 2338449"/>
              <a:gd name="connsiteX14" fmla="*/ 1463040 w 2099417"/>
              <a:gd name="connsiteY14" fmla="*/ 620444 h 2338449"/>
              <a:gd name="connsiteX15" fmla="*/ 2099417 w 2099417"/>
              <a:gd name="connsiteY15" fmla="*/ 1991685 h 2338449"/>
              <a:gd name="connsiteX16" fmla="*/ 1901297 w 2099417"/>
              <a:gd name="connsiteY16" fmla="*/ 2334585 h 2338449"/>
              <a:gd name="connsiteX17" fmla="*/ 1463040 w 2099417"/>
              <a:gd name="connsiteY17" fmla="*/ 2338417 h 2338449"/>
              <a:gd name="connsiteX18" fmla="*/ 1463040 w 2099417"/>
              <a:gd name="connsiteY18" fmla="*/ 2338449 h 2338449"/>
              <a:gd name="connsiteX19" fmla="*/ 1459337 w 2099417"/>
              <a:gd name="connsiteY19" fmla="*/ 2338449 h 2338449"/>
              <a:gd name="connsiteX20" fmla="*/ 640080 w 2099417"/>
              <a:gd name="connsiteY20" fmla="*/ 2338449 h 2338449"/>
              <a:gd name="connsiteX21" fmla="*/ 198120 w 2099417"/>
              <a:gd name="connsiteY21" fmla="*/ 2334585 h 2338449"/>
              <a:gd name="connsiteX22" fmla="*/ 0 w 2099417"/>
              <a:gd name="connsiteY22" fmla="*/ 1991685 h 2338449"/>
              <a:gd name="connsiteX23" fmla="*/ 640080 w 2099417"/>
              <a:gd name="connsiteY23" fmla="*/ 612465 h 2338449"/>
              <a:gd name="connsiteX24" fmla="*/ 640080 w 2099417"/>
              <a:gd name="connsiteY24" fmla="*/ 193365 h 2338449"/>
              <a:gd name="connsiteX25" fmla="*/ 510540 w 2099417"/>
              <a:gd name="connsiteY25" fmla="*/ 193365 h 233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99417" h="2338449">
                <a:moveTo>
                  <a:pt x="840105" y="193365"/>
                </a:moveTo>
                <a:lnTo>
                  <a:pt x="840105" y="637578"/>
                </a:lnTo>
                <a:lnTo>
                  <a:pt x="706532" y="898901"/>
                </a:lnTo>
                <a:lnTo>
                  <a:pt x="170288" y="1975105"/>
                </a:lnTo>
                <a:lnTo>
                  <a:pt x="322383" y="2220285"/>
                </a:lnTo>
                <a:lnTo>
                  <a:pt x="1777036" y="2220285"/>
                </a:lnTo>
                <a:lnTo>
                  <a:pt x="1929130" y="1975105"/>
                </a:lnTo>
                <a:lnTo>
                  <a:pt x="1395989" y="905127"/>
                </a:lnTo>
                <a:lnTo>
                  <a:pt x="1261586" y="642306"/>
                </a:lnTo>
                <a:lnTo>
                  <a:pt x="1261586" y="193365"/>
                </a:lnTo>
                <a:close/>
                <a:moveTo>
                  <a:pt x="510540" y="0"/>
                </a:moveTo>
                <a:lnTo>
                  <a:pt x="1592580" y="0"/>
                </a:lnTo>
                <a:lnTo>
                  <a:pt x="1592580" y="193365"/>
                </a:lnTo>
                <a:lnTo>
                  <a:pt x="1463040" y="193365"/>
                </a:lnTo>
                <a:lnTo>
                  <a:pt x="1463040" y="620444"/>
                </a:lnTo>
                <a:lnTo>
                  <a:pt x="2099417" y="1991685"/>
                </a:lnTo>
                <a:lnTo>
                  <a:pt x="1901297" y="2334585"/>
                </a:lnTo>
                <a:lnTo>
                  <a:pt x="1463040" y="2338417"/>
                </a:lnTo>
                <a:lnTo>
                  <a:pt x="1463040" y="2338449"/>
                </a:lnTo>
                <a:lnTo>
                  <a:pt x="1459337" y="2338449"/>
                </a:lnTo>
                <a:lnTo>
                  <a:pt x="640080" y="2338449"/>
                </a:lnTo>
                <a:lnTo>
                  <a:pt x="198120" y="2334585"/>
                </a:lnTo>
                <a:lnTo>
                  <a:pt x="0" y="1991685"/>
                </a:lnTo>
                <a:lnTo>
                  <a:pt x="640080" y="612465"/>
                </a:lnTo>
                <a:lnTo>
                  <a:pt x="640080" y="193365"/>
                </a:lnTo>
                <a:lnTo>
                  <a:pt x="510540" y="193365"/>
                </a:lnTo>
                <a:close/>
              </a:path>
            </a:pathLst>
          </a:custGeom>
          <a:solidFill>
            <a:schemeClr val="accent2"/>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err="1">
              <a:solidFill>
                <a:schemeClr val="accent1"/>
              </a:solidFill>
              <a:ea typeface="Segoe UI" pitchFamily="34" charset="0"/>
              <a:cs typeface="Segoe UI" pitchFamily="34" charset="0"/>
            </a:endParaRPr>
          </a:p>
        </p:txBody>
      </p:sp>
      <p:grpSp>
        <p:nvGrpSpPr>
          <p:cNvPr id="60" name="Group 59"/>
          <p:cNvGrpSpPr/>
          <p:nvPr/>
        </p:nvGrpSpPr>
        <p:grpSpPr>
          <a:xfrm>
            <a:off x="2055223" y="3603997"/>
            <a:ext cx="649877" cy="454435"/>
            <a:chOff x="1182255" y="2216727"/>
            <a:chExt cx="5006109" cy="3500582"/>
          </a:xfrm>
          <a:solidFill>
            <a:srgbClr val="0078D7"/>
          </a:solidFill>
        </p:grpSpPr>
        <p:sp>
          <p:nvSpPr>
            <p:cNvPr id="63" name="Freeform 62"/>
            <p:cNvSpPr/>
            <p:nvPr/>
          </p:nvSpPr>
          <p:spPr bwMode="auto">
            <a:xfrm>
              <a:off x="1182255" y="2216727"/>
              <a:ext cx="5006109" cy="350058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grpSp>
          <p:nvGrpSpPr>
            <p:cNvPr id="64" name="Group 63"/>
            <p:cNvGrpSpPr/>
            <p:nvPr/>
          </p:nvGrpSpPr>
          <p:grpSpPr>
            <a:xfrm>
              <a:off x="1371600" y="2904099"/>
              <a:ext cx="4622800" cy="2628550"/>
              <a:chOff x="1371600" y="3272399"/>
              <a:chExt cx="4622800" cy="2628550"/>
            </a:xfrm>
            <a:grpFill/>
          </p:grpSpPr>
          <p:grpSp>
            <p:nvGrpSpPr>
              <p:cNvPr id="65" name="Group 64"/>
              <p:cNvGrpSpPr/>
              <p:nvPr/>
            </p:nvGrpSpPr>
            <p:grpSpPr>
              <a:xfrm>
                <a:off x="1371600" y="3272399"/>
                <a:ext cx="4622800" cy="609250"/>
                <a:chOff x="1403350" y="3272399"/>
                <a:chExt cx="4216400" cy="609250"/>
              </a:xfrm>
              <a:grpFill/>
            </p:grpSpPr>
            <p:sp>
              <p:nvSpPr>
                <p:cNvPr id="81" name="Freeform 80"/>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82" name="Freeform 81"/>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83" name="Freeform 82"/>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84" name="Freeform 83"/>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grpSp>
          <p:grpSp>
            <p:nvGrpSpPr>
              <p:cNvPr id="66" name="Group 65"/>
              <p:cNvGrpSpPr/>
              <p:nvPr/>
            </p:nvGrpSpPr>
            <p:grpSpPr>
              <a:xfrm>
                <a:off x="1371600" y="3945499"/>
                <a:ext cx="4622800" cy="609250"/>
                <a:chOff x="1403350" y="3272399"/>
                <a:chExt cx="4216400" cy="609250"/>
              </a:xfrm>
              <a:grpFill/>
            </p:grpSpPr>
            <p:sp>
              <p:nvSpPr>
                <p:cNvPr id="77" name="Freeform 76"/>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78" name="Freeform 77"/>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79" name="Freeform 78"/>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80" name="Freeform 79"/>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grpSp>
          <p:grpSp>
            <p:nvGrpSpPr>
              <p:cNvPr id="67" name="Group 66"/>
              <p:cNvGrpSpPr/>
              <p:nvPr/>
            </p:nvGrpSpPr>
            <p:grpSpPr>
              <a:xfrm>
                <a:off x="1371600" y="4618599"/>
                <a:ext cx="4622800" cy="609250"/>
                <a:chOff x="1403350" y="3272399"/>
                <a:chExt cx="4216400" cy="609250"/>
              </a:xfrm>
              <a:grpFill/>
            </p:grpSpPr>
            <p:sp>
              <p:nvSpPr>
                <p:cNvPr id="73" name="Freeform 72"/>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74" name="Freeform 73"/>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75" name="Freeform 74"/>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76" name="Freeform 75"/>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grpSp>
          <p:grpSp>
            <p:nvGrpSpPr>
              <p:cNvPr id="68" name="Group 67"/>
              <p:cNvGrpSpPr/>
              <p:nvPr/>
            </p:nvGrpSpPr>
            <p:grpSpPr>
              <a:xfrm>
                <a:off x="1371600" y="5291699"/>
                <a:ext cx="4622800" cy="609250"/>
                <a:chOff x="1403350" y="3272399"/>
                <a:chExt cx="4216400" cy="609250"/>
              </a:xfrm>
              <a:grpFill/>
            </p:grpSpPr>
            <p:sp>
              <p:nvSpPr>
                <p:cNvPr id="69" name="Freeform 68"/>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70" name="Freeform 69"/>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71" name="Freeform 70"/>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72" name="Freeform 71"/>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grpSp>
        </p:grpSp>
      </p:grpSp>
      <p:sp>
        <p:nvSpPr>
          <p:cNvPr id="100" name="Rectangle 99"/>
          <p:cNvSpPr/>
          <p:nvPr/>
        </p:nvSpPr>
        <p:spPr bwMode="auto">
          <a:xfrm>
            <a:off x="7051490" y="2490220"/>
            <a:ext cx="4438650" cy="2034820"/>
          </a:xfrm>
          <a:prstGeom prst="rect">
            <a:avLst/>
          </a:prstGeom>
          <a:noFill/>
          <a:ln w="3175">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cxnSp>
        <p:nvCxnSpPr>
          <p:cNvPr id="101" name="Straight Connector 100"/>
          <p:cNvCxnSpPr/>
          <p:nvPr/>
        </p:nvCxnSpPr>
        <p:spPr>
          <a:xfrm>
            <a:off x="2828925" y="3575224"/>
            <a:ext cx="2905125" cy="0"/>
          </a:xfrm>
          <a:prstGeom prst="line">
            <a:avLst/>
          </a:pr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02" name="Freeform 101"/>
          <p:cNvSpPr/>
          <p:nvPr/>
        </p:nvSpPr>
        <p:spPr bwMode="auto">
          <a:xfrm flipV="1">
            <a:off x="3385271" y="2586181"/>
            <a:ext cx="2348779" cy="734204"/>
          </a:xfrm>
          <a:custGeom>
            <a:avLst/>
            <a:gdLst>
              <a:gd name="connsiteX0" fmla="*/ 0 w 600364"/>
              <a:gd name="connsiteY0" fmla="*/ 886691 h 886691"/>
              <a:gd name="connsiteX1" fmla="*/ 0 w 600364"/>
              <a:gd name="connsiteY1" fmla="*/ 0 h 886691"/>
              <a:gd name="connsiteX2" fmla="*/ 600364 w 600364"/>
              <a:gd name="connsiteY2" fmla="*/ 0 h 886691"/>
            </a:gdLst>
            <a:ahLst/>
            <a:cxnLst>
              <a:cxn ang="0">
                <a:pos x="connsiteX0" y="connsiteY0"/>
              </a:cxn>
              <a:cxn ang="0">
                <a:pos x="connsiteX1" y="connsiteY1"/>
              </a:cxn>
              <a:cxn ang="0">
                <a:pos x="connsiteX2" y="connsiteY2"/>
              </a:cxn>
            </a:cxnLst>
            <a:rect l="l" t="t" r="r" b="b"/>
            <a:pathLst>
              <a:path w="600364" h="886691">
                <a:moveTo>
                  <a:pt x="0" y="886691"/>
                </a:moveTo>
                <a:lnTo>
                  <a:pt x="0" y="0"/>
                </a:lnTo>
                <a:lnTo>
                  <a:pt x="600364" y="0"/>
                </a:lnTo>
              </a:path>
            </a:pathLst>
          </a:cu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accent1"/>
              </a:solidFill>
            </a:endParaRPr>
          </a:p>
        </p:txBody>
      </p:sp>
      <p:grpSp>
        <p:nvGrpSpPr>
          <p:cNvPr id="104" name="Group 103"/>
          <p:cNvGrpSpPr/>
          <p:nvPr/>
        </p:nvGrpSpPr>
        <p:grpSpPr>
          <a:xfrm>
            <a:off x="5810782" y="3176588"/>
            <a:ext cx="1155058" cy="782666"/>
            <a:chOff x="4402138" y="2281238"/>
            <a:chExt cx="3387725" cy="2295525"/>
          </a:xfrm>
          <a:solidFill>
            <a:schemeClr val="accent2"/>
          </a:solidFill>
        </p:grpSpPr>
        <p:sp>
          <p:nvSpPr>
            <p:cNvPr id="105" name="Freeform 55"/>
            <p:cNvSpPr>
              <a:spLocks noEditPoints="1"/>
            </p:cNvSpPr>
            <p:nvPr/>
          </p:nvSpPr>
          <p:spPr bwMode="auto">
            <a:xfrm>
              <a:off x="4665663" y="2281238"/>
              <a:ext cx="2860675" cy="2024063"/>
            </a:xfrm>
            <a:custGeom>
              <a:avLst/>
              <a:gdLst>
                <a:gd name="T0" fmla="*/ 860 w 944"/>
                <a:gd name="T1" fmla="*/ 0 h 665"/>
                <a:gd name="T2" fmla="*/ 83 w 944"/>
                <a:gd name="T3" fmla="*/ 0 h 665"/>
                <a:gd name="T4" fmla="*/ 0 w 944"/>
                <a:gd name="T5" fmla="*/ 77 h 665"/>
                <a:gd name="T6" fmla="*/ 0 w 944"/>
                <a:gd name="T7" fmla="*/ 624 h 665"/>
                <a:gd name="T8" fmla="*/ 44 w 944"/>
                <a:gd name="T9" fmla="*/ 665 h 665"/>
                <a:gd name="T10" fmla="*/ 900 w 944"/>
                <a:gd name="T11" fmla="*/ 665 h 665"/>
                <a:gd name="T12" fmla="*/ 944 w 944"/>
                <a:gd name="T13" fmla="*/ 624 h 665"/>
                <a:gd name="T14" fmla="*/ 944 w 944"/>
                <a:gd name="T15" fmla="*/ 77 h 665"/>
                <a:gd name="T16" fmla="*/ 860 w 944"/>
                <a:gd name="T17" fmla="*/ 0 h 665"/>
                <a:gd name="T18" fmla="*/ 896 w 944"/>
                <a:gd name="T19" fmla="*/ 617 h 665"/>
                <a:gd name="T20" fmla="*/ 48 w 944"/>
                <a:gd name="T21" fmla="*/ 617 h 665"/>
                <a:gd name="T22" fmla="*/ 48 w 944"/>
                <a:gd name="T23" fmla="*/ 77 h 665"/>
                <a:gd name="T24" fmla="*/ 83 w 944"/>
                <a:gd name="T25" fmla="*/ 48 h 665"/>
                <a:gd name="T26" fmla="*/ 860 w 944"/>
                <a:gd name="T27" fmla="*/ 48 h 665"/>
                <a:gd name="T28" fmla="*/ 896 w 944"/>
                <a:gd name="T29" fmla="*/ 77 h 665"/>
                <a:gd name="T30" fmla="*/ 896 w 944"/>
                <a:gd name="T31" fmla="*/ 617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4" h="665">
                  <a:moveTo>
                    <a:pt x="860" y="0"/>
                  </a:moveTo>
                  <a:cubicBezTo>
                    <a:pt x="83" y="0"/>
                    <a:pt x="83" y="0"/>
                    <a:pt x="83" y="0"/>
                  </a:cubicBezTo>
                  <a:cubicBezTo>
                    <a:pt x="38" y="0"/>
                    <a:pt x="0" y="34"/>
                    <a:pt x="0" y="77"/>
                  </a:cubicBezTo>
                  <a:cubicBezTo>
                    <a:pt x="0" y="624"/>
                    <a:pt x="0" y="624"/>
                    <a:pt x="0" y="624"/>
                  </a:cubicBezTo>
                  <a:cubicBezTo>
                    <a:pt x="0" y="647"/>
                    <a:pt x="20" y="665"/>
                    <a:pt x="44" y="665"/>
                  </a:cubicBezTo>
                  <a:cubicBezTo>
                    <a:pt x="900" y="665"/>
                    <a:pt x="900" y="665"/>
                    <a:pt x="900" y="665"/>
                  </a:cubicBezTo>
                  <a:cubicBezTo>
                    <a:pt x="924" y="665"/>
                    <a:pt x="944" y="647"/>
                    <a:pt x="944" y="624"/>
                  </a:cubicBezTo>
                  <a:cubicBezTo>
                    <a:pt x="944" y="77"/>
                    <a:pt x="944" y="77"/>
                    <a:pt x="944" y="77"/>
                  </a:cubicBezTo>
                  <a:cubicBezTo>
                    <a:pt x="944" y="34"/>
                    <a:pt x="906" y="0"/>
                    <a:pt x="860" y="0"/>
                  </a:cubicBezTo>
                  <a:close/>
                  <a:moveTo>
                    <a:pt x="896" y="617"/>
                  </a:moveTo>
                  <a:cubicBezTo>
                    <a:pt x="48" y="617"/>
                    <a:pt x="48" y="617"/>
                    <a:pt x="48" y="617"/>
                  </a:cubicBezTo>
                  <a:cubicBezTo>
                    <a:pt x="48" y="77"/>
                    <a:pt x="48" y="77"/>
                    <a:pt x="48" y="77"/>
                  </a:cubicBezTo>
                  <a:cubicBezTo>
                    <a:pt x="48" y="61"/>
                    <a:pt x="64" y="48"/>
                    <a:pt x="83" y="48"/>
                  </a:cubicBezTo>
                  <a:cubicBezTo>
                    <a:pt x="860" y="48"/>
                    <a:pt x="860" y="48"/>
                    <a:pt x="860" y="48"/>
                  </a:cubicBezTo>
                  <a:cubicBezTo>
                    <a:pt x="880" y="48"/>
                    <a:pt x="896" y="61"/>
                    <a:pt x="896" y="77"/>
                  </a:cubicBezTo>
                  <a:lnTo>
                    <a:pt x="896" y="6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accent1"/>
                </a:solidFill>
              </a:endParaRPr>
            </a:p>
          </p:txBody>
        </p:sp>
        <p:sp>
          <p:nvSpPr>
            <p:cNvPr id="106" name="Freeform 56"/>
            <p:cNvSpPr>
              <a:spLocks/>
            </p:cNvSpPr>
            <p:nvPr/>
          </p:nvSpPr>
          <p:spPr bwMode="auto">
            <a:xfrm>
              <a:off x="5195888" y="3332163"/>
              <a:ext cx="146050" cy="711200"/>
            </a:xfrm>
            <a:custGeom>
              <a:avLst/>
              <a:gdLst>
                <a:gd name="T0" fmla="*/ 24 w 48"/>
                <a:gd name="T1" fmla="*/ 234 h 234"/>
                <a:gd name="T2" fmla="*/ 0 w 48"/>
                <a:gd name="T3" fmla="*/ 210 h 234"/>
                <a:gd name="T4" fmla="*/ 0 w 48"/>
                <a:gd name="T5" fmla="*/ 24 h 234"/>
                <a:gd name="T6" fmla="*/ 24 w 48"/>
                <a:gd name="T7" fmla="*/ 0 h 234"/>
                <a:gd name="T8" fmla="*/ 48 w 48"/>
                <a:gd name="T9" fmla="*/ 24 h 234"/>
                <a:gd name="T10" fmla="*/ 48 w 48"/>
                <a:gd name="T11" fmla="*/ 210 h 234"/>
                <a:gd name="T12" fmla="*/ 24 w 48"/>
                <a:gd name="T13" fmla="*/ 234 h 234"/>
              </a:gdLst>
              <a:ahLst/>
              <a:cxnLst>
                <a:cxn ang="0">
                  <a:pos x="T0" y="T1"/>
                </a:cxn>
                <a:cxn ang="0">
                  <a:pos x="T2" y="T3"/>
                </a:cxn>
                <a:cxn ang="0">
                  <a:pos x="T4" y="T5"/>
                </a:cxn>
                <a:cxn ang="0">
                  <a:pos x="T6" y="T7"/>
                </a:cxn>
                <a:cxn ang="0">
                  <a:pos x="T8" y="T9"/>
                </a:cxn>
                <a:cxn ang="0">
                  <a:pos x="T10" y="T11"/>
                </a:cxn>
                <a:cxn ang="0">
                  <a:pos x="T12" y="T13"/>
                </a:cxn>
              </a:cxnLst>
              <a:rect l="0" t="0" r="r" b="b"/>
              <a:pathLst>
                <a:path w="48" h="234">
                  <a:moveTo>
                    <a:pt x="24" y="234"/>
                  </a:moveTo>
                  <a:cubicBezTo>
                    <a:pt x="10" y="234"/>
                    <a:pt x="0" y="224"/>
                    <a:pt x="0" y="210"/>
                  </a:cubicBezTo>
                  <a:cubicBezTo>
                    <a:pt x="0" y="24"/>
                    <a:pt x="0" y="24"/>
                    <a:pt x="0" y="24"/>
                  </a:cubicBezTo>
                  <a:cubicBezTo>
                    <a:pt x="0" y="10"/>
                    <a:pt x="10" y="0"/>
                    <a:pt x="24" y="0"/>
                  </a:cubicBezTo>
                  <a:cubicBezTo>
                    <a:pt x="37" y="0"/>
                    <a:pt x="48" y="10"/>
                    <a:pt x="48" y="24"/>
                  </a:cubicBezTo>
                  <a:cubicBezTo>
                    <a:pt x="48" y="210"/>
                    <a:pt x="48" y="210"/>
                    <a:pt x="48" y="210"/>
                  </a:cubicBezTo>
                  <a:cubicBezTo>
                    <a:pt x="48" y="224"/>
                    <a:pt x="37" y="234"/>
                    <a:pt x="24" y="2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endParaRPr>
            </a:p>
          </p:txBody>
        </p:sp>
        <p:sp>
          <p:nvSpPr>
            <p:cNvPr id="107" name="Freeform 57"/>
            <p:cNvSpPr>
              <a:spLocks/>
            </p:cNvSpPr>
            <p:nvPr/>
          </p:nvSpPr>
          <p:spPr bwMode="auto">
            <a:xfrm>
              <a:off x="5695951" y="2582863"/>
              <a:ext cx="146050" cy="1460500"/>
            </a:xfrm>
            <a:custGeom>
              <a:avLst/>
              <a:gdLst>
                <a:gd name="T0" fmla="*/ 24 w 48"/>
                <a:gd name="T1" fmla="*/ 480 h 480"/>
                <a:gd name="T2" fmla="*/ 0 w 48"/>
                <a:gd name="T3" fmla="*/ 456 h 480"/>
                <a:gd name="T4" fmla="*/ 0 w 48"/>
                <a:gd name="T5" fmla="*/ 24 h 480"/>
                <a:gd name="T6" fmla="*/ 24 w 48"/>
                <a:gd name="T7" fmla="*/ 0 h 480"/>
                <a:gd name="T8" fmla="*/ 48 w 48"/>
                <a:gd name="T9" fmla="*/ 24 h 480"/>
                <a:gd name="T10" fmla="*/ 48 w 48"/>
                <a:gd name="T11" fmla="*/ 456 h 480"/>
                <a:gd name="T12" fmla="*/ 24 w 48"/>
                <a:gd name="T13" fmla="*/ 480 h 480"/>
              </a:gdLst>
              <a:ahLst/>
              <a:cxnLst>
                <a:cxn ang="0">
                  <a:pos x="T0" y="T1"/>
                </a:cxn>
                <a:cxn ang="0">
                  <a:pos x="T2" y="T3"/>
                </a:cxn>
                <a:cxn ang="0">
                  <a:pos x="T4" y="T5"/>
                </a:cxn>
                <a:cxn ang="0">
                  <a:pos x="T6" y="T7"/>
                </a:cxn>
                <a:cxn ang="0">
                  <a:pos x="T8" y="T9"/>
                </a:cxn>
                <a:cxn ang="0">
                  <a:pos x="T10" y="T11"/>
                </a:cxn>
                <a:cxn ang="0">
                  <a:pos x="T12" y="T13"/>
                </a:cxn>
              </a:cxnLst>
              <a:rect l="0" t="0" r="r" b="b"/>
              <a:pathLst>
                <a:path w="48" h="480">
                  <a:moveTo>
                    <a:pt x="24" y="480"/>
                  </a:moveTo>
                  <a:cubicBezTo>
                    <a:pt x="11" y="480"/>
                    <a:pt x="0" y="470"/>
                    <a:pt x="0" y="456"/>
                  </a:cubicBezTo>
                  <a:cubicBezTo>
                    <a:pt x="0" y="24"/>
                    <a:pt x="0" y="24"/>
                    <a:pt x="0" y="24"/>
                  </a:cubicBezTo>
                  <a:cubicBezTo>
                    <a:pt x="0" y="11"/>
                    <a:pt x="11" y="0"/>
                    <a:pt x="24" y="0"/>
                  </a:cubicBezTo>
                  <a:cubicBezTo>
                    <a:pt x="37" y="0"/>
                    <a:pt x="48" y="11"/>
                    <a:pt x="48" y="24"/>
                  </a:cubicBezTo>
                  <a:cubicBezTo>
                    <a:pt x="48" y="456"/>
                    <a:pt x="48" y="456"/>
                    <a:pt x="48" y="456"/>
                  </a:cubicBezTo>
                  <a:cubicBezTo>
                    <a:pt x="48" y="470"/>
                    <a:pt x="37" y="480"/>
                    <a:pt x="24" y="4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endParaRPr>
            </a:p>
          </p:txBody>
        </p:sp>
        <p:sp>
          <p:nvSpPr>
            <p:cNvPr id="108" name="Freeform 58"/>
            <p:cNvSpPr>
              <a:spLocks/>
            </p:cNvSpPr>
            <p:nvPr/>
          </p:nvSpPr>
          <p:spPr bwMode="auto">
            <a:xfrm>
              <a:off x="6262688" y="2835276"/>
              <a:ext cx="146050" cy="1208088"/>
            </a:xfrm>
            <a:custGeom>
              <a:avLst/>
              <a:gdLst>
                <a:gd name="T0" fmla="*/ 24 w 48"/>
                <a:gd name="T1" fmla="*/ 397 h 397"/>
                <a:gd name="T2" fmla="*/ 0 w 48"/>
                <a:gd name="T3" fmla="*/ 373 h 397"/>
                <a:gd name="T4" fmla="*/ 0 w 48"/>
                <a:gd name="T5" fmla="*/ 24 h 397"/>
                <a:gd name="T6" fmla="*/ 24 w 48"/>
                <a:gd name="T7" fmla="*/ 0 h 397"/>
                <a:gd name="T8" fmla="*/ 48 w 48"/>
                <a:gd name="T9" fmla="*/ 24 h 397"/>
                <a:gd name="T10" fmla="*/ 48 w 48"/>
                <a:gd name="T11" fmla="*/ 373 h 397"/>
                <a:gd name="T12" fmla="*/ 24 w 48"/>
                <a:gd name="T13" fmla="*/ 397 h 397"/>
              </a:gdLst>
              <a:ahLst/>
              <a:cxnLst>
                <a:cxn ang="0">
                  <a:pos x="T0" y="T1"/>
                </a:cxn>
                <a:cxn ang="0">
                  <a:pos x="T2" y="T3"/>
                </a:cxn>
                <a:cxn ang="0">
                  <a:pos x="T4" y="T5"/>
                </a:cxn>
                <a:cxn ang="0">
                  <a:pos x="T6" y="T7"/>
                </a:cxn>
                <a:cxn ang="0">
                  <a:pos x="T8" y="T9"/>
                </a:cxn>
                <a:cxn ang="0">
                  <a:pos x="T10" y="T11"/>
                </a:cxn>
                <a:cxn ang="0">
                  <a:pos x="T12" y="T13"/>
                </a:cxn>
              </a:cxnLst>
              <a:rect l="0" t="0" r="r" b="b"/>
              <a:pathLst>
                <a:path w="48" h="397">
                  <a:moveTo>
                    <a:pt x="24" y="397"/>
                  </a:moveTo>
                  <a:cubicBezTo>
                    <a:pt x="10" y="397"/>
                    <a:pt x="0" y="387"/>
                    <a:pt x="0" y="373"/>
                  </a:cubicBezTo>
                  <a:cubicBezTo>
                    <a:pt x="0" y="24"/>
                    <a:pt x="0" y="24"/>
                    <a:pt x="0" y="24"/>
                  </a:cubicBezTo>
                  <a:cubicBezTo>
                    <a:pt x="0" y="11"/>
                    <a:pt x="10" y="0"/>
                    <a:pt x="24" y="0"/>
                  </a:cubicBezTo>
                  <a:cubicBezTo>
                    <a:pt x="37" y="0"/>
                    <a:pt x="48" y="11"/>
                    <a:pt x="48" y="24"/>
                  </a:cubicBezTo>
                  <a:cubicBezTo>
                    <a:pt x="48" y="373"/>
                    <a:pt x="48" y="373"/>
                    <a:pt x="48" y="373"/>
                  </a:cubicBezTo>
                  <a:cubicBezTo>
                    <a:pt x="48" y="387"/>
                    <a:pt x="37" y="397"/>
                    <a:pt x="24" y="3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endParaRPr>
            </a:p>
          </p:txBody>
        </p:sp>
        <p:sp>
          <p:nvSpPr>
            <p:cNvPr id="109" name="Freeform 59"/>
            <p:cNvSpPr>
              <a:spLocks/>
            </p:cNvSpPr>
            <p:nvPr/>
          </p:nvSpPr>
          <p:spPr bwMode="auto">
            <a:xfrm>
              <a:off x="6850063" y="3444876"/>
              <a:ext cx="146050" cy="598488"/>
            </a:xfrm>
            <a:custGeom>
              <a:avLst/>
              <a:gdLst>
                <a:gd name="T0" fmla="*/ 24 w 48"/>
                <a:gd name="T1" fmla="*/ 197 h 197"/>
                <a:gd name="T2" fmla="*/ 0 w 48"/>
                <a:gd name="T3" fmla="*/ 173 h 197"/>
                <a:gd name="T4" fmla="*/ 0 w 48"/>
                <a:gd name="T5" fmla="*/ 24 h 197"/>
                <a:gd name="T6" fmla="*/ 24 w 48"/>
                <a:gd name="T7" fmla="*/ 0 h 197"/>
                <a:gd name="T8" fmla="*/ 48 w 48"/>
                <a:gd name="T9" fmla="*/ 24 h 197"/>
                <a:gd name="T10" fmla="*/ 48 w 48"/>
                <a:gd name="T11" fmla="*/ 173 h 197"/>
                <a:gd name="T12" fmla="*/ 24 w 48"/>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48" h="197">
                  <a:moveTo>
                    <a:pt x="24" y="197"/>
                  </a:moveTo>
                  <a:cubicBezTo>
                    <a:pt x="11" y="197"/>
                    <a:pt x="0" y="187"/>
                    <a:pt x="0" y="173"/>
                  </a:cubicBezTo>
                  <a:cubicBezTo>
                    <a:pt x="0" y="24"/>
                    <a:pt x="0" y="24"/>
                    <a:pt x="0" y="24"/>
                  </a:cubicBezTo>
                  <a:cubicBezTo>
                    <a:pt x="0" y="11"/>
                    <a:pt x="11" y="0"/>
                    <a:pt x="24" y="0"/>
                  </a:cubicBezTo>
                  <a:cubicBezTo>
                    <a:pt x="38" y="0"/>
                    <a:pt x="48" y="11"/>
                    <a:pt x="48" y="24"/>
                  </a:cubicBezTo>
                  <a:cubicBezTo>
                    <a:pt x="48" y="173"/>
                    <a:pt x="48" y="173"/>
                    <a:pt x="48" y="173"/>
                  </a:cubicBezTo>
                  <a:cubicBezTo>
                    <a:pt x="48" y="187"/>
                    <a:pt x="38" y="197"/>
                    <a:pt x="24"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endParaRPr>
            </a:p>
          </p:txBody>
        </p:sp>
        <p:sp>
          <p:nvSpPr>
            <p:cNvPr id="110" name="Freeform 60"/>
            <p:cNvSpPr>
              <a:spLocks/>
            </p:cNvSpPr>
            <p:nvPr/>
          </p:nvSpPr>
          <p:spPr bwMode="auto">
            <a:xfrm>
              <a:off x="4402138" y="4430713"/>
              <a:ext cx="3387725" cy="146050"/>
            </a:xfrm>
            <a:custGeom>
              <a:avLst/>
              <a:gdLst>
                <a:gd name="T0" fmla="*/ 1099 w 1118"/>
                <a:gd name="T1" fmla="*/ 48 h 48"/>
                <a:gd name="T2" fmla="*/ 18 w 1118"/>
                <a:gd name="T3" fmla="*/ 48 h 48"/>
                <a:gd name="T4" fmla="*/ 0 w 1118"/>
                <a:gd name="T5" fmla="*/ 24 h 48"/>
                <a:gd name="T6" fmla="*/ 18 w 1118"/>
                <a:gd name="T7" fmla="*/ 0 h 48"/>
                <a:gd name="T8" fmla="*/ 1099 w 1118"/>
                <a:gd name="T9" fmla="*/ 0 h 48"/>
                <a:gd name="T10" fmla="*/ 1118 w 1118"/>
                <a:gd name="T11" fmla="*/ 24 h 48"/>
                <a:gd name="T12" fmla="*/ 1099 w 1118"/>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118" h="48">
                  <a:moveTo>
                    <a:pt x="1099" y="48"/>
                  </a:moveTo>
                  <a:cubicBezTo>
                    <a:pt x="18" y="48"/>
                    <a:pt x="18" y="48"/>
                    <a:pt x="18" y="48"/>
                  </a:cubicBezTo>
                  <a:cubicBezTo>
                    <a:pt x="8" y="48"/>
                    <a:pt x="0" y="38"/>
                    <a:pt x="0" y="24"/>
                  </a:cubicBezTo>
                  <a:cubicBezTo>
                    <a:pt x="0" y="11"/>
                    <a:pt x="8" y="0"/>
                    <a:pt x="18" y="0"/>
                  </a:cubicBezTo>
                  <a:cubicBezTo>
                    <a:pt x="1099" y="0"/>
                    <a:pt x="1099" y="0"/>
                    <a:pt x="1099" y="0"/>
                  </a:cubicBezTo>
                  <a:cubicBezTo>
                    <a:pt x="1110" y="0"/>
                    <a:pt x="1118" y="11"/>
                    <a:pt x="1118" y="24"/>
                  </a:cubicBezTo>
                  <a:cubicBezTo>
                    <a:pt x="1118" y="38"/>
                    <a:pt x="1110" y="48"/>
                    <a:pt x="1099"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endParaRPr>
            </a:p>
          </p:txBody>
        </p:sp>
      </p:grpSp>
      <p:pic>
        <p:nvPicPr>
          <p:cNvPr id="111" name="Picture 1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09488" y="2556828"/>
            <a:ext cx="4334152" cy="1920240"/>
          </a:xfrm>
          <a:prstGeom prst="rect">
            <a:avLst/>
          </a:prstGeom>
        </p:spPr>
      </p:pic>
      <p:sp>
        <p:nvSpPr>
          <p:cNvPr id="112" name="TextBox 111"/>
          <p:cNvSpPr txBox="1"/>
          <p:nvPr/>
        </p:nvSpPr>
        <p:spPr>
          <a:xfrm>
            <a:off x="3949700" y="2247900"/>
            <a:ext cx="763735" cy="184666"/>
          </a:xfrm>
          <a:prstGeom prst="rect">
            <a:avLst/>
          </a:prstGeom>
          <a:noFill/>
        </p:spPr>
        <p:txBody>
          <a:bodyPr wrap="none" lIns="0" tIns="0" rIns="0" bIns="0" rtlCol="0">
            <a:spAutoFit/>
          </a:bodyPr>
          <a:lstStyle/>
          <a:p>
            <a:pPr>
              <a:spcAft>
                <a:spcPts val="600"/>
              </a:spcAft>
            </a:pPr>
            <a:r>
              <a:rPr lang="en-US" sz="1200" dirty="0">
                <a:solidFill>
                  <a:schemeClr val="accent1"/>
                </a:solidFill>
              </a:rPr>
              <a:t>Event Hubs</a:t>
            </a:r>
          </a:p>
        </p:txBody>
      </p:sp>
      <p:sp>
        <p:nvSpPr>
          <p:cNvPr id="113" name="TextBox 112"/>
          <p:cNvSpPr txBox="1"/>
          <p:nvPr/>
        </p:nvSpPr>
        <p:spPr>
          <a:xfrm>
            <a:off x="2705100" y="1625600"/>
            <a:ext cx="1115562" cy="184666"/>
          </a:xfrm>
          <a:prstGeom prst="rect">
            <a:avLst/>
          </a:prstGeom>
          <a:noFill/>
        </p:spPr>
        <p:txBody>
          <a:bodyPr wrap="none" lIns="0" tIns="0" rIns="0" bIns="0" rtlCol="0">
            <a:spAutoFit/>
          </a:bodyPr>
          <a:lstStyle/>
          <a:p>
            <a:pPr>
              <a:spcAft>
                <a:spcPts val="600"/>
              </a:spcAft>
            </a:pPr>
            <a:r>
              <a:rPr lang="en-US" sz="1200" dirty="0">
                <a:solidFill>
                  <a:schemeClr val="accent1"/>
                </a:solidFill>
              </a:rPr>
              <a:t>Stream Analytics</a:t>
            </a:r>
          </a:p>
        </p:txBody>
      </p:sp>
      <p:sp>
        <p:nvSpPr>
          <p:cNvPr id="114" name="TextBox 113"/>
          <p:cNvSpPr txBox="1"/>
          <p:nvPr/>
        </p:nvSpPr>
        <p:spPr>
          <a:xfrm>
            <a:off x="1981200" y="3181350"/>
            <a:ext cx="1203535" cy="184666"/>
          </a:xfrm>
          <a:prstGeom prst="rect">
            <a:avLst/>
          </a:prstGeom>
          <a:noFill/>
        </p:spPr>
        <p:txBody>
          <a:bodyPr wrap="none" lIns="0" tIns="0" rIns="0" bIns="0" rtlCol="0">
            <a:spAutoFit/>
          </a:bodyPr>
          <a:lstStyle/>
          <a:p>
            <a:pPr>
              <a:spcAft>
                <a:spcPts val="600"/>
              </a:spcAft>
            </a:pPr>
            <a:r>
              <a:rPr lang="en-US" sz="1200" dirty="0">
                <a:solidFill>
                  <a:schemeClr val="accent1"/>
                </a:solidFill>
              </a:rPr>
              <a:t>Machine Learning</a:t>
            </a:r>
          </a:p>
        </p:txBody>
      </p:sp>
      <p:sp>
        <p:nvSpPr>
          <p:cNvPr id="115" name="TextBox 114"/>
          <p:cNvSpPr txBox="1"/>
          <p:nvPr/>
        </p:nvSpPr>
        <p:spPr>
          <a:xfrm>
            <a:off x="2137025" y="4151048"/>
            <a:ext cx="521233" cy="184666"/>
          </a:xfrm>
          <a:prstGeom prst="rect">
            <a:avLst/>
          </a:prstGeom>
          <a:noFill/>
        </p:spPr>
        <p:txBody>
          <a:bodyPr wrap="none" lIns="0" tIns="0" rIns="0" bIns="0" rtlCol="0">
            <a:spAutoFit/>
          </a:bodyPr>
          <a:lstStyle/>
          <a:p>
            <a:pPr>
              <a:spcAft>
                <a:spcPts val="600"/>
              </a:spcAft>
            </a:pPr>
            <a:r>
              <a:rPr lang="en-US" sz="1200" dirty="0">
                <a:solidFill>
                  <a:schemeClr val="accent1"/>
                </a:solidFill>
              </a:rPr>
              <a:t>Storage</a:t>
            </a:r>
          </a:p>
        </p:txBody>
      </p:sp>
      <p:sp>
        <p:nvSpPr>
          <p:cNvPr id="116" name="TextBox 115"/>
          <p:cNvSpPr txBox="1"/>
          <p:nvPr/>
        </p:nvSpPr>
        <p:spPr>
          <a:xfrm>
            <a:off x="2750139" y="4705154"/>
            <a:ext cx="924484" cy="184666"/>
          </a:xfrm>
          <a:prstGeom prst="rect">
            <a:avLst/>
          </a:prstGeom>
          <a:noFill/>
        </p:spPr>
        <p:txBody>
          <a:bodyPr wrap="none" lIns="0" tIns="0" rIns="0" bIns="0" rtlCol="0">
            <a:spAutoFit/>
          </a:bodyPr>
          <a:lstStyle/>
          <a:p>
            <a:pPr>
              <a:spcAft>
                <a:spcPts val="600"/>
              </a:spcAft>
            </a:pPr>
            <a:r>
              <a:rPr lang="en-US" sz="1200" dirty="0">
                <a:solidFill>
                  <a:schemeClr val="accent1"/>
                </a:solidFill>
              </a:rPr>
              <a:t>SQL database</a:t>
            </a:r>
          </a:p>
        </p:txBody>
      </p:sp>
      <p:sp>
        <p:nvSpPr>
          <p:cNvPr id="117" name="TextBox 116"/>
          <p:cNvSpPr txBox="1"/>
          <p:nvPr/>
        </p:nvSpPr>
        <p:spPr>
          <a:xfrm>
            <a:off x="4070350" y="4851400"/>
            <a:ext cx="678071" cy="184666"/>
          </a:xfrm>
          <a:prstGeom prst="rect">
            <a:avLst/>
          </a:prstGeom>
          <a:noFill/>
        </p:spPr>
        <p:txBody>
          <a:bodyPr wrap="none" lIns="0" tIns="0" rIns="0" bIns="0" rtlCol="0">
            <a:spAutoFit/>
          </a:bodyPr>
          <a:lstStyle/>
          <a:p>
            <a:pPr>
              <a:spcAft>
                <a:spcPts val="600"/>
              </a:spcAft>
            </a:pPr>
            <a:r>
              <a:rPr lang="en-US" sz="1200" dirty="0">
                <a:solidFill>
                  <a:schemeClr val="accent1"/>
                </a:solidFill>
              </a:rPr>
              <a:t>HDInsight</a:t>
            </a:r>
          </a:p>
        </p:txBody>
      </p:sp>
      <p:sp>
        <p:nvSpPr>
          <p:cNvPr id="119" name="Freeform 118"/>
          <p:cNvSpPr/>
          <p:nvPr/>
        </p:nvSpPr>
        <p:spPr bwMode="auto">
          <a:xfrm>
            <a:off x="4373562" y="3824904"/>
            <a:ext cx="1360488" cy="419868"/>
          </a:xfrm>
          <a:custGeom>
            <a:avLst/>
            <a:gdLst>
              <a:gd name="connsiteX0" fmla="*/ 0 w 600364"/>
              <a:gd name="connsiteY0" fmla="*/ 886691 h 886691"/>
              <a:gd name="connsiteX1" fmla="*/ 0 w 600364"/>
              <a:gd name="connsiteY1" fmla="*/ 0 h 886691"/>
              <a:gd name="connsiteX2" fmla="*/ 600364 w 600364"/>
              <a:gd name="connsiteY2" fmla="*/ 0 h 886691"/>
            </a:gdLst>
            <a:ahLst/>
            <a:cxnLst>
              <a:cxn ang="0">
                <a:pos x="connsiteX0" y="connsiteY0"/>
              </a:cxn>
              <a:cxn ang="0">
                <a:pos x="connsiteX1" y="connsiteY1"/>
              </a:cxn>
              <a:cxn ang="0">
                <a:pos x="connsiteX2" y="connsiteY2"/>
              </a:cxn>
            </a:cxnLst>
            <a:rect l="l" t="t" r="r" b="b"/>
            <a:pathLst>
              <a:path w="600364" h="886691">
                <a:moveTo>
                  <a:pt x="0" y="886691"/>
                </a:moveTo>
                <a:lnTo>
                  <a:pt x="0" y="0"/>
                </a:lnTo>
                <a:lnTo>
                  <a:pt x="600364" y="0"/>
                </a:lnTo>
              </a:path>
            </a:pathLst>
          </a:cu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accent1"/>
              </a:solidFill>
            </a:endParaRPr>
          </a:p>
        </p:txBody>
      </p:sp>
      <p:sp>
        <p:nvSpPr>
          <p:cNvPr id="120" name="TextBox 119"/>
          <p:cNvSpPr txBox="1"/>
          <p:nvPr/>
        </p:nvSpPr>
        <p:spPr>
          <a:xfrm>
            <a:off x="5996697" y="4012595"/>
            <a:ext cx="783228" cy="246221"/>
          </a:xfrm>
          <a:prstGeom prst="rect">
            <a:avLst/>
          </a:prstGeom>
          <a:noFill/>
        </p:spPr>
        <p:txBody>
          <a:bodyPr wrap="none" lIns="0" tIns="0" rIns="0" bIns="0" rtlCol="0">
            <a:spAutoFit/>
          </a:bodyPr>
          <a:lstStyle/>
          <a:p>
            <a:pPr>
              <a:spcAft>
                <a:spcPts val="600"/>
              </a:spcAft>
            </a:pPr>
            <a:r>
              <a:rPr lang="en-US" sz="1600" dirty="0">
                <a:solidFill>
                  <a:schemeClr val="accent1"/>
                </a:solidFill>
              </a:rPr>
              <a:t>Power BI</a:t>
            </a:r>
          </a:p>
        </p:txBody>
      </p:sp>
      <p:sp>
        <p:nvSpPr>
          <p:cNvPr id="123" name="Rectangle 122"/>
          <p:cNvSpPr/>
          <p:nvPr/>
        </p:nvSpPr>
        <p:spPr>
          <a:xfrm>
            <a:off x="697026" y="2646240"/>
            <a:ext cx="1296319" cy="270285"/>
          </a:xfrm>
          <a:prstGeom prst="rect">
            <a:avLst/>
          </a:prstGeom>
        </p:spPr>
        <p:txBody>
          <a:bodyPr wrap="square">
            <a:spAutoFit/>
          </a:bodyPr>
          <a:lstStyle/>
          <a:p>
            <a:r>
              <a:rPr lang="en-US" sz="1122" dirty="0">
                <a:cs typeface="Segoe UI Semilight" panose="020B0402040204020203" pitchFamily="34" charset="0"/>
              </a:rPr>
              <a:t>Power BI</a:t>
            </a:r>
          </a:p>
        </p:txBody>
      </p:sp>
      <p:grpSp>
        <p:nvGrpSpPr>
          <p:cNvPr id="124" name="Group 123"/>
          <p:cNvGrpSpPr/>
          <p:nvPr/>
        </p:nvGrpSpPr>
        <p:grpSpPr>
          <a:xfrm>
            <a:off x="332141" y="2673751"/>
            <a:ext cx="331373" cy="211797"/>
            <a:chOff x="7884058" y="5368509"/>
            <a:chExt cx="324905" cy="207663"/>
          </a:xfrm>
        </p:grpSpPr>
        <p:sp>
          <p:nvSpPr>
            <p:cNvPr id="12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2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2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2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2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grpSp>
      <p:grpSp>
        <p:nvGrpSpPr>
          <p:cNvPr id="3" name="Group 2"/>
          <p:cNvGrpSpPr/>
          <p:nvPr/>
        </p:nvGrpSpPr>
        <p:grpSpPr>
          <a:xfrm>
            <a:off x="1863081" y="5384505"/>
            <a:ext cx="8663938" cy="959862"/>
            <a:chOff x="2194921" y="5218949"/>
            <a:chExt cx="8663938" cy="959862"/>
          </a:xfrm>
        </p:grpSpPr>
        <p:sp>
          <p:nvSpPr>
            <p:cNvPr id="6" name="TextBox 5"/>
            <p:cNvSpPr txBox="1"/>
            <p:nvPr/>
          </p:nvSpPr>
          <p:spPr>
            <a:xfrm>
              <a:off x="2194921" y="5218949"/>
              <a:ext cx="6746753" cy="947952"/>
            </a:xfrm>
            <a:prstGeom prst="rect">
              <a:avLst/>
            </a:prstGeom>
            <a:noFill/>
          </p:spPr>
          <p:txBody>
            <a:bodyPr wrap="square" lIns="182880" tIns="146304" rIns="182880" bIns="146304" rtlCol="0">
              <a:spAutoFit/>
            </a:bodyPr>
            <a:lstStyle/>
            <a:p>
              <a:pPr marL="177800" indent="-177800">
                <a:lnSpc>
                  <a:spcPct val="90000"/>
                </a:lnSpc>
                <a:spcAft>
                  <a:spcPts val="600"/>
                </a:spcAft>
                <a:buClr>
                  <a:schemeClr val="accent2"/>
                </a:buClr>
                <a:buFont typeface="Arial" panose="020B0604020202020204" pitchFamily="34" charset="0"/>
                <a:buChar char="•"/>
              </a:pPr>
              <a:r>
                <a:rPr lang="en-US" sz="1200" dirty="0">
                  <a:solidFill>
                    <a:schemeClr val="bg1"/>
                  </a:solidFill>
                </a:rPr>
                <a:t>Analytics for everyone, even non-data experts </a:t>
              </a:r>
            </a:p>
            <a:p>
              <a:pPr marL="177800" indent="-177800">
                <a:lnSpc>
                  <a:spcPct val="90000"/>
                </a:lnSpc>
                <a:spcAft>
                  <a:spcPts val="600"/>
                </a:spcAft>
                <a:buClr>
                  <a:schemeClr val="accent2"/>
                </a:buClr>
                <a:buFont typeface="Arial" panose="020B0604020202020204" pitchFamily="34" charset="0"/>
                <a:buChar char="•"/>
              </a:pPr>
              <a:r>
                <a:rPr lang="en-US" sz="1200" dirty="0">
                  <a:solidFill>
                    <a:schemeClr val="bg1"/>
                  </a:solidFill>
                </a:rPr>
                <a:t>Your whole business on one dashboard</a:t>
              </a:r>
            </a:p>
            <a:p>
              <a:pPr marL="177800" indent="-177800">
                <a:lnSpc>
                  <a:spcPct val="90000"/>
                </a:lnSpc>
                <a:spcAft>
                  <a:spcPts val="600"/>
                </a:spcAft>
                <a:buClr>
                  <a:schemeClr val="accent2"/>
                </a:buClr>
                <a:buFont typeface="Arial" panose="020B0604020202020204" pitchFamily="34" charset="0"/>
                <a:buChar char="•"/>
              </a:pPr>
              <a:r>
                <a:rPr lang="en-US" sz="1200" dirty="0">
                  <a:solidFill>
                    <a:schemeClr val="bg1"/>
                  </a:solidFill>
                </a:rPr>
                <a:t>Create stunning, interactive reports</a:t>
              </a:r>
            </a:p>
          </p:txBody>
        </p:sp>
        <p:sp>
          <p:nvSpPr>
            <p:cNvPr id="7" name="TextBox 6"/>
            <p:cNvSpPr txBox="1"/>
            <p:nvPr/>
          </p:nvSpPr>
          <p:spPr>
            <a:xfrm>
              <a:off x="6377962" y="5230859"/>
              <a:ext cx="4480897" cy="947952"/>
            </a:xfrm>
            <a:prstGeom prst="rect">
              <a:avLst/>
            </a:prstGeom>
            <a:noFill/>
          </p:spPr>
          <p:txBody>
            <a:bodyPr wrap="square" lIns="182880" tIns="146304" rIns="182880" bIns="146304" rtlCol="0">
              <a:spAutoFit/>
            </a:bodyPr>
            <a:lstStyle/>
            <a:p>
              <a:pPr marL="177800" indent="-177800">
                <a:lnSpc>
                  <a:spcPct val="90000"/>
                </a:lnSpc>
                <a:spcAft>
                  <a:spcPts val="600"/>
                </a:spcAft>
                <a:buClr>
                  <a:schemeClr val="accent2"/>
                </a:buClr>
                <a:buFont typeface="Arial" panose="020B0604020202020204" pitchFamily="34" charset="0"/>
                <a:buChar char="•"/>
              </a:pPr>
              <a:r>
                <a:rPr lang="en-US" sz="1200" dirty="0">
                  <a:solidFill>
                    <a:schemeClr val="bg1"/>
                  </a:solidFill>
                </a:rPr>
                <a:t>Drive consistent analysis across your organization</a:t>
              </a:r>
            </a:p>
            <a:p>
              <a:pPr marL="177800" indent="-177800">
                <a:lnSpc>
                  <a:spcPct val="90000"/>
                </a:lnSpc>
                <a:spcAft>
                  <a:spcPts val="600"/>
                </a:spcAft>
                <a:buClr>
                  <a:schemeClr val="accent2"/>
                </a:buClr>
                <a:buFont typeface="Arial" panose="020B0604020202020204" pitchFamily="34" charset="0"/>
                <a:buChar char="•"/>
              </a:pPr>
              <a:r>
                <a:rPr lang="en-US" sz="1200" dirty="0">
                  <a:solidFill>
                    <a:schemeClr val="bg1"/>
                  </a:solidFill>
                </a:rPr>
                <a:t>Embed visuals in your applications</a:t>
              </a:r>
            </a:p>
            <a:p>
              <a:pPr marL="177800" indent="-177800">
                <a:lnSpc>
                  <a:spcPct val="90000"/>
                </a:lnSpc>
                <a:spcAft>
                  <a:spcPts val="600"/>
                </a:spcAft>
                <a:buClr>
                  <a:schemeClr val="accent2"/>
                </a:buClr>
                <a:buFont typeface="Arial" panose="020B0604020202020204" pitchFamily="34" charset="0"/>
                <a:buChar char="•"/>
              </a:pPr>
              <a:r>
                <a:rPr lang="en-US" sz="1200" dirty="0">
                  <a:solidFill>
                    <a:schemeClr val="bg1"/>
                  </a:solidFill>
                </a:rPr>
                <a:t>Get real-time alerts when things change</a:t>
              </a:r>
            </a:p>
          </p:txBody>
        </p:sp>
      </p:grpSp>
      <p:grpSp>
        <p:nvGrpSpPr>
          <p:cNvPr id="152" name="Group 151"/>
          <p:cNvGrpSpPr>
            <a:grpSpLocks noChangeAspect="1"/>
          </p:cNvGrpSpPr>
          <p:nvPr/>
        </p:nvGrpSpPr>
        <p:grpSpPr>
          <a:xfrm>
            <a:off x="2939656" y="3988311"/>
            <a:ext cx="542827" cy="664837"/>
            <a:chOff x="-3084513" y="3390510"/>
            <a:chExt cx="2716213" cy="3363913"/>
          </a:xfrm>
          <a:solidFill>
            <a:schemeClr val="accent2"/>
          </a:solidFill>
        </p:grpSpPr>
        <p:sp>
          <p:nvSpPr>
            <p:cNvPr id="154"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5"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56" name="Freeform 155"/>
          <p:cNvSpPr>
            <a:spLocks noChangeAspect="1"/>
          </p:cNvSpPr>
          <p:nvPr/>
        </p:nvSpPr>
        <p:spPr bwMode="auto">
          <a:xfrm>
            <a:off x="4071057" y="1694931"/>
            <a:ext cx="483841" cy="50632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chemeClr val="tx1"/>
              </a:solidFill>
              <a:effectLst/>
              <a:uLnTx/>
              <a:uFillTx/>
              <a:ea typeface="Segoe UI" pitchFamily="34" charset="0"/>
              <a:cs typeface="Segoe UI" pitchFamily="34" charset="0"/>
            </a:endParaRPr>
          </a:p>
        </p:txBody>
      </p:sp>
      <p:sp>
        <p:nvSpPr>
          <p:cNvPr id="157" name="Freeform 156"/>
          <p:cNvSpPr>
            <a:spLocks noChangeAspect="1"/>
          </p:cNvSpPr>
          <p:nvPr/>
        </p:nvSpPr>
        <p:spPr bwMode="auto">
          <a:xfrm>
            <a:off x="4164443" y="4373402"/>
            <a:ext cx="604165" cy="45720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93260" tIns="46630" rIns="93260" bIns="46630" numCol="1" anchor="t" anchorCtr="0" compatLnSpc="1">
            <a:prstTxWarp prst="textNoShape">
              <a:avLst/>
            </a:prstTxWarp>
          </a:bodyPr>
          <a:lstStyle/>
          <a:p>
            <a:endParaRPr lang="en-US" sz="1632" dirty="0"/>
          </a:p>
        </p:txBody>
      </p:sp>
      <p:grpSp>
        <p:nvGrpSpPr>
          <p:cNvPr id="158" name="Group 157"/>
          <p:cNvGrpSpPr>
            <a:grpSpLocks noChangeAspect="1"/>
          </p:cNvGrpSpPr>
          <p:nvPr/>
        </p:nvGrpSpPr>
        <p:grpSpPr>
          <a:xfrm>
            <a:off x="2824799" y="1879834"/>
            <a:ext cx="772539" cy="593457"/>
            <a:chOff x="1260022" y="5196402"/>
            <a:chExt cx="3273425" cy="2514600"/>
          </a:xfrm>
          <a:solidFill>
            <a:schemeClr val="accent1"/>
          </a:solidFill>
        </p:grpSpPr>
        <p:sp>
          <p:nvSpPr>
            <p:cNvPr id="159" name="Freeform 158"/>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160" name="Freeform 159"/>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161" name="Freeform 160"/>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162" name="Freeform 161"/>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grpSp>
      <p:sp>
        <p:nvSpPr>
          <p:cNvPr id="136" name="Freeform 135"/>
          <p:cNvSpPr/>
          <p:nvPr/>
        </p:nvSpPr>
        <p:spPr bwMode="auto">
          <a:xfrm flipV="1">
            <a:off x="4266621" y="2509208"/>
            <a:ext cx="1467429" cy="685155"/>
          </a:xfrm>
          <a:custGeom>
            <a:avLst/>
            <a:gdLst>
              <a:gd name="connsiteX0" fmla="*/ 0 w 600364"/>
              <a:gd name="connsiteY0" fmla="*/ 886691 h 886691"/>
              <a:gd name="connsiteX1" fmla="*/ 0 w 600364"/>
              <a:gd name="connsiteY1" fmla="*/ 0 h 886691"/>
              <a:gd name="connsiteX2" fmla="*/ 600364 w 600364"/>
              <a:gd name="connsiteY2" fmla="*/ 0 h 886691"/>
            </a:gdLst>
            <a:ahLst/>
            <a:cxnLst>
              <a:cxn ang="0">
                <a:pos x="connsiteX0" y="connsiteY0"/>
              </a:cxn>
              <a:cxn ang="0">
                <a:pos x="connsiteX1" y="connsiteY1"/>
              </a:cxn>
              <a:cxn ang="0">
                <a:pos x="connsiteX2" y="connsiteY2"/>
              </a:cxn>
            </a:cxnLst>
            <a:rect l="l" t="t" r="r" b="b"/>
            <a:pathLst>
              <a:path w="600364" h="886691">
                <a:moveTo>
                  <a:pt x="0" y="886691"/>
                </a:moveTo>
                <a:lnTo>
                  <a:pt x="0" y="0"/>
                </a:lnTo>
                <a:lnTo>
                  <a:pt x="600364" y="0"/>
                </a:lnTo>
              </a:path>
            </a:pathLst>
          </a:cu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accent1"/>
              </a:solidFill>
            </a:endParaRPr>
          </a:p>
        </p:txBody>
      </p:sp>
      <p:sp>
        <p:nvSpPr>
          <p:cNvPr id="137" name="Freeform 136"/>
          <p:cNvSpPr/>
          <p:nvPr/>
        </p:nvSpPr>
        <p:spPr bwMode="auto">
          <a:xfrm>
            <a:off x="3253424" y="3701918"/>
            <a:ext cx="2480626" cy="189765"/>
          </a:xfrm>
          <a:custGeom>
            <a:avLst/>
            <a:gdLst>
              <a:gd name="connsiteX0" fmla="*/ 0 w 600364"/>
              <a:gd name="connsiteY0" fmla="*/ 886691 h 886691"/>
              <a:gd name="connsiteX1" fmla="*/ 0 w 600364"/>
              <a:gd name="connsiteY1" fmla="*/ 0 h 886691"/>
              <a:gd name="connsiteX2" fmla="*/ 600364 w 600364"/>
              <a:gd name="connsiteY2" fmla="*/ 0 h 886691"/>
            </a:gdLst>
            <a:ahLst/>
            <a:cxnLst>
              <a:cxn ang="0">
                <a:pos x="connsiteX0" y="connsiteY0"/>
              </a:cxn>
              <a:cxn ang="0">
                <a:pos x="connsiteX1" y="connsiteY1"/>
              </a:cxn>
              <a:cxn ang="0">
                <a:pos x="connsiteX2" y="connsiteY2"/>
              </a:cxn>
            </a:cxnLst>
            <a:rect l="l" t="t" r="r" b="b"/>
            <a:pathLst>
              <a:path w="600364" h="886691">
                <a:moveTo>
                  <a:pt x="0" y="886691"/>
                </a:moveTo>
                <a:lnTo>
                  <a:pt x="0" y="0"/>
                </a:lnTo>
                <a:lnTo>
                  <a:pt x="600364" y="0"/>
                </a:lnTo>
              </a:path>
            </a:pathLst>
          </a:cu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accent1"/>
              </a:solidFill>
            </a:endParaRPr>
          </a:p>
        </p:txBody>
      </p:sp>
      <p:cxnSp>
        <p:nvCxnSpPr>
          <p:cNvPr id="138" name="Straight Connector 137"/>
          <p:cNvCxnSpPr/>
          <p:nvPr/>
        </p:nvCxnSpPr>
        <p:spPr>
          <a:xfrm>
            <a:off x="2525506" y="3446971"/>
            <a:ext cx="3206569" cy="0"/>
          </a:xfrm>
          <a:prstGeom prst="line">
            <a:avLst/>
          </a:pr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251" name="Rectangle 250"/>
          <p:cNvSpPr/>
          <p:nvPr/>
        </p:nvSpPr>
        <p:spPr>
          <a:xfrm>
            <a:off x="658890" y="4872879"/>
            <a:ext cx="1296319" cy="270285"/>
          </a:xfrm>
          <a:prstGeom prst="rect">
            <a:avLst/>
          </a:prstGeom>
        </p:spPr>
        <p:txBody>
          <a:bodyPr wrap="square">
            <a:spAutoFit/>
          </a:bodyPr>
          <a:lstStyle/>
          <a:p>
            <a:r>
              <a:rPr lang="en-US" sz="1122" dirty="0">
                <a:cs typeface="Segoe UI Semilight" panose="020B0402040204020203" pitchFamily="34" charset="0"/>
              </a:rPr>
              <a:t>Power BI</a:t>
            </a:r>
          </a:p>
        </p:txBody>
      </p:sp>
      <p:sp>
        <p:nvSpPr>
          <p:cNvPr id="252" name="Freeform 5"/>
          <p:cNvSpPr>
            <a:spLocks noEditPoints="1"/>
          </p:cNvSpPr>
          <p:nvPr/>
        </p:nvSpPr>
        <p:spPr bwMode="auto">
          <a:xfrm>
            <a:off x="294005" y="4900390"/>
            <a:ext cx="331373" cy="211797"/>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53" name="Freeform 6"/>
          <p:cNvSpPr>
            <a:spLocks/>
          </p:cNvSpPr>
          <p:nvPr/>
        </p:nvSpPr>
        <p:spPr bwMode="auto">
          <a:xfrm>
            <a:off x="415143" y="4944938"/>
            <a:ext cx="35950" cy="126609"/>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54" name="Freeform 7"/>
          <p:cNvSpPr>
            <a:spLocks/>
          </p:cNvSpPr>
          <p:nvPr/>
        </p:nvSpPr>
        <p:spPr bwMode="auto">
          <a:xfrm>
            <a:off x="469070" y="4980888"/>
            <a:ext cx="36732" cy="9065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55" name="Freeform 8"/>
          <p:cNvSpPr>
            <a:spLocks/>
          </p:cNvSpPr>
          <p:nvPr/>
        </p:nvSpPr>
        <p:spPr bwMode="auto">
          <a:xfrm>
            <a:off x="354184" y="5012932"/>
            <a:ext cx="50800" cy="58615"/>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56" name="Freeform 9"/>
          <p:cNvSpPr>
            <a:spLocks/>
          </p:cNvSpPr>
          <p:nvPr/>
        </p:nvSpPr>
        <p:spPr bwMode="auto">
          <a:xfrm>
            <a:off x="519089" y="5021527"/>
            <a:ext cx="42984" cy="50018"/>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grpSp>
        <p:nvGrpSpPr>
          <p:cNvPr id="181" name="Group 180"/>
          <p:cNvGrpSpPr/>
          <p:nvPr/>
        </p:nvGrpSpPr>
        <p:grpSpPr>
          <a:xfrm>
            <a:off x="2773" y="4267723"/>
            <a:ext cx="1675820" cy="1293008"/>
            <a:chOff x="8005941" y="4267723"/>
            <a:chExt cx="1675820" cy="1293008"/>
          </a:xfrm>
        </p:grpSpPr>
        <p:sp>
          <p:nvSpPr>
            <p:cNvPr id="182" name="Rectangle 181"/>
            <p:cNvSpPr/>
            <p:nvPr/>
          </p:nvSpPr>
          <p:spPr bwMode="auto">
            <a:xfrm>
              <a:off x="8005941" y="4267723"/>
              <a:ext cx="1660373" cy="1293008"/>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Dashboards &amp; Visualizations</a:t>
              </a:r>
            </a:p>
          </p:txBody>
        </p:sp>
        <p:sp>
          <p:nvSpPr>
            <p:cNvPr id="183" name="Rectangle 182"/>
            <p:cNvSpPr/>
            <p:nvPr/>
          </p:nvSpPr>
          <p:spPr>
            <a:xfrm>
              <a:off x="8467066" y="5017712"/>
              <a:ext cx="1214695" cy="253266"/>
            </a:xfrm>
            <a:prstGeom prst="rect">
              <a:avLst/>
            </a:prstGeom>
          </p:spPr>
          <p:txBody>
            <a:bodyPr wrap="square">
              <a:spAutoFit/>
            </a:bodyPr>
            <a:lstStyle/>
            <a:p>
              <a:r>
                <a:rPr lang="en-US" sz="1122" dirty="0">
                  <a:cs typeface="Segoe UI Semilight" panose="020B0402040204020203" pitchFamily="34" charset="0"/>
                </a:rPr>
                <a:t>Power BI</a:t>
              </a:r>
            </a:p>
          </p:txBody>
        </p:sp>
        <p:grpSp>
          <p:nvGrpSpPr>
            <p:cNvPr id="184" name="Group 183"/>
            <p:cNvGrpSpPr/>
            <p:nvPr/>
          </p:nvGrpSpPr>
          <p:grpSpPr>
            <a:xfrm>
              <a:off x="8125156" y="5043491"/>
              <a:ext cx="310508" cy="198461"/>
              <a:chOff x="7884058" y="5368509"/>
              <a:chExt cx="324905" cy="207663"/>
            </a:xfrm>
          </p:grpSpPr>
          <p:sp>
            <p:nvSpPr>
              <p:cNvPr id="18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8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8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8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8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grpSp>
      </p:grpSp>
    </p:spTree>
    <p:extLst>
      <p:ext uri="{BB962C8B-B14F-4D97-AF65-F5344CB8AC3E}">
        <p14:creationId xmlns:p14="http://schemas.microsoft.com/office/powerpoint/2010/main" val="1718443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Title 1"/>
          <p:cNvSpPr>
            <a:spLocks noGrp="1"/>
          </p:cNvSpPr>
          <p:nvPr>
            <p:ph type="title"/>
          </p:nvPr>
        </p:nvSpPr>
        <p:spPr/>
        <p:txBody>
          <a:bodyPr>
            <a:normAutofit/>
          </a:bodyPr>
          <a:lstStyle/>
          <a:p>
            <a:r>
              <a:rPr lang="en-US" dirty="0">
                <a:solidFill>
                  <a:schemeClr val="bg1"/>
                </a:solidFill>
              </a:rPr>
              <a:t>Stay ahead of the curve with Cortana Intelligence Suite</a:t>
            </a:r>
          </a:p>
        </p:txBody>
      </p:sp>
      <p:grpSp>
        <p:nvGrpSpPr>
          <p:cNvPr id="104" name="Group 103"/>
          <p:cNvGrpSpPr/>
          <p:nvPr/>
        </p:nvGrpSpPr>
        <p:grpSpPr>
          <a:xfrm>
            <a:off x="7957731" y="2730216"/>
            <a:ext cx="318964" cy="186197"/>
            <a:chOff x="-4411663" y="4275138"/>
            <a:chExt cx="312738" cy="182563"/>
          </a:xfrm>
          <a:solidFill>
            <a:schemeClr val="bg2">
              <a:lumMod val="25000"/>
              <a:lumOff val="75000"/>
            </a:schemeClr>
          </a:solidFill>
        </p:grpSpPr>
        <p:sp>
          <p:nvSpPr>
            <p:cNvPr id="106" name="Freeform 9"/>
            <p:cNvSpPr>
              <a:spLocks/>
            </p:cNvSpPr>
            <p:nvPr/>
          </p:nvSpPr>
          <p:spPr bwMode="auto">
            <a:xfrm>
              <a:off x="-4411663" y="4352925"/>
              <a:ext cx="312738" cy="26988"/>
            </a:xfrm>
            <a:custGeom>
              <a:avLst/>
              <a:gdLst>
                <a:gd name="T0" fmla="*/ 377 w 394"/>
                <a:gd name="T1" fmla="*/ 33 h 33"/>
                <a:gd name="T2" fmla="*/ 16 w 394"/>
                <a:gd name="T3" fmla="*/ 33 h 33"/>
                <a:gd name="T4" fmla="*/ 16 w 394"/>
                <a:gd name="T5" fmla="*/ 33 h 33"/>
                <a:gd name="T6" fmla="*/ 10 w 394"/>
                <a:gd name="T7" fmla="*/ 32 h 33"/>
                <a:gd name="T8" fmla="*/ 4 w 394"/>
                <a:gd name="T9" fmla="*/ 28 h 33"/>
                <a:gd name="T10" fmla="*/ 1 w 394"/>
                <a:gd name="T11" fmla="*/ 23 h 33"/>
                <a:gd name="T12" fmla="*/ 0 w 394"/>
                <a:gd name="T13" fmla="*/ 17 h 33"/>
                <a:gd name="T14" fmla="*/ 0 w 394"/>
                <a:gd name="T15" fmla="*/ 17 h 33"/>
                <a:gd name="T16" fmla="*/ 1 w 394"/>
                <a:gd name="T17" fmla="*/ 10 h 33"/>
                <a:gd name="T18" fmla="*/ 4 w 394"/>
                <a:gd name="T19" fmla="*/ 6 h 33"/>
                <a:gd name="T20" fmla="*/ 10 w 394"/>
                <a:gd name="T21" fmla="*/ 1 h 33"/>
                <a:gd name="T22" fmla="*/ 16 w 394"/>
                <a:gd name="T23" fmla="*/ 0 h 33"/>
                <a:gd name="T24" fmla="*/ 377 w 394"/>
                <a:gd name="T25" fmla="*/ 0 h 33"/>
                <a:gd name="T26" fmla="*/ 377 w 394"/>
                <a:gd name="T27" fmla="*/ 0 h 33"/>
                <a:gd name="T28" fmla="*/ 383 w 394"/>
                <a:gd name="T29" fmla="*/ 1 h 33"/>
                <a:gd name="T30" fmla="*/ 389 w 394"/>
                <a:gd name="T31" fmla="*/ 6 h 33"/>
                <a:gd name="T32" fmla="*/ 392 w 394"/>
                <a:gd name="T33" fmla="*/ 10 h 33"/>
                <a:gd name="T34" fmla="*/ 394 w 394"/>
                <a:gd name="T35" fmla="*/ 17 h 33"/>
                <a:gd name="T36" fmla="*/ 394 w 394"/>
                <a:gd name="T37" fmla="*/ 17 h 33"/>
                <a:gd name="T38" fmla="*/ 392 w 394"/>
                <a:gd name="T39" fmla="*/ 23 h 33"/>
                <a:gd name="T40" fmla="*/ 389 w 394"/>
                <a:gd name="T41" fmla="*/ 28 h 33"/>
                <a:gd name="T42" fmla="*/ 383 w 394"/>
                <a:gd name="T43" fmla="*/ 32 h 33"/>
                <a:gd name="T44" fmla="*/ 377 w 394"/>
                <a:gd name="T45" fmla="*/ 33 h 33"/>
                <a:gd name="T46" fmla="*/ 377 w 394"/>
                <a:gd name="T4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4" h="33">
                  <a:moveTo>
                    <a:pt x="377" y="33"/>
                  </a:moveTo>
                  <a:lnTo>
                    <a:pt x="16" y="33"/>
                  </a:lnTo>
                  <a:lnTo>
                    <a:pt x="16" y="33"/>
                  </a:lnTo>
                  <a:lnTo>
                    <a:pt x="10" y="32"/>
                  </a:lnTo>
                  <a:lnTo>
                    <a:pt x="4" y="28"/>
                  </a:lnTo>
                  <a:lnTo>
                    <a:pt x="1" y="23"/>
                  </a:lnTo>
                  <a:lnTo>
                    <a:pt x="0" y="17"/>
                  </a:lnTo>
                  <a:lnTo>
                    <a:pt x="0" y="17"/>
                  </a:lnTo>
                  <a:lnTo>
                    <a:pt x="1" y="10"/>
                  </a:lnTo>
                  <a:lnTo>
                    <a:pt x="4" y="6"/>
                  </a:lnTo>
                  <a:lnTo>
                    <a:pt x="10" y="1"/>
                  </a:lnTo>
                  <a:lnTo>
                    <a:pt x="16" y="0"/>
                  </a:lnTo>
                  <a:lnTo>
                    <a:pt x="377" y="0"/>
                  </a:lnTo>
                  <a:lnTo>
                    <a:pt x="377" y="0"/>
                  </a:lnTo>
                  <a:lnTo>
                    <a:pt x="383" y="1"/>
                  </a:lnTo>
                  <a:lnTo>
                    <a:pt x="389" y="6"/>
                  </a:lnTo>
                  <a:lnTo>
                    <a:pt x="392" y="10"/>
                  </a:lnTo>
                  <a:lnTo>
                    <a:pt x="394" y="17"/>
                  </a:lnTo>
                  <a:lnTo>
                    <a:pt x="394" y="17"/>
                  </a:lnTo>
                  <a:lnTo>
                    <a:pt x="392" y="23"/>
                  </a:lnTo>
                  <a:lnTo>
                    <a:pt x="389" y="28"/>
                  </a:lnTo>
                  <a:lnTo>
                    <a:pt x="383" y="32"/>
                  </a:lnTo>
                  <a:lnTo>
                    <a:pt x="377" y="33"/>
                  </a:lnTo>
                  <a:lnTo>
                    <a:pt x="377"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8" name="Freeform 10"/>
            <p:cNvSpPr>
              <a:spLocks/>
            </p:cNvSpPr>
            <p:nvPr/>
          </p:nvSpPr>
          <p:spPr bwMode="auto">
            <a:xfrm>
              <a:off x="-4198938" y="4275138"/>
              <a:ext cx="100013" cy="182563"/>
            </a:xfrm>
            <a:custGeom>
              <a:avLst/>
              <a:gdLst>
                <a:gd name="T0" fmla="*/ 18 w 127"/>
                <a:gd name="T1" fmla="*/ 231 h 231"/>
                <a:gd name="T2" fmla="*/ 18 w 127"/>
                <a:gd name="T3" fmla="*/ 231 h 231"/>
                <a:gd name="T4" fmla="*/ 10 w 127"/>
                <a:gd name="T5" fmla="*/ 231 h 231"/>
                <a:gd name="T6" fmla="*/ 6 w 127"/>
                <a:gd name="T7" fmla="*/ 226 h 231"/>
                <a:gd name="T8" fmla="*/ 6 w 127"/>
                <a:gd name="T9" fmla="*/ 226 h 231"/>
                <a:gd name="T10" fmla="*/ 2 w 127"/>
                <a:gd name="T11" fmla="*/ 221 h 231"/>
                <a:gd name="T12" fmla="*/ 0 w 127"/>
                <a:gd name="T13" fmla="*/ 215 h 231"/>
                <a:gd name="T14" fmla="*/ 2 w 127"/>
                <a:gd name="T15" fmla="*/ 209 h 231"/>
                <a:gd name="T16" fmla="*/ 6 w 127"/>
                <a:gd name="T17" fmla="*/ 203 h 231"/>
                <a:gd name="T18" fmla="*/ 94 w 127"/>
                <a:gd name="T19" fmla="*/ 115 h 231"/>
                <a:gd name="T20" fmla="*/ 6 w 127"/>
                <a:gd name="T21" fmla="*/ 28 h 231"/>
                <a:gd name="T22" fmla="*/ 6 w 127"/>
                <a:gd name="T23" fmla="*/ 28 h 231"/>
                <a:gd name="T24" fmla="*/ 2 w 127"/>
                <a:gd name="T25" fmla="*/ 22 h 231"/>
                <a:gd name="T26" fmla="*/ 0 w 127"/>
                <a:gd name="T27" fmla="*/ 16 h 231"/>
                <a:gd name="T28" fmla="*/ 2 w 127"/>
                <a:gd name="T29" fmla="*/ 11 h 231"/>
                <a:gd name="T30" fmla="*/ 6 w 127"/>
                <a:gd name="T31" fmla="*/ 5 h 231"/>
                <a:gd name="T32" fmla="*/ 6 w 127"/>
                <a:gd name="T33" fmla="*/ 5 h 231"/>
                <a:gd name="T34" fmla="*/ 10 w 127"/>
                <a:gd name="T35" fmla="*/ 2 h 231"/>
                <a:gd name="T36" fmla="*/ 18 w 127"/>
                <a:gd name="T37" fmla="*/ 0 h 231"/>
                <a:gd name="T38" fmla="*/ 24 w 127"/>
                <a:gd name="T39" fmla="*/ 2 h 231"/>
                <a:gd name="T40" fmla="*/ 30 w 127"/>
                <a:gd name="T41" fmla="*/ 5 h 231"/>
                <a:gd name="T42" fmla="*/ 118 w 127"/>
                <a:gd name="T43" fmla="*/ 93 h 231"/>
                <a:gd name="T44" fmla="*/ 118 w 127"/>
                <a:gd name="T45" fmla="*/ 93 h 231"/>
                <a:gd name="T46" fmla="*/ 122 w 127"/>
                <a:gd name="T47" fmla="*/ 99 h 231"/>
                <a:gd name="T48" fmla="*/ 125 w 127"/>
                <a:gd name="T49" fmla="*/ 103 h 231"/>
                <a:gd name="T50" fmla="*/ 127 w 127"/>
                <a:gd name="T51" fmla="*/ 109 h 231"/>
                <a:gd name="T52" fmla="*/ 127 w 127"/>
                <a:gd name="T53" fmla="*/ 116 h 231"/>
                <a:gd name="T54" fmla="*/ 127 w 127"/>
                <a:gd name="T55" fmla="*/ 116 h 231"/>
                <a:gd name="T56" fmla="*/ 127 w 127"/>
                <a:gd name="T57" fmla="*/ 122 h 231"/>
                <a:gd name="T58" fmla="*/ 125 w 127"/>
                <a:gd name="T59" fmla="*/ 128 h 231"/>
                <a:gd name="T60" fmla="*/ 122 w 127"/>
                <a:gd name="T61" fmla="*/ 132 h 231"/>
                <a:gd name="T62" fmla="*/ 118 w 127"/>
                <a:gd name="T63" fmla="*/ 138 h 231"/>
                <a:gd name="T64" fmla="*/ 28 w 127"/>
                <a:gd name="T65" fmla="*/ 226 h 231"/>
                <a:gd name="T66" fmla="*/ 28 w 127"/>
                <a:gd name="T67" fmla="*/ 226 h 231"/>
                <a:gd name="T68" fmla="*/ 24 w 127"/>
                <a:gd name="T69" fmla="*/ 231 h 231"/>
                <a:gd name="T70" fmla="*/ 18 w 127"/>
                <a:gd name="T71" fmla="*/ 231 h 231"/>
                <a:gd name="T72" fmla="*/ 18 w 127"/>
                <a:gd name="T73"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31">
                  <a:moveTo>
                    <a:pt x="18" y="231"/>
                  </a:moveTo>
                  <a:lnTo>
                    <a:pt x="18" y="231"/>
                  </a:lnTo>
                  <a:lnTo>
                    <a:pt x="10" y="231"/>
                  </a:lnTo>
                  <a:lnTo>
                    <a:pt x="6" y="226"/>
                  </a:lnTo>
                  <a:lnTo>
                    <a:pt x="6" y="226"/>
                  </a:lnTo>
                  <a:lnTo>
                    <a:pt x="2" y="221"/>
                  </a:lnTo>
                  <a:lnTo>
                    <a:pt x="0" y="215"/>
                  </a:lnTo>
                  <a:lnTo>
                    <a:pt x="2" y="209"/>
                  </a:lnTo>
                  <a:lnTo>
                    <a:pt x="6" y="203"/>
                  </a:lnTo>
                  <a:lnTo>
                    <a:pt x="94" y="115"/>
                  </a:lnTo>
                  <a:lnTo>
                    <a:pt x="6" y="28"/>
                  </a:lnTo>
                  <a:lnTo>
                    <a:pt x="6" y="28"/>
                  </a:lnTo>
                  <a:lnTo>
                    <a:pt x="2" y="22"/>
                  </a:lnTo>
                  <a:lnTo>
                    <a:pt x="0" y="16"/>
                  </a:lnTo>
                  <a:lnTo>
                    <a:pt x="2" y="11"/>
                  </a:lnTo>
                  <a:lnTo>
                    <a:pt x="6" y="5"/>
                  </a:lnTo>
                  <a:lnTo>
                    <a:pt x="6" y="5"/>
                  </a:lnTo>
                  <a:lnTo>
                    <a:pt x="10" y="2"/>
                  </a:lnTo>
                  <a:lnTo>
                    <a:pt x="18" y="0"/>
                  </a:lnTo>
                  <a:lnTo>
                    <a:pt x="24" y="2"/>
                  </a:lnTo>
                  <a:lnTo>
                    <a:pt x="30" y="5"/>
                  </a:lnTo>
                  <a:lnTo>
                    <a:pt x="118" y="93"/>
                  </a:lnTo>
                  <a:lnTo>
                    <a:pt x="118" y="93"/>
                  </a:lnTo>
                  <a:lnTo>
                    <a:pt x="122" y="99"/>
                  </a:lnTo>
                  <a:lnTo>
                    <a:pt x="125" y="103"/>
                  </a:lnTo>
                  <a:lnTo>
                    <a:pt x="127" y="109"/>
                  </a:lnTo>
                  <a:lnTo>
                    <a:pt x="127" y="116"/>
                  </a:lnTo>
                  <a:lnTo>
                    <a:pt x="127" y="116"/>
                  </a:lnTo>
                  <a:lnTo>
                    <a:pt x="127" y="122"/>
                  </a:lnTo>
                  <a:lnTo>
                    <a:pt x="125" y="128"/>
                  </a:lnTo>
                  <a:lnTo>
                    <a:pt x="122" y="132"/>
                  </a:lnTo>
                  <a:lnTo>
                    <a:pt x="118" y="138"/>
                  </a:lnTo>
                  <a:lnTo>
                    <a:pt x="28" y="226"/>
                  </a:lnTo>
                  <a:lnTo>
                    <a:pt x="28" y="226"/>
                  </a:lnTo>
                  <a:lnTo>
                    <a:pt x="24" y="231"/>
                  </a:lnTo>
                  <a:lnTo>
                    <a:pt x="18" y="231"/>
                  </a:lnTo>
                  <a:lnTo>
                    <a:pt x="18" y="2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09" name="TextBox 108"/>
          <p:cNvSpPr txBox="1"/>
          <p:nvPr/>
        </p:nvSpPr>
        <p:spPr>
          <a:xfrm>
            <a:off x="2030405" y="1481434"/>
            <a:ext cx="1111759" cy="696823"/>
          </a:xfrm>
          <a:prstGeom prst="rect">
            <a:avLst/>
          </a:prstGeom>
          <a:noFill/>
        </p:spPr>
        <p:txBody>
          <a:bodyPr wrap="square" lIns="0" tIns="149195" rIns="186494" bIns="149195" rtlCol="0">
            <a:noAutofit/>
          </a:bodyPr>
          <a:lstStyle/>
          <a:p>
            <a:pPr defTabSz="951121">
              <a:lnSpc>
                <a:spcPct val="90000"/>
              </a:lnSpc>
              <a:spcAft>
                <a:spcPts val="612"/>
              </a:spcAft>
            </a:pPr>
            <a:r>
              <a:rPr lang="en-US" sz="1428" spc="-31" dirty="0">
                <a:solidFill>
                  <a:schemeClr val="bg2"/>
                </a:solidFill>
                <a:latin typeface="Segoe UI Semilight" panose="020B0402040204020203" pitchFamily="34" charset="0"/>
                <a:cs typeface="Segoe UI Semilight" panose="020B0402040204020203" pitchFamily="34" charset="0"/>
              </a:rPr>
              <a:t>Business apps</a:t>
            </a:r>
          </a:p>
        </p:txBody>
      </p:sp>
      <p:sp>
        <p:nvSpPr>
          <p:cNvPr id="110" name="TextBox 109"/>
          <p:cNvSpPr txBox="1"/>
          <p:nvPr/>
        </p:nvSpPr>
        <p:spPr>
          <a:xfrm>
            <a:off x="1982333" y="2818921"/>
            <a:ext cx="1111759" cy="696823"/>
          </a:xfrm>
          <a:prstGeom prst="rect">
            <a:avLst/>
          </a:prstGeom>
          <a:noFill/>
        </p:spPr>
        <p:txBody>
          <a:bodyPr wrap="square" lIns="0" tIns="149195" rIns="186494" bIns="149195" rtlCol="0">
            <a:noAutofit/>
          </a:bodyPr>
          <a:lstStyle/>
          <a:p>
            <a:pPr defTabSz="951121">
              <a:lnSpc>
                <a:spcPct val="90000"/>
              </a:lnSpc>
              <a:spcBef>
                <a:spcPct val="0"/>
              </a:spcBef>
              <a:spcAft>
                <a:spcPts val="612"/>
              </a:spcAft>
            </a:pPr>
            <a:r>
              <a:rPr lang="en-US" sz="1428" spc="-31" dirty="0">
                <a:solidFill>
                  <a:schemeClr val="bg2"/>
                </a:solidFill>
                <a:latin typeface="Segoe UI Semilight" panose="020B0402040204020203" pitchFamily="34" charset="0"/>
                <a:cs typeface="Segoe UI Semilight" panose="020B0402040204020203" pitchFamily="34" charset="0"/>
              </a:rPr>
              <a:t>Custom apps</a:t>
            </a:r>
          </a:p>
        </p:txBody>
      </p:sp>
      <p:sp>
        <p:nvSpPr>
          <p:cNvPr id="111" name="TextBox 110"/>
          <p:cNvSpPr txBox="1"/>
          <p:nvPr/>
        </p:nvSpPr>
        <p:spPr>
          <a:xfrm>
            <a:off x="2030404" y="4016736"/>
            <a:ext cx="1390860" cy="894582"/>
          </a:xfrm>
          <a:prstGeom prst="rect">
            <a:avLst/>
          </a:prstGeom>
          <a:noFill/>
        </p:spPr>
        <p:txBody>
          <a:bodyPr wrap="square" lIns="0" tIns="149195" rIns="186494" bIns="149195" rtlCol="0">
            <a:noAutofit/>
          </a:bodyPr>
          <a:lstStyle/>
          <a:p>
            <a:pPr defTabSz="951121">
              <a:lnSpc>
                <a:spcPct val="90000"/>
              </a:lnSpc>
              <a:spcBef>
                <a:spcPct val="0"/>
              </a:spcBef>
              <a:spcAft>
                <a:spcPts val="612"/>
              </a:spcAft>
            </a:pPr>
            <a:r>
              <a:rPr lang="en-US" sz="1428" spc="-31" dirty="0">
                <a:solidFill>
                  <a:schemeClr val="bg2"/>
                </a:solidFill>
                <a:latin typeface="Segoe UI Semilight" panose="020B0402040204020203" pitchFamily="34" charset="0"/>
                <a:cs typeface="Segoe UI Semilight" panose="020B0402040204020203" pitchFamily="34" charset="0"/>
              </a:rPr>
              <a:t>Sensors </a:t>
            </a:r>
            <a:br>
              <a:rPr lang="en-US" sz="1428" spc="-31" dirty="0">
                <a:solidFill>
                  <a:schemeClr val="bg2"/>
                </a:solidFill>
                <a:latin typeface="Segoe UI Semilight" panose="020B0402040204020203" pitchFamily="34" charset="0"/>
                <a:cs typeface="Segoe UI Semilight" panose="020B0402040204020203" pitchFamily="34" charset="0"/>
              </a:rPr>
            </a:br>
            <a:r>
              <a:rPr lang="en-US" sz="1428" spc="-31" dirty="0">
                <a:solidFill>
                  <a:schemeClr val="bg2"/>
                </a:solidFill>
                <a:latin typeface="Segoe UI Semilight" panose="020B0402040204020203" pitchFamily="34" charset="0"/>
                <a:cs typeface="Segoe UI Semilight" panose="020B0402040204020203" pitchFamily="34" charset="0"/>
              </a:rPr>
              <a:t>and </a:t>
            </a:r>
            <a:br>
              <a:rPr lang="en-US" sz="1428" spc="-31" dirty="0">
                <a:solidFill>
                  <a:schemeClr val="bg2"/>
                </a:solidFill>
                <a:latin typeface="Segoe UI Semilight" panose="020B0402040204020203" pitchFamily="34" charset="0"/>
                <a:cs typeface="Segoe UI Semilight" panose="020B0402040204020203" pitchFamily="34" charset="0"/>
              </a:rPr>
            </a:br>
            <a:r>
              <a:rPr lang="en-US" sz="1428" spc="-31" dirty="0">
                <a:solidFill>
                  <a:schemeClr val="bg2"/>
                </a:solidFill>
                <a:latin typeface="Segoe UI Semilight" panose="020B0402040204020203" pitchFamily="34" charset="0"/>
                <a:cs typeface="Segoe UI Semilight" panose="020B0402040204020203" pitchFamily="34" charset="0"/>
              </a:rPr>
              <a:t>devices</a:t>
            </a:r>
          </a:p>
        </p:txBody>
      </p:sp>
      <p:sp>
        <p:nvSpPr>
          <p:cNvPr id="112" name="TextBox 111"/>
          <p:cNvSpPr txBox="1"/>
          <p:nvPr/>
        </p:nvSpPr>
        <p:spPr>
          <a:xfrm>
            <a:off x="10074183" y="1580314"/>
            <a:ext cx="1111758" cy="499063"/>
          </a:xfrm>
          <a:prstGeom prst="rect">
            <a:avLst/>
          </a:prstGeom>
          <a:noFill/>
        </p:spPr>
        <p:txBody>
          <a:bodyPr wrap="square" lIns="186494" tIns="149195" rIns="186494" bIns="149195" rtlCol="0">
            <a:spAutoFit/>
          </a:bodyPr>
          <a:lstStyle/>
          <a:p>
            <a:pPr defTabSz="951121">
              <a:lnSpc>
                <a:spcPct val="90000"/>
              </a:lnSpc>
              <a:spcBef>
                <a:spcPct val="0"/>
              </a:spcBef>
              <a:spcAft>
                <a:spcPts val="612"/>
              </a:spcAft>
            </a:pPr>
            <a:r>
              <a:rPr lang="en-US" sz="1428" spc="-31" dirty="0">
                <a:solidFill>
                  <a:schemeClr val="bg2"/>
                </a:solidFill>
                <a:latin typeface="Segoe UI Semilight" panose="020B0402040204020203" pitchFamily="34" charset="0"/>
                <a:cs typeface="Segoe UI Semilight" panose="020B0402040204020203" pitchFamily="34" charset="0"/>
              </a:rPr>
              <a:t>People</a:t>
            </a:r>
          </a:p>
        </p:txBody>
      </p:sp>
      <p:sp>
        <p:nvSpPr>
          <p:cNvPr id="113" name="TextBox 112"/>
          <p:cNvSpPr txBox="1"/>
          <p:nvPr/>
        </p:nvSpPr>
        <p:spPr>
          <a:xfrm>
            <a:off x="10355285" y="4266268"/>
            <a:ext cx="1636247" cy="403366"/>
          </a:xfrm>
          <a:prstGeom prst="rect">
            <a:avLst/>
          </a:prstGeom>
          <a:noFill/>
        </p:spPr>
        <p:txBody>
          <a:bodyPr wrap="square" lIns="0" tIns="0" rIns="0" bIns="0" rtlCol="0">
            <a:spAutoFit/>
          </a:bodyPr>
          <a:lstStyle/>
          <a:p>
            <a:pPr defTabSz="951121">
              <a:lnSpc>
                <a:spcPct val="90000"/>
              </a:lnSpc>
              <a:spcBef>
                <a:spcPct val="0"/>
              </a:spcBef>
              <a:spcAft>
                <a:spcPts val="612"/>
              </a:spcAft>
            </a:pPr>
            <a:r>
              <a:rPr lang="en-US" sz="1428" spc="-31" dirty="0">
                <a:solidFill>
                  <a:schemeClr val="bg2"/>
                </a:solidFill>
                <a:latin typeface="Segoe UI Semilight" panose="020B0402040204020203" pitchFamily="34" charset="0"/>
                <a:cs typeface="Segoe UI Semilight" panose="020B0402040204020203" pitchFamily="34" charset="0"/>
              </a:rPr>
              <a:t>Automated </a:t>
            </a:r>
            <a:br>
              <a:rPr lang="en-US" sz="1428" spc="-31" dirty="0">
                <a:solidFill>
                  <a:schemeClr val="bg2"/>
                </a:solidFill>
                <a:latin typeface="Segoe UI Semilight" panose="020B0402040204020203" pitchFamily="34" charset="0"/>
                <a:cs typeface="Segoe UI Semilight" panose="020B0402040204020203" pitchFamily="34" charset="0"/>
              </a:rPr>
            </a:br>
            <a:r>
              <a:rPr lang="en-US" sz="1428" spc="-31" dirty="0">
                <a:solidFill>
                  <a:schemeClr val="bg2"/>
                </a:solidFill>
                <a:latin typeface="Segoe UI Semilight" panose="020B0402040204020203" pitchFamily="34" charset="0"/>
                <a:cs typeface="Segoe UI Semilight" panose="020B0402040204020203" pitchFamily="34" charset="0"/>
              </a:rPr>
              <a:t>systems</a:t>
            </a:r>
          </a:p>
        </p:txBody>
      </p:sp>
      <p:sp>
        <p:nvSpPr>
          <p:cNvPr id="116" name="Rectangle 115"/>
          <p:cNvSpPr/>
          <p:nvPr/>
        </p:nvSpPr>
        <p:spPr>
          <a:xfrm>
            <a:off x="2030405" y="5583497"/>
            <a:ext cx="952182" cy="327537"/>
          </a:xfrm>
          <a:prstGeom prst="rect">
            <a:avLst/>
          </a:prstGeom>
        </p:spPr>
        <p:txBody>
          <a:bodyPr wrap="none" lIns="0" tIns="0" rIns="0" bIns="0" anchor="ctr">
            <a:noAutofit/>
          </a:bodyPr>
          <a:lstStyle/>
          <a:p>
            <a:pPr>
              <a:lnSpc>
                <a:spcPct val="90000"/>
              </a:lnSpc>
            </a:pPr>
            <a:r>
              <a:rPr lang="en-US" sz="2448" dirty="0">
                <a:solidFill>
                  <a:schemeClr val="bg2"/>
                </a:solidFill>
                <a:latin typeface="+mj-lt"/>
              </a:rPr>
              <a:t>Data</a:t>
            </a:r>
          </a:p>
        </p:txBody>
      </p:sp>
      <p:sp>
        <p:nvSpPr>
          <p:cNvPr id="119" name="Rectangle 118"/>
          <p:cNvSpPr/>
          <p:nvPr/>
        </p:nvSpPr>
        <p:spPr>
          <a:xfrm>
            <a:off x="5430604" y="5555163"/>
            <a:ext cx="1515566" cy="384205"/>
          </a:xfrm>
          <a:prstGeom prst="rect">
            <a:avLst/>
          </a:prstGeom>
        </p:spPr>
        <p:txBody>
          <a:bodyPr wrap="none" lIns="0" tIns="0" rIns="0" bIns="0" anchor="ctr">
            <a:spAutoFit/>
          </a:bodyPr>
          <a:lstStyle/>
          <a:p>
            <a:pPr algn="ctr" defTabSz="739440">
              <a:spcBef>
                <a:spcPct val="0"/>
              </a:spcBef>
              <a:spcAft>
                <a:spcPct val="35000"/>
              </a:spcAft>
            </a:pPr>
            <a:r>
              <a:rPr lang="en-US" sz="2448" dirty="0">
                <a:solidFill>
                  <a:schemeClr val="bg2"/>
                </a:solidFill>
                <a:latin typeface="+mj-lt"/>
              </a:rPr>
              <a:t>Intelligence</a:t>
            </a:r>
            <a:endParaRPr lang="en-US" sz="1836" b="1" spc="-31" dirty="0">
              <a:solidFill>
                <a:schemeClr val="bg2"/>
              </a:solidFill>
              <a:latin typeface="Segoe UI Semilight" panose="020B0402040204020203" pitchFamily="34" charset="0"/>
              <a:cs typeface="Segoe UI Semilight" panose="020B0402040204020203" pitchFamily="34" charset="0"/>
            </a:endParaRPr>
          </a:p>
        </p:txBody>
      </p:sp>
      <p:grpSp>
        <p:nvGrpSpPr>
          <p:cNvPr id="120" name="Group 119"/>
          <p:cNvGrpSpPr/>
          <p:nvPr/>
        </p:nvGrpSpPr>
        <p:grpSpPr>
          <a:xfrm>
            <a:off x="9583270" y="1575468"/>
            <a:ext cx="498045" cy="508756"/>
            <a:chOff x="6112510" y="6954657"/>
            <a:chExt cx="1181100" cy="1206500"/>
          </a:xfrm>
          <a:solidFill>
            <a:schemeClr val="accent1"/>
          </a:solidFill>
        </p:grpSpPr>
        <p:sp>
          <p:nvSpPr>
            <p:cNvPr id="121"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2"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9"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0"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141" name="Group 140"/>
          <p:cNvGrpSpPr/>
          <p:nvPr/>
        </p:nvGrpSpPr>
        <p:grpSpPr>
          <a:xfrm>
            <a:off x="9615458" y="4131099"/>
            <a:ext cx="532685" cy="665856"/>
            <a:chOff x="2954338" y="6831013"/>
            <a:chExt cx="1041400" cy="1301750"/>
          </a:xfrm>
          <a:solidFill>
            <a:schemeClr val="accent1"/>
          </a:solidFill>
        </p:grpSpPr>
        <p:sp>
          <p:nvSpPr>
            <p:cNvPr id="142"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3260" tIns="46630" rIns="93260" bIns="46630" numCol="1" anchor="t" anchorCtr="0" compatLnSpc="1">
              <a:prstTxWarp prst="textNoShape">
                <a:avLst/>
              </a:prstTxWarp>
            </a:bodyPr>
            <a:lstStyle/>
            <a:p>
              <a:endParaRPr lang="en-US" sz="1836"/>
            </a:p>
          </p:txBody>
        </p:sp>
        <p:sp>
          <p:nvSpPr>
            <p:cNvPr id="143"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3260" tIns="46630" rIns="93260" bIns="46630" numCol="1" anchor="t" anchorCtr="0" compatLnSpc="1">
              <a:prstTxWarp prst="textNoShape">
                <a:avLst/>
              </a:prstTxWarp>
            </a:bodyPr>
            <a:lstStyle/>
            <a:p>
              <a:endParaRPr lang="en-US" sz="1836"/>
            </a:p>
          </p:txBody>
        </p:sp>
      </p:grpSp>
      <p:sp>
        <p:nvSpPr>
          <p:cNvPr id="144" name="Freeform 539"/>
          <p:cNvSpPr>
            <a:spLocks noChangeAspect="1"/>
          </p:cNvSpPr>
          <p:nvPr/>
        </p:nvSpPr>
        <p:spPr bwMode="auto">
          <a:xfrm>
            <a:off x="4179135" y="2023386"/>
            <a:ext cx="4019002" cy="2209595"/>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bg1">
              <a:lumMod val="20000"/>
              <a:lumOff val="80000"/>
            </a:schemeClr>
          </a:solidFill>
          <a:ln w="28575">
            <a:noFill/>
          </a:ln>
          <a:extLst/>
        </p:spPr>
        <p:txBody>
          <a:bodyPr vert="horz" wrap="square" lIns="93247" tIns="46623" rIns="93247" bIns="46623" numCol="1" anchor="t" anchorCtr="0" compatLnSpc="1">
            <a:prstTxWarp prst="textNoShape">
              <a:avLst/>
            </a:prstTxWarp>
          </a:bodyPr>
          <a:lstStyle/>
          <a:p>
            <a:pPr defTabSz="951121"/>
            <a:endParaRPr lang="en-US" sz="1071" dirty="0">
              <a:solidFill>
                <a:srgbClr val="333333"/>
              </a:solidFill>
            </a:endParaRPr>
          </a:p>
        </p:txBody>
      </p:sp>
      <p:sp>
        <p:nvSpPr>
          <p:cNvPr id="145" name="TextBox 144"/>
          <p:cNvSpPr txBox="1"/>
          <p:nvPr/>
        </p:nvSpPr>
        <p:spPr>
          <a:xfrm>
            <a:off x="4791744" y="4240403"/>
            <a:ext cx="2832692" cy="583860"/>
          </a:xfrm>
          <a:prstGeom prst="rect">
            <a:avLst/>
          </a:prstGeom>
          <a:noFill/>
        </p:spPr>
        <p:txBody>
          <a:bodyPr wrap="square" lIns="186521" tIns="149217" rIns="186521" bIns="149217" rtlCol="0">
            <a:spAutoFit/>
          </a:bodyPr>
          <a:lstStyle/>
          <a:p>
            <a:pPr algn="ctr">
              <a:lnSpc>
                <a:spcPct val="90000"/>
              </a:lnSpc>
            </a:pPr>
            <a:r>
              <a:rPr lang="en-US" sz="2040" dirty="0">
                <a:solidFill>
                  <a:schemeClr val="bg2"/>
                </a:solidFill>
                <a:latin typeface="+mj-lt"/>
              </a:rPr>
              <a:t>Cortana Intelligence</a:t>
            </a:r>
          </a:p>
        </p:txBody>
      </p:sp>
      <p:grpSp>
        <p:nvGrpSpPr>
          <p:cNvPr id="149" name="Group 148"/>
          <p:cNvGrpSpPr/>
          <p:nvPr/>
        </p:nvGrpSpPr>
        <p:grpSpPr>
          <a:xfrm>
            <a:off x="3333527" y="5654710"/>
            <a:ext cx="1383700" cy="185111"/>
            <a:chOff x="3299791" y="5593822"/>
            <a:chExt cx="1356692" cy="181498"/>
          </a:xfrm>
          <a:solidFill>
            <a:schemeClr val="tx1">
              <a:lumMod val="85000"/>
            </a:schemeClr>
          </a:solidFill>
        </p:grpSpPr>
        <p:cxnSp>
          <p:nvCxnSpPr>
            <p:cNvPr id="150" name="Straight Connector 149"/>
            <p:cNvCxnSpPr/>
            <p:nvPr/>
          </p:nvCxnSpPr>
          <p:spPr>
            <a:xfrm>
              <a:off x="3299791" y="5685183"/>
              <a:ext cx="1356692"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51" name="Group 150"/>
            <p:cNvGrpSpPr/>
            <p:nvPr/>
          </p:nvGrpSpPr>
          <p:grpSpPr>
            <a:xfrm rot="13500000">
              <a:off x="4445751" y="5595178"/>
              <a:ext cx="181498" cy="178786"/>
              <a:chOff x="402446" y="5872915"/>
              <a:chExt cx="292608" cy="288235"/>
            </a:xfrm>
            <a:grpFill/>
          </p:grpSpPr>
          <p:cxnSp>
            <p:nvCxnSpPr>
              <p:cNvPr id="152" name="Straight Connector 151"/>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54" name="Group 153"/>
          <p:cNvGrpSpPr/>
          <p:nvPr/>
        </p:nvGrpSpPr>
        <p:grpSpPr>
          <a:xfrm>
            <a:off x="7838922" y="5654710"/>
            <a:ext cx="1383700" cy="185111"/>
            <a:chOff x="3299791" y="5593822"/>
            <a:chExt cx="1356692" cy="181498"/>
          </a:xfrm>
          <a:solidFill>
            <a:schemeClr val="tx1">
              <a:lumMod val="85000"/>
            </a:schemeClr>
          </a:solidFill>
        </p:grpSpPr>
        <p:cxnSp>
          <p:nvCxnSpPr>
            <p:cNvPr id="155" name="Straight Connector 154"/>
            <p:cNvCxnSpPr/>
            <p:nvPr/>
          </p:nvCxnSpPr>
          <p:spPr>
            <a:xfrm>
              <a:off x="3299791" y="5685183"/>
              <a:ext cx="1356692"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56" name="Group 155"/>
            <p:cNvGrpSpPr/>
            <p:nvPr/>
          </p:nvGrpSpPr>
          <p:grpSpPr>
            <a:xfrm rot="13500000">
              <a:off x="4445751" y="5595178"/>
              <a:ext cx="181498" cy="178786"/>
              <a:chOff x="402446" y="5872915"/>
              <a:chExt cx="292608" cy="288235"/>
            </a:xfrm>
            <a:grpFill/>
          </p:grpSpPr>
          <p:cxnSp>
            <p:nvCxnSpPr>
              <p:cNvPr id="157" name="Straight Connector 156"/>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59" name="Rectangle 158"/>
          <p:cNvSpPr/>
          <p:nvPr/>
        </p:nvSpPr>
        <p:spPr>
          <a:xfrm>
            <a:off x="10023085" y="5580045"/>
            <a:ext cx="1530480" cy="334440"/>
          </a:xfrm>
          <a:prstGeom prst="rect">
            <a:avLst/>
          </a:prstGeom>
        </p:spPr>
        <p:txBody>
          <a:bodyPr wrap="none" lIns="0" tIns="0" rIns="0" bIns="0" anchor="ctr">
            <a:noAutofit/>
          </a:bodyPr>
          <a:lstStyle/>
          <a:p>
            <a:pPr>
              <a:lnSpc>
                <a:spcPct val="90000"/>
              </a:lnSpc>
            </a:pPr>
            <a:r>
              <a:rPr lang="en-US" sz="2448" dirty="0">
                <a:solidFill>
                  <a:schemeClr val="bg2"/>
                </a:solidFill>
                <a:latin typeface="+mj-lt"/>
              </a:rPr>
              <a:t>Action</a:t>
            </a:r>
          </a:p>
        </p:txBody>
      </p:sp>
      <p:sp>
        <p:nvSpPr>
          <p:cNvPr id="160" name="Freeform 539"/>
          <p:cNvSpPr>
            <a:spLocks noChangeAspect="1"/>
          </p:cNvSpPr>
          <p:nvPr/>
        </p:nvSpPr>
        <p:spPr bwMode="auto">
          <a:xfrm>
            <a:off x="4040834" y="1809979"/>
            <a:ext cx="817936" cy="44969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EEEEEE"/>
          </a:solidFill>
          <a:ln w="28575">
            <a:noFill/>
          </a:ln>
          <a:extLst/>
        </p:spPr>
        <p:txBody>
          <a:bodyPr vert="horz" wrap="square" lIns="93247" tIns="46623" rIns="93247" bIns="46623" numCol="1" anchor="t" anchorCtr="0" compatLnSpc="1">
            <a:prstTxWarp prst="textNoShape">
              <a:avLst/>
            </a:prstTxWarp>
          </a:bodyPr>
          <a:lstStyle/>
          <a:p>
            <a:pPr defTabSz="951121"/>
            <a:endParaRPr lang="en-US" sz="1071" dirty="0">
              <a:solidFill>
                <a:srgbClr val="333333"/>
              </a:solidFill>
            </a:endParaRPr>
          </a:p>
        </p:txBody>
      </p:sp>
      <p:sp>
        <p:nvSpPr>
          <p:cNvPr id="161" name="Freeform 539"/>
          <p:cNvSpPr>
            <a:spLocks noChangeAspect="1"/>
          </p:cNvSpPr>
          <p:nvPr/>
        </p:nvSpPr>
        <p:spPr bwMode="auto">
          <a:xfrm>
            <a:off x="3685888" y="4026245"/>
            <a:ext cx="461972" cy="253987"/>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EEEEEE"/>
          </a:solidFill>
          <a:ln w="28575">
            <a:noFill/>
          </a:ln>
          <a:extLst/>
        </p:spPr>
        <p:txBody>
          <a:bodyPr vert="horz" wrap="square" lIns="93247" tIns="46623" rIns="93247" bIns="46623" numCol="1" anchor="t" anchorCtr="0" compatLnSpc="1">
            <a:prstTxWarp prst="textNoShape">
              <a:avLst/>
            </a:prstTxWarp>
          </a:bodyPr>
          <a:lstStyle/>
          <a:p>
            <a:pPr defTabSz="951121"/>
            <a:endParaRPr lang="en-US" sz="1071" dirty="0">
              <a:solidFill>
                <a:srgbClr val="333333"/>
              </a:solidFill>
            </a:endParaRPr>
          </a:p>
        </p:txBody>
      </p:sp>
      <p:sp>
        <p:nvSpPr>
          <p:cNvPr id="162" name="Freeform 539"/>
          <p:cNvSpPr>
            <a:spLocks noChangeAspect="1"/>
          </p:cNvSpPr>
          <p:nvPr/>
        </p:nvSpPr>
        <p:spPr bwMode="auto">
          <a:xfrm>
            <a:off x="7137913" y="1826973"/>
            <a:ext cx="546507" cy="300463"/>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EEEEEE"/>
          </a:solidFill>
          <a:ln w="28575">
            <a:noFill/>
          </a:ln>
          <a:extLst/>
        </p:spPr>
        <p:txBody>
          <a:bodyPr vert="horz" wrap="square" lIns="93247" tIns="46623" rIns="93247" bIns="46623" numCol="1" anchor="t" anchorCtr="0" compatLnSpc="1">
            <a:prstTxWarp prst="textNoShape">
              <a:avLst/>
            </a:prstTxWarp>
          </a:bodyPr>
          <a:lstStyle/>
          <a:p>
            <a:pPr defTabSz="951121"/>
            <a:endParaRPr lang="en-US" sz="1071" dirty="0">
              <a:solidFill>
                <a:srgbClr val="333333"/>
              </a:solidFill>
            </a:endParaRPr>
          </a:p>
        </p:txBody>
      </p:sp>
      <p:sp>
        <p:nvSpPr>
          <p:cNvPr id="163" name="TextBox 162"/>
          <p:cNvSpPr txBox="1"/>
          <p:nvPr/>
        </p:nvSpPr>
        <p:spPr>
          <a:xfrm>
            <a:off x="10074183" y="2896086"/>
            <a:ext cx="1111758" cy="499063"/>
          </a:xfrm>
          <a:prstGeom prst="rect">
            <a:avLst/>
          </a:prstGeom>
          <a:noFill/>
        </p:spPr>
        <p:txBody>
          <a:bodyPr wrap="square" lIns="186494" tIns="149195" rIns="186494" bIns="149195" rtlCol="0">
            <a:spAutoFit/>
          </a:bodyPr>
          <a:lstStyle/>
          <a:p>
            <a:pPr defTabSz="951121">
              <a:lnSpc>
                <a:spcPct val="90000"/>
              </a:lnSpc>
              <a:spcBef>
                <a:spcPct val="0"/>
              </a:spcBef>
              <a:spcAft>
                <a:spcPts val="612"/>
              </a:spcAft>
            </a:pPr>
            <a:r>
              <a:rPr lang="en-US" sz="1428" spc="-31" dirty="0">
                <a:solidFill>
                  <a:schemeClr val="bg2"/>
                </a:solidFill>
                <a:latin typeface="Segoe UI Semilight" panose="020B0402040204020203" pitchFamily="34" charset="0"/>
                <a:cs typeface="Segoe UI Semilight" panose="020B0402040204020203" pitchFamily="34" charset="0"/>
              </a:rPr>
              <a:t>Apps</a:t>
            </a:r>
          </a:p>
        </p:txBody>
      </p:sp>
      <p:grpSp>
        <p:nvGrpSpPr>
          <p:cNvPr id="164" name="Group 163"/>
          <p:cNvGrpSpPr/>
          <p:nvPr/>
        </p:nvGrpSpPr>
        <p:grpSpPr>
          <a:xfrm>
            <a:off x="4599516" y="2265293"/>
            <a:ext cx="3174994" cy="1760526"/>
            <a:chOff x="4508874" y="2221077"/>
            <a:chExt cx="3113022" cy="1726163"/>
          </a:xfrm>
        </p:grpSpPr>
        <p:sp>
          <p:nvSpPr>
            <p:cNvPr id="165" name="Freeform 12"/>
            <p:cNvSpPr>
              <a:spLocks/>
            </p:cNvSpPr>
            <p:nvPr/>
          </p:nvSpPr>
          <p:spPr bwMode="auto">
            <a:xfrm>
              <a:off x="4508874"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78" name="Freeform 13"/>
            <p:cNvSpPr>
              <a:spLocks/>
            </p:cNvSpPr>
            <p:nvPr/>
          </p:nvSpPr>
          <p:spPr bwMode="auto">
            <a:xfrm>
              <a:off x="4903745"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83"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94"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95" name="Freeform 16"/>
            <p:cNvSpPr>
              <a:spLocks noEditPoints="1"/>
            </p:cNvSpPr>
            <p:nvPr/>
          </p:nvSpPr>
          <p:spPr bwMode="auto">
            <a:xfrm>
              <a:off x="5069687" y="3003551"/>
              <a:ext cx="208337" cy="208337"/>
            </a:xfrm>
            <a:custGeom>
              <a:avLst/>
              <a:gdLst>
                <a:gd name="T0" fmla="*/ 172 w 344"/>
                <a:gd name="T1" fmla="*/ 344 h 344"/>
                <a:gd name="T2" fmla="*/ 172 w 344"/>
                <a:gd name="T3" fmla="*/ 344 h 344"/>
                <a:gd name="T4" fmla="*/ 142 w 344"/>
                <a:gd name="T5" fmla="*/ 334 h 344"/>
                <a:gd name="T6" fmla="*/ 124 w 344"/>
                <a:gd name="T7" fmla="*/ 310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2 w 344"/>
                <a:gd name="T33" fmla="*/ 34 h 344"/>
                <a:gd name="T34" fmla="*/ 126 w 344"/>
                <a:gd name="T35" fmla="*/ 26 h 344"/>
                <a:gd name="T36" fmla="*/ 144 w 344"/>
                <a:gd name="T37" fmla="*/ 10 h 344"/>
                <a:gd name="T38" fmla="*/ 172 w 344"/>
                <a:gd name="T39" fmla="*/ 0 h 344"/>
                <a:gd name="T40" fmla="*/ 180 w 344"/>
                <a:gd name="T41" fmla="*/ 2 h 344"/>
                <a:gd name="T42" fmla="*/ 202 w 344"/>
                <a:gd name="T43" fmla="*/ 10 h 344"/>
                <a:gd name="T44" fmla="*/ 218 w 344"/>
                <a:gd name="T45" fmla="*/ 28 h 344"/>
                <a:gd name="T46" fmla="*/ 222 w 344"/>
                <a:gd name="T47" fmla="*/ 34 h 344"/>
                <a:gd name="T48" fmla="*/ 232 w 344"/>
                <a:gd name="T49" fmla="*/ 54 h 344"/>
                <a:gd name="T50" fmla="*/ 254 w 344"/>
                <a:gd name="T51" fmla="*/ 82 h 344"/>
                <a:gd name="T52" fmla="*/ 290 w 344"/>
                <a:gd name="T53" fmla="*/ 112 h 344"/>
                <a:gd name="T54" fmla="*/ 314 w 344"/>
                <a:gd name="T55" fmla="*/ 124 h 344"/>
                <a:gd name="T56" fmla="*/ 328 w 344"/>
                <a:gd name="T57" fmla="*/ 134 h 344"/>
                <a:gd name="T58" fmla="*/ 342 w 344"/>
                <a:gd name="T59" fmla="*/ 160 h 344"/>
                <a:gd name="T60" fmla="*/ 344 w 344"/>
                <a:gd name="T61" fmla="*/ 176 h 344"/>
                <a:gd name="T62" fmla="*/ 340 w 344"/>
                <a:gd name="T63" fmla="*/ 190 h 344"/>
                <a:gd name="T64" fmla="*/ 322 w 344"/>
                <a:gd name="T65" fmla="*/ 214 h 344"/>
                <a:gd name="T66" fmla="*/ 308 w 344"/>
                <a:gd name="T67" fmla="*/ 222 h 344"/>
                <a:gd name="T68" fmla="*/ 292 w 344"/>
                <a:gd name="T69" fmla="*/ 230 h 344"/>
                <a:gd name="T70" fmla="*/ 262 w 344"/>
                <a:gd name="T71" fmla="*/ 252 h 344"/>
                <a:gd name="T72" fmla="*/ 240 w 344"/>
                <a:gd name="T73" fmla="*/ 280 h 344"/>
                <a:gd name="T74" fmla="*/ 220 w 344"/>
                <a:gd name="T75" fmla="*/ 312 h 344"/>
                <a:gd name="T76" fmla="*/ 212 w 344"/>
                <a:gd name="T77" fmla="*/ 326 h 344"/>
                <a:gd name="T78" fmla="*/ 188 w 344"/>
                <a:gd name="T79" fmla="*/ 342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0"/>
                  </a:lnTo>
                  <a:lnTo>
                    <a:pt x="124" y="310"/>
                  </a:lnTo>
                  <a:lnTo>
                    <a:pt x="118" y="300"/>
                  </a:lnTo>
                  <a:lnTo>
                    <a:pt x="112" y="290"/>
                  </a:lnTo>
                  <a:lnTo>
                    <a:pt x="102" y="278"/>
                  </a:lnTo>
                  <a:lnTo>
                    <a:pt x="88" y="262"/>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2" y="34"/>
                  </a:lnTo>
                  <a:lnTo>
                    <a:pt x="122" y="34"/>
                  </a:lnTo>
                  <a:lnTo>
                    <a:pt x="126" y="26"/>
                  </a:lnTo>
                  <a:lnTo>
                    <a:pt x="132" y="20"/>
                  </a:lnTo>
                  <a:lnTo>
                    <a:pt x="144" y="10"/>
                  </a:lnTo>
                  <a:lnTo>
                    <a:pt x="158" y="4"/>
                  </a:lnTo>
                  <a:lnTo>
                    <a:pt x="172" y="0"/>
                  </a:lnTo>
                  <a:lnTo>
                    <a:pt x="172" y="0"/>
                  </a:lnTo>
                  <a:lnTo>
                    <a:pt x="180" y="2"/>
                  </a:lnTo>
                  <a:lnTo>
                    <a:pt x="188" y="2"/>
                  </a:lnTo>
                  <a:lnTo>
                    <a:pt x="202" y="10"/>
                  </a:lnTo>
                  <a:lnTo>
                    <a:pt x="214" y="20"/>
                  </a:lnTo>
                  <a:lnTo>
                    <a:pt x="218" y="28"/>
                  </a:lnTo>
                  <a:lnTo>
                    <a:pt x="222" y="34"/>
                  </a:lnTo>
                  <a:lnTo>
                    <a:pt x="222" y="34"/>
                  </a:lnTo>
                  <a:lnTo>
                    <a:pt x="226" y="44"/>
                  </a:lnTo>
                  <a:lnTo>
                    <a:pt x="232" y="54"/>
                  </a:lnTo>
                  <a:lnTo>
                    <a:pt x="242" y="68"/>
                  </a:lnTo>
                  <a:lnTo>
                    <a:pt x="254" y="82"/>
                  </a:lnTo>
                  <a:lnTo>
                    <a:pt x="270" y="96"/>
                  </a:lnTo>
                  <a:lnTo>
                    <a:pt x="290" y="112"/>
                  </a:lnTo>
                  <a:lnTo>
                    <a:pt x="314" y="124"/>
                  </a:lnTo>
                  <a:lnTo>
                    <a:pt x="314" y="124"/>
                  </a:lnTo>
                  <a:lnTo>
                    <a:pt x="320" y="128"/>
                  </a:lnTo>
                  <a:lnTo>
                    <a:pt x="328" y="134"/>
                  </a:lnTo>
                  <a:lnTo>
                    <a:pt x="336" y="146"/>
                  </a:lnTo>
                  <a:lnTo>
                    <a:pt x="342" y="160"/>
                  </a:lnTo>
                  <a:lnTo>
                    <a:pt x="344" y="176"/>
                  </a:lnTo>
                  <a:lnTo>
                    <a:pt x="344" y="176"/>
                  </a:lnTo>
                  <a:lnTo>
                    <a:pt x="342" y="182"/>
                  </a:lnTo>
                  <a:lnTo>
                    <a:pt x="340" y="190"/>
                  </a:lnTo>
                  <a:lnTo>
                    <a:pt x="334" y="204"/>
                  </a:lnTo>
                  <a:lnTo>
                    <a:pt x="322" y="214"/>
                  </a:lnTo>
                  <a:lnTo>
                    <a:pt x="316" y="218"/>
                  </a:lnTo>
                  <a:lnTo>
                    <a:pt x="308" y="222"/>
                  </a:lnTo>
                  <a:lnTo>
                    <a:pt x="308" y="222"/>
                  </a:lnTo>
                  <a:lnTo>
                    <a:pt x="292" y="230"/>
                  </a:lnTo>
                  <a:lnTo>
                    <a:pt x="276" y="240"/>
                  </a:lnTo>
                  <a:lnTo>
                    <a:pt x="262" y="252"/>
                  </a:lnTo>
                  <a:lnTo>
                    <a:pt x="250" y="266"/>
                  </a:lnTo>
                  <a:lnTo>
                    <a:pt x="240" y="280"/>
                  </a:lnTo>
                  <a:lnTo>
                    <a:pt x="230" y="292"/>
                  </a:lnTo>
                  <a:lnTo>
                    <a:pt x="220" y="312"/>
                  </a:lnTo>
                  <a:lnTo>
                    <a:pt x="220" y="312"/>
                  </a:lnTo>
                  <a:lnTo>
                    <a:pt x="212" y="326"/>
                  </a:lnTo>
                  <a:lnTo>
                    <a:pt x="202" y="336"/>
                  </a:lnTo>
                  <a:lnTo>
                    <a:pt x="188" y="342"/>
                  </a:lnTo>
                  <a:lnTo>
                    <a:pt x="172" y="344"/>
                  </a:lnTo>
                  <a:lnTo>
                    <a:pt x="172" y="344"/>
                  </a:lnTo>
                  <a:close/>
                  <a:moveTo>
                    <a:pt x="146" y="172"/>
                  </a:moveTo>
                  <a:lnTo>
                    <a:pt x="146" y="172"/>
                  </a:lnTo>
                  <a:lnTo>
                    <a:pt x="170" y="196"/>
                  </a:lnTo>
                  <a:lnTo>
                    <a:pt x="170" y="196"/>
                  </a:lnTo>
                  <a:lnTo>
                    <a:pt x="182" y="184"/>
                  </a:lnTo>
                  <a:lnTo>
                    <a:pt x="196" y="170"/>
                  </a:lnTo>
                  <a:lnTo>
                    <a:pt x="196" y="170"/>
                  </a:lnTo>
                  <a:lnTo>
                    <a:pt x="172" y="148"/>
                  </a:lnTo>
                  <a:lnTo>
                    <a:pt x="172" y="148"/>
                  </a:lnTo>
                  <a:lnTo>
                    <a:pt x="146" y="172"/>
                  </a:lnTo>
                  <a:lnTo>
                    <a:pt x="146" y="172"/>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96" name="Freeform 17"/>
            <p:cNvSpPr>
              <a:spLocks noEditPoints="1"/>
            </p:cNvSpPr>
            <p:nvPr/>
          </p:nvSpPr>
          <p:spPr bwMode="auto">
            <a:xfrm>
              <a:off x="5628079" y="2221077"/>
              <a:ext cx="208337" cy="208337"/>
            </a:xfrm>
            <a:custGeom>
              <a:avLst/>
              <a:gdLst>
                <a:gd name="T0" fmla="*/ 172 w 344"/>
                <a:gd name="T1" fmla="*/ 344 h 344"/>
                <a:gd name="T2" fmla="*/ 172 w 344"/>
                <a:gd name="T3" fmla="*/ 344 h 344"/>
                <a:gd name="T4" fmla="*/ 142 w 344"/>
                <a:gd name="T5" fmla="*/ 334 h 344"/>
                <a:gd name="T6" fmla="*/ 124 w 344"/>
                <a:gd name="T7" fmla="*/ 310 h 344"/>
                <a:gd name="T8" fmla="*/ 118 w 344"/>
                <a:gd name="T9" fmla="*/ 300 h 344"/>
                <a:gd name="T10" fmla="*/ 102 w 344"/>
                <a:gd name="T11" fmla="*/ 276 h 344"/>
                <a:gd name="T12" fmla="*/ 74 w 344"/>
                <a:gd name="T13" fmla="*/ 248 h 344"/>
                <a:gd name="T14" fmla="*/ 28 w 344"/>
                <a:gd name="T15" fmla="*/ 218 h 344"/>
                <a:gd name="T16" fmla="*/ 16 w 344"/>
                <a:gd name="T17" fmla="*/ 210 h 344"/>
                <a:gd name="T18" fmla="*/ 2 w 344"/>
                <a:gd name="T19" fmla="*/ 186 h 344"/>
                <a:gd name="T20" fmla="*/ 0 w 344"/>
                <a:gd name="T21" fmla="*/ 170 h 344"/>
                <a:gd name="T22" fmla="*/ 8 w 344"/>
                <a:gd name="T23" fmla="*/ 144 h 344"/>
                <a:gd name="T24" fmla="*/ 30 w 344"/>
                <a:gd name="T25" fmla="*/ 124 h 344"/>
                <a:gd name="T26" fmla="*/ 54 w 344"/>
                <a:gd name="T27" fmla="*/ 110 h 344"/>
                <a:gd name="T28" fmla="*/ 90 w 344"/>
                <a:gd name="T29" fmla="*/ 82 h 344"/>
                <a:gd name="T30" fmla="*/ 112 w 344"/>
                <a:gd name="T31" fmla="*/ 54 h 344"/>
                <a:gd name="T32" fmla="*/ 124 w 344"/>
                <a:gd name="T33" fmla="*/ 34 h 344"/>
                <a:gd name="T34" fmla="*/ 126 w 344"/>
                <a:gd name="T35" fmla="*/ 26 h 344"/>
                <a:gd name="T36" fmla="*/ 144 w 344"/>
                <a:gd name="T37" fmla="*/ 10 h 344"/>
                <a:gd name="T38" fmla="*/ 172 w 344"/>
                <a:gd name="T39" fmla="*/ 0 h 344"/>
                <a:gd name="T40" fmla="*/ 180 w 344"/>
                <a:gd name="T41" fmla="*/ 0 h 344"/>
                <a:gd name="T42" fmla="*/ 202 w 344"/>
                <a:gd name="T43" fmla="*/ 10 h 344"/>
                <a:gd name="T44" fmla="*/ 218 w 344"/>
                <a:gd name="T45" fmla="*/ 26 h 344"/>
                <a:gd name="T46" fmla="*/ 222 w 344"/>
                <a:gd name="T47" fmla="*/ 34 h 344"/>
                <a:gd name="T48" fmla="*/ 234 w 344"/>
                <a:gd name="T49" fmla="*/ 54 h 344"/>
                <a:gd name="T50" fmla="*/ 254 w 344"/>
                <a:gd name="T51" fmla="*/ 82 h 344"/>
                <a:gd name="T52" fmla="*/ 290 w 344"/>
                <a:gd name="T53" fmla="*/ 110 h 344"/>
                <a:gd name="T54" fmla="*/ 314 w 344"/>
                <a:gd name="T55" fmla="*/ 124 h 344"/>
                <a:gd name="T56" fmla="*/ 328 w 344"/>
                <a:gd name="T57" fmla="*/ 132 h 344"/>
                <a:gd name="T58" fmla="*/ 342 w 344"/>
                <a:gd name="T59" fmla="*/ 160 h 344"/>
                <a:gd name="T60" fmla="*/ 344 w 344"/>
                <a:gd name="T61" fmla="*/ 174 h 344"/>
                <a:gd name="T62" fmla="*/ 342 w 344"/>
                <a:gd name="T63" fmla="*/ 190 h 344"/>
                <a:gd name="T64" fmla="*/ 322 w 344"/>
                <a:gd name="T65" fmla="*/ 214 h 344"/>
                <a:gd name="T66" fmla="*/ 308 w 344"/>
                <a:gd name="T67" fmla="*/ 222 h 344"/>
                <a:gd name="T68" fmla="*/ 292 w 344"/>
                <a:gd name="T69" fmla="*/ 230 h 344"/>
                <a:gd name="T70" fmla="*/ 262 w 344"/>
                <a:gd name="T71" fmla="*/ 252 h 344"/>
                <a:gd name="T72" fmla="*/ 240 w 344"/>
                <a:gd name="T73" fmla="*/ 280 h 344"/>
                <a:gd name="T74" fmla="*/ 220 w 344"/>
                <a:gd name="T75" fmla="*/ 312 h 344"/>
                <a:gd name="T76" fmla="*/ 212 w 344"/>
                <a:gd name="T77" fmla="*/ 324 h 344"/>
                <a:gd name="T78" fmla="*/ 188 w 344"/>
                <a:gd name="T79" fmla="*/ 342 h 344"/>
                <a:gd name="T80" fmla="*/ 172 w 344"/>
                <a:gd name="T81" fmla="*/ 344 h 344"/>
                <a:gd name="T82" fmla="*/ 146 w 344"/>
                <a:gd name="T83" fmla="*/ 172 h 344"/>
                <a:gd name="T84" fmla="*/ 170 w 344"/>
                <a:gd name="T85" fmla="*/ 196 h 344"/>
                <a:gd name="T86" fmla="*/ 196 w 344"/>
                <a:gd name="T87" fmla="*/ 170 h 344"/>
                <a:gd name="T88" fmla="*/ 172 w 344"/>
                <a:gd name="T89" fmla="*/ 146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0"/>
                  </a:lnTo>
                  <a:lnTo>
                    <a:pt x="124" y="310"/>
                  </a:lnTo>
                  <a:lnTo>
                    <a:pt x="118" y="300"/>
                  </a:lnTo>
                  <a:lnTo>
                    <a:pt x="112" y="290"/>
                  </a:lnTo>
                  <a:lnTo>
                    <a:pt x="102" y="276"/>
                  </a:lnTo>
                  <a:lnTo>
                    <a:pt x="90" y="262"/>
                  </a:lnTo>
                  <a:lnTo>
                    <a:pt x="74" y="248"/>
                  </a:lnTo>
                  <a:lnTo>
                    <a:pt x="54" y="232"/>
                  </a:lnTo>
                  <a:lnTo>
                    <a:pt x="28" y="218"/>
                  </a:lnTo>
                  <a:lnTo>
                    <a:pt x="28" y="218"/>
                  </a:lnTo>
                  <a:lnTo>
                    <a:pt x="16" y="210"/>
                  </a:lnTo>
                  <a:lnTo>
                    <a:pt x="8" y="198"/>
                  </a:lnTo>
                  <a:lnTo>
                    <a:pt x="2" y="186"/>
                  </a:lnTo>
                  <a:lnTo>
                    <a:pt x="0" y="170"/>
                  </a:lnTo>
                  <a:lnTo>
                    <a:pt x="0" y="170"/>
                  </a:lnTo>
                  <a:lnTo>
                    <a:pt x="2" y="156"/>
                  </a:lnTo>
                  <a:lnTo>
                    <a:pt x="8" y="144"/>
                  </a:lnTo>
                  <a:lnTo>
                    <a:pt x="18" y="132"/>
                  </a:lnTo>
                  <a:lnTo>
                    <a:pt x="30" y="124"/>
                  </a:lnTo>
                  <a:lnTo>
                    <a:pt x="30" y="124"/>
                  </a:lnTo>
                  <a:lnTo>
                    <a:pt x="54" y="110"/>
                  </a:lnTo>
                  <a:lnTo>
                    <a:pt x="74" y="96"/>
                  </a:lnTo>
                  <a:lnTo>
                    <a:pt x="90" y="82"/>
                  </a:lnTo>
                  <a:lnTo>
                    <a:pt x="102" y="68"/>
                  </a:lnTo>
                  <a:lnTo>
                    <a:pt x="112" y="54"/>
                  </a:lnTo>
                  <a:lnTo>
                    <a:pt x="118" y="44"/>
                  </a:lnTo>
                  <a:lnTo>
                    <a:pt x="124" y="34"/>
                  </a:lnTo>
                  <a:lnTo>
                    <a:pt x="124" y="34"/>
                  </a:lnTo>
                  <a:lnTo>
                    <a:pt x="126" y="26"/>
                  </a:lnTo>
                  <a:lnTo>
                    <a:pt x="132" y="20"/>
                  </a:lnTo>
                  <a:lnTo>
                    <a:pt x="144" y="10"/>
                  </a:lnTo>
                  <a:lnTo>
                    <a:pt x="158" y="2"/>
                  </a:lnTo>
                  <a:lnTo>
                    <a:pt x="172" y="0"/>
                  </a:lnTo>
                  <a:lnTo>
                    <a:pt x="172" y="0"/>
                  </a:lnTo>
                  <a:lnTo>
                    <a:pt x="180" y="0"/>
                  </a:lnTo>
                  <a:lnTo>
                    <a:pt x="188" y="2"/>
                  </a:lnTo>
                  <a:lnTo>
                    <a:pt x="202" y="10"/>
                  </a:lnTo>
                  <a:lnTo>
                    <a:pt x="214" y="20"/>
                  </a:lnTo>
                  <a:lnTo>
                    <a:pt x="218" y="26"/>
                  </a:lnTo>
                  <a:lnTo>
                    <a:pt x="222" y="34"/>
                  </a:lnTo>
                  <a:lnTo>
                    <a:pt x="222" y="34"/>
                  </a:lnTo>
                  <a:lnTo>
                    <a:pt x="226" y="44"/>
                  </a:lnTo>
                  <a:lnTo>
                    <a:pt x="234" y="54"/>
                  </a:lnTo>
                  <a:lnTo>
                    <a:pt x="242" y="68"/>
                  </a:lnTo>
                  <a:lnTo>
                    <a:pt x="254" y="82"/>
                  </a:lnTo>
                  <a:lnTo>
                    <a:pt x="270" y="96"/>
                  </a:lnTo>
                  <a:lnTo>
                    <a:pt x="290" y="110"/>
                  </a:lnTo>
                  <a:lnTo>
                    <a:pt x="314" y="124"/>
                  </a:lnTo>
                  <a:lnTo>
                    <a:pt x="314" y="124"/>
                  </a:lnTo>
                  <a:lnTo>
                    <a:pt x="322" y="128"/>
                  </a:lnTo>
                  <a:lnTo>
                    <a:pt x="328" y="132"/>
                  </a:lnTo>
                  <a:lnTo>
                    <a:pt x="338" y="144"/>
                  </a:lnTo>
                  <a:lnTo>
                    <a:pt x="342" y="160"/>
                  </a:lnTo>
                  <a:lnTo>
                    <a:pt x="344" y="174"/>
                  </a:lnTo>
                  <a:lnTo>
                    <a:pt x="344" y="174"/>
                  </a:lnTo>
                  <a:lnTo>
                    <a:pt x="344" y="182"/>
                  </a:lnTo>
                  <a:lnTo>
                    <a:pt x="342" y="190"/>
                  </a:lnTo>
                  <a:lnTo>
                    <a:pt x="334" y="204"/>
                  </a:lnTo>
                  <a:lnTo>
                    <a:pt x="322" y="214"/>
                  </a:lnTo>
                  <a:lnTo>
                    <a:pt x="316" y="218"/>
                  </a:lnTo>
                  <a:lnTo>
                    <a:pt x="308" y="222"/>
                  </a:lnTo>
                  <a:lnTo>
                    <a:pt x="308" y="222"/>
                  </a:lnTo>
                  <a:lnTo>
                    <a:pt x="292" y="230"/>
                  </a:lnTo>
                  <a:lnTo>
                    <a:pt x="276" y="240"/>
                  </a:lnTo>
                  <a:lnTo>
                    <a:pt x="262" y="252"/>
                  </a:lnTo>
                  <a:lnTo>
                    <a:pt x="250" y="266"/>
                  </a:lnTo>
                  <a:lnTo>
                    <a:pt x="240" y="280"/>
                  </a:lnTo>
                  <a:lnTo>
                    <a:pt x="232" y="292"/>
                  </a:lnTo>
                  <a:lnTo>
                    <a:pt x="220" y="312"/>
                  </a:lnTo>
                  <a:lnTo>
                    <a:pt x="220" y="312"/>
                  </a:lnTo>
                  <a:lnTo>
                    <a:pt x="212" y="324"/>
                  </a:lnTo>
                  <a:lnTo>
                    <a:pt x="202" y="334"/>
                  </a:lnTo>
                  <a:lnTo>
                    <a:pt x="188" y="342"/>
                  </a:lnTo>
                  <a:lnTo>
                    <a:pt x="172" y="344"/>
                  </a:lnTo>
                  <a:lnTo>
                    <a:pt x="172" y="344"/>
                  </a:lnTo>
                  <a:close/>
                  <a:moveTo>
                    <a:pt x="146" y="172"/>
                  </a:moveTo>
                  <a:lnTo>
                    <a:pt x="146" y="172"/>
                  </a:lnTo>
                  <a:lnTo>
                    <a:pt x="170" y="196"/>
                  </a:lnTo>
                  <a:lnTo>
                    <a:pt x="170" y="196"/>
                  </a:lnTo>
                  <a:lnTo>
                    <a:pt x="182" y="182"/>
                  </a:lnTo>
                  <a:lnTo>
                    <a:pt x="196" y="170"/>
                  </a:lnTo>
                  <a:lnTo>
                    <a:pt x="196" y="170"/>
                  </a:lnTo>
                  <a:lnTo>
                    <a:pt x="172" y="146"/>
                  </a:lnTo>
                  <a:lnTo>
                    <a:pt x="172" y="146"/>
                  </a:lnTo>
                  <a:lnTo>
                    <a:pt x="146" y="172"/>
                  </a:lnTo>
                  <a:lnTo>
                    <a:pt x="146" y="172"/>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97"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98" name="Freeform 19"/>
            <p:cNvSpPr>
              <a:spLocks noEditPoints="1"/>
            </p:cNvSpPr>
            <p:nvPr/>
          </p:nvSpPr>
          <p:spPr bwMode="auto">
            <a:xfrm>
              <a:off x="5091490"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99"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grpSp>
          <p:nvGrpSpPr>
            <p:cNvPr id="200" name="Group 199"/>
            <p:cNvGrpSpPr/>
            <p:nvPr/>
          </p:nvGrpSpPr>
          <p:grpSpPr>
            <a:xfrm>
              <a:off x="5413104" y="2621197"/>
              <a:ext cx="1326042" cy="1326043"/>
              <a:chOff x="5413104" y="2598477"/>
              <a:chExt cx="1326042" cy="1326043"/>
            </a:xfrm>
          </p:grpSpPr>
          <p:sp>
            <p:nvSpPr>
              <p:cNvPr id="201"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02"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03"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04"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05"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06"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07"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08" name="Oval 207"/>
              <p:cNvSpPr/>
              <p:nvPr/>
            </p:nvSpPr>
            <p:spPr bwMode="auto">
              <a:xfrm>
                <a:off x="5413104" y="2598477"/>
                <a:ext cx="1326042" cy="1326043"/>
              </a:xfrm>
              <a:prstGeom prst="ellipse">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09" name="Group 208"/>
          <p:cNvGrpSpPr/>
          <p:nvPr/>
        </p:nvGrpSpPr>
        <p:grpSpPr>
          <a:xfrm>
            <a:off x="9510004" y="2876104"/>
            <a:ext cx="610492" cy="472223"/>
            <a:chOff x="5007615" y="2323753"/>
            <a:chExt cx="649029" cy="502032"/>
          </a:xfrm>
          <a:solidFill>
            <a:schemeClr val="accent1"/>
          </a:solidFill>
        </p:grpSpPr>
        <p:sp>
          <p:nvSpPr>
            <p:cNvPr id="210" name="Freeform 209"/>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3260" tIns="46630" rIns="93260" bIns="46630" numCol="1" anchor="t" anchorCtr="0" compatLnSpc="1">
              <a:prstTxWarp prst="textNoShape">
                <a:avLst/>
              </a:prstTxWarp>
              <a:noAutofit/>
            </a:bodyPr>
            <a:lstStyle/>
            <a:p>
              <a:endParaRPr lang="en-US" sz="1836" dirty="0"/>
            </a:p>
          </p:txBody>
        </p:sp>
        <p:sp>
          <p:nvSpPr>
            <p:cNvPr id="211" name="Freeform 210"/>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endParaRPr lang="en-US" sz="1836" dirty="0"/>
            </a:p>
          </p:txBody>
        </p:sp>
      </p:grpSp>
      <p:grpSp>
        <p:nvGrpSpPr>
          <p:cNvPr id="212" name="Group 211"/>
          <p:cNvGrpSpPr/>
          <p:nvPr/>
        </p:nvGrpSpPr>
        <p:grpSpPr>
          <a:xfrm>
            <a:off x="2898189" y="1774619"/>
            <a:ext cx="765836" cy="2786477"/>
            <a:chOff x="-4887913" y="2606675"/>
            <a:chExt cx="750888" cy="2732088"/>
          </a:xfrm>
          <a:solidFill>
            <a:schemeClr val="accent1"/>
          </a:solidFill>
        </p:grpSpPr>
        <p:sp>
          <p:nvSpPr>
            <p:cNvPr id="213" name="Freeform 5"/>
            <p:cNvSpPr>
              <a:spLocks/>
            </p:cNvSpPr>
            <p:nvPr/>
          </p:nvSpPr>
          <p:spPr bwMode="auto">
            <a:xfrm>
              <a:off x="-4884738" y="2606675"/>
              <a:ext cx="282575" cy="2732088"/>
            </a:xfrm>
            <a:custGeom>
              <a:avLst/>
              <a:gdLst>
                <a:gd name="T0" fmla="*/ 300 w 356"/>
                <a:gd name="T1" fmla="*/ 3442 h 3442"/>
                <a:gd name="T2" fmla="*/ 17 w 356"/>
                <a:gd name="T3" fmla="*/ 3442 h 3442"/>
                <a:gd name="T4" fmla="*/ 17 w 356"/>
                <a:gd name="T5" fmla="*/ 3442 h 3442"/>
                <a:gd name="T6" fmla="*/ 11 w 356"/>
                <a:gd name="T7" fmla="*/ 3441 h 3442"/>
                <a:gd name="T8" fmla="*/ 5 w 356"/>
                <a:gd name="T9" fmla="*/ 3436 h 3442"/>
                <a:gd name="T10" fmla="*/ 2 w 356"/>
                <a:gd name="T11" fmla="*/ 3432 h 3442"/>
                <a:gd name="T12" fmla="*/ 0 w 356"/>
                <a:gd name="T13" fmla="*/ 3424 h 3442"/>
                <a:gd name="T14" fmla="*/ 0 w 356"/>
                <a:gd name="T15" fmla="*/ 3424 h 3442"/>
                <a:gd name="T16" fmla="*/ 2 w 356"/>
                <a:gd name="T17" fmla="*/ 3418 h 3442"/>
                <a:gd name="T18" fmla="*/ 5 w 356"/>
                <a:gd name="T19" fmla="*/ 3414 h 3442"/>
                <a:gd name="T20" fmla="*/ 11 w 356"/>
                <a:gd name="T21" fmla="*/ 3410 h 3442"/>
                <a:gd name="T22" fmla="*/ 17 w 356"/>
                <a:gd name="T23" fmla="*/ 3408 h 3442"/>
                <a:gd name="T24" fmla="*/ 300 w 356"/>
                <a:gd name="T25" fmla="*/ 3408 h 3442"/>
                <a:gd name="T26" fmla="*/ 300 w 356"/>
                <a:gd name="T27" fmla="*/ 3408 h 3442"/>
                <a:gd name="T28" fmla="*/ 304 w 356"/>
                <a:gd name="T29" fmla="*/ 3408 h 3442"/>
                <a:gd name="T30" fmla="*/ 309 w 356"/>
                <a:gd name="T31" fmla="*/ 3407 h 3442"/>
                <a:gd name="T32" fmla="*/ 316 w 356"/>
                <a:gd name="T33" fmla="*/ 3402 h 3442"/>
                <a:gd name="T34" fmla="*/ 322 w 356"/>
                <a:gd name="T35" fmla="*/ 3395 h 3442"/>
                <a:gd name="T36" fmla="*/ 324 w 356"/>
                <a:gd name="T37" fmla="*/ 3391 h 3442"/>
                <a:gd name="T38" fmla="*/ 324 w 356"/>
                <a:gd name="T39" fmla="*/ 3385 h 3442"/>
                <a:gd name="T40" fmla="*/ 324 w 356"/>
                <a:gd name="T41" fmla="*/ 56 h 3442"/>
                <a:gd name="T42" fmla="*/ 324 w 356"/>
                <a:gd name="T43" fmla="*/ 56 h 3442"/>
                <a:gd name="T44" fmla="*/ 324 w 356"/>
                <a:gd name="T45" fmla="*/ 51 h 3442"/>
                <a:gd name="T46" fmla="*/ 322 w 356"/>
                <a:gd name="T47" fmla="*/ 47 h 3442"/>
                <a:gd name="T48" fmla="*/ 316 w 356"/>
                <a:gd name="T49" fmla="*/ 40 h 3442"/>
                <a:gd name="T50" fmla="*/ 309 w 356"/>
                <a:gd name="T51" fmla="*/ 35 h 3442"/>
                <a:gd name="T52" fmla="*/ 304 w 356"/>
                <a:gd name="T53" fmla="*/ 34 h 3442"/>
                <a:gd name="T54" fmla="*/ 300 w 356"/>
                <a:gd name="T55" fmla="*/ 32 h 3442"/>
                <a:gd name="T56" fmla="*/ 17 w 356"/>
                <a:gd name="T57" fmla="*/ 32 h 3442"/>
                <a:gd name="T58" fmla="*/ 17 w 356"/>
                <a:gd name="T59" fmla="*/ 32 h 3442"/>
                <a:gd name="T60" fmla="*/ 11 w 356"/>
                <a:gd name="T61" fmla="*/ 32 h 3442"/>
                <a:gd name="T62" fmla="*/ 5 w 356"/>
                <a:gd name="T63" fmla="*/ 28 h 3442"/>
                <a:gd name="T64" fmla="*/ 2 w 356"/>
                <a:gd name="T65" fmla="*/ 24 h 3442"/>
                <a:gd name="T66" fmla="*/ 0 w 356"/>
                <a:gd name="T67" fmla="*/ 16 h 3442"/>
                <a:gd name="T68" fmla="*/ 0 w 356"/>
                <a:gd name="T69" fmla="*/ 16 h 3442"/>
                <a:gd name="T70" fmla="*/ 2 w 356"/>
                <a:gd name="T71" fmla="*/ 10 h 3442"/>
                <a:gd name="T72" fmla="*/ 5 w 356"/>
                <a:gd name="T73" fmla="*/ 4 h 3442"/>
                <a:gd name="T74" fmla="*/ 11 w 356"/>
                <a:gd name="T75" fmla="*/ 1 h 3442"/>
                <a:gd name="T76" fmla="*/ 17 w 356"/>
                <a:gd name="T77" fmla="*/ 0 h 3442"/>
                <a:gd name="T78" fmla="*/ 300 w 356"/>
                <a:gd name="T79" fmla="*/ 0 h 3442"/>
                <a:gd name="T80" fmla="*/ 300 w 356"/>
                <a:gd name="T81" fmla="*/ 0 h 3442"/>
                <a:gd name="T82" fmla="*/ 312 w 356"/>
                <a:gd name="T83" fmla="*/ 1 h 3442"/>
                <a:gd name="T84" fmla="*/ 322 w 356"/>
                <a:gd name="T85" fmla="*/ 4 h 3442"/>
                <a:gd name="T86" fmla="*/ 331 w 356"/>
                <a:gd name="T87" fmla="*/ 9 h 3442"/>
                <a:gd name="T88" fmla="*/ 340 w 356"/>
                <a:gd name="T89" fmla="*/ 16 h 3442"/>
                <a:gd name="T90" fmla="*/ 347 w 356"/>
                <a:gd name="T91" fmla="*/ 25 h 3442"/>
                <a:gd name="T92" fmla="*/ 351 w 356"/>
                <a:gd name="T93" fmla="*/ 34 h 3442"/>
                <a:gd name="T94" fmla="*/ 356 w 356"/>
                <a:gd name="T95" fmla="*/ 44 h 3442"/>
                <a:gd name="T96" fmla="*/ 356 w 356"/>
                <a:gd name="T97" fmla="*/ 56 h 3442"/>
                <a:gd name="T98" fmla="*/ 356 w 356"/>
                <a:gd name="T99" fmla="*/ 3385 h 3442"/>
                <a:gd name="T100" fmla="*/ 356 w 356"/>
                <a:gd name="T101" fmla="*/ 3385 h 3442"/>
                <a:gd name="T102" fmla="*/ 356 w 356"/>
                <a:gd name="T103" fmla="*/ 3396 h 3442"/>
                <a:gd name="T104" fmla="*/ 351 w 356"/>
                <a:gd name="T105" fmla="*/ 3407 h 3442"/>
                <a:gd name="T106" fmla="*/ 347 w 356"/>
                <a:gd name="T107" fmla="*/ 3417 h 3442"/>
                <a:gd name="T108" fmla="*/ 340 w 356"/>
                <a:gd name="T109" fmla="*/ 3424 h 3442"/>
                <a:gd name="T110" fmla="*/ 331 w 356"/>
                <a:gd name="T111" fmla="*/ 3432 h 3442"/>
                <a:gd name="T112" fmla="*/ 322 w 356"/>
                <a:gd name="T113" fmla="*/ 3438 h 3442"/>
                <a:gd name="T114" fmla="*/ 312 w 356"/>
                <a:gd name="T115" fmla="*/ 3441 h 3442"/>
                <a:gd name="T116" fmla="*/ 300 w 356"/>
                <a:gd name="T117" fmla="*/ 3442 h 3442"/>
                <a:gd name="T118" fmla="*/ 300 w 356"/>
                <a:gd name="T119" fmla="*/ 3442 h 3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6" h="3442">
                  <a:moveTo>
                    <a:pt x="300" y="3442"/>
                  </a:moveTo>
                  <a:lnTo>
                    <a:pt x="17" y="3442"/>
                  </a:lnTo>
                  <a:lnTo>
                    <a:pt x="17" y="3442"/>
                  </a:lnTo>
                  <a:lnTo>
                    <a:pt x="11" y="3441"/>
                  </a:lnTo>
                  <a:lnTo>
                    <a:pt x="5" y="3436"/>
                  </a:lnTo>
                  <a:lnTo>
                    <a:pt x="2" y="3432"/>
                  </a:lnTo>
                  <a:lnTo>
                    <a:pt x="0" y="3424"/>
                  </a:lnTo>
                  <a:lnTo>
                    <a:pt x="0" y="3424"/>
                  </a:lnTo>
                  <a:lnTo>
                    <a:pt x="2" y="3418"/>
                  </a:lnTo>
                  <a:lnTo>
                    <a:pt x="5" y="3414"/>
                  </a:lnTo>
                  <a:lnTo>
                    <a:pt x="11" y="3410"/>
                  </a:lnTo>
                  <a:lnTo>
                    <a:pt x="17" y="3408"/>
                  </a:lnTo>
                  <a:lnTo>
                    <a:pt x="300" y="3408"/>
                  </a:lnTo>
                  <a:lnTo>
                    <a:pt x="300" y="3408"/>
                  </a:lnTo>
                  <a:lnTo>
                    <a:pt x="304" y="3408"/>
                  </a:lnTo>
                  <a:lnTo>
                    <a:pt x="309" y="3407"/>
                  </a:lnTo>
                  <a:lnTo>
                    <a:pt x="316" y="3402"/>
                  </a:lnTo>
                  <a:lnTo>
                    <a:pt x="322" y="3395"/>
                  </a:lnTo>
                  <a:lnTo>
                    <a:pt x="324" y="3391"/>
                  </a:lnTo>
                  <a:lnTo>
                    <a:pt x="324" y="3385"/>
                  </a:lnTo>
                  <a:lnTo>
                    <a:pt x="324" y="56"/>
                  </a:lnTo>
                  <a:lnTo>
                    <a:pt x="324" y="56"/>
                  </a:lnTo>
                  <a:lnTo>
                    <a:pt x="324" y="51"/>
                  </a:lnTo>
                  <a:lnTo>
                    <a:pt x="322" y="47"/>
                  </a:lnTo>
                  <a:lnTo>
                    <a:pt x="316" y="40"/>
                  </a:lnTo>
                  <a:lnTo>
                    <a:pt x="309" y="35"/>
                  </a:lnTo>
                  <a:lnTo>
                    <a:pt x="304" y="34"/>
                  </a:lnTo>
                  <a:lnTo>
                    <a:pt x="300" y="32"/>
                  </a:lnTo>
                  <a:lnTo>
                    <a:pt x="17" y="32"/>
                  </a:lnTo>
                  <a:lnTo>
                    <a:pt x="17" y="32"/>
                  </a:lnTo>
                  <a:lnTo>
                    <a:pt x="11" y="32"/>
                  </a:lnTo>
                  <a:lnTo>
                    <a:pt x="5" y="28"/>
                  </a:lnTo>
                  <a:lnTo>
                    <a:pt x="2" y="24"/>
                  </a:lnTo>
                  <a:lnTo>
                    <a:pt x="0" y="16"/>
                  </a:lnTo>
                  <a:lnTo>
                    <a:pt x="0" y="16"/>
                  </a:lnTo>
                  <a:lnTo>
                    <a:pt x="2" y="10"/>
                  </a:lnTo>
                  <a:lnTo>
                    <a:pt x="5" y="4"/>
                  </a:lnTo>
                  <a:lnTo>
                    <a:pt x="11" y="1"/>
                  </a:lnTo>
                  <a:lnTo>
                    <a:pt x="17" y="0"/>
                  </a:lnTo>
                  <a:lnTo>
                    <a:pt x="300" y="0"/>
                  </a:lnTo>
                  <a:lnTo>
                    <a:pt x="300" y="0"/>
                  </a:lnTo>
                  <a:lnTo>
                    <a:pt x="312" y="1"/>
                  </a:lnTo>
                  <a:lnTo>
                    <a:pt x="322" y="4"/>
                  </a:lnTo>
                  <a:lnTo>
                    <a:pt x="331" y="9"/>
                  </a:lnTo>
                  <a:lnTo>
                    <a:pt x="340" y="16"/>
                  </a:lnTo>
                  <a:lnTo>
                    <a:pt x="347" y="25"/>
                  </a:lnTo>
                  <a:lnTo>
                    <a:pt x="351" y="34"/>
                  </a:lnTo>
                  <a:lnTo>
                    <a:pt x="356" y="44"/>
                  </a:lnTo>
                  <a:lnTo>
                    <a:pt x="356" y="56"/>
                  </a:lnTo>
                  <a:lnTo>
                    <a:pt x="356" y="3385"/>
                  </a:lnTo>
                  <a:lnTo>
                    <a:pt x="356" y="3385"/>
                  </a:lnTo>
                  <a:lnTo>
                    <a:pt x="356" y="3396"/>
                  </a:lnTo>
                  <a:lnTo>
                    <a:pt x="351" y="3407"/>
                  </a:lnTo>
                  <a:lnTo>
                    <a:pt x="347" y="3417"/>
                  </a:lnTo>
                  <a:lnTo>
                    <a:pt x="340" y="3424"/>
                  </a:lnTo>
                  <a:lnTo>
                    <a:pt x="331" y="3432"/>
                  </a:lnTo>
                  <a:lnTo>
                    <a:pt x="322" y="3438"/>
                  </a:lnTo>
                  <a:lnTo>
                    <a:pt x="312" y="3441"/>
                  </a:lnTo>
                  <a:lnTo>
                    <a:pt x="300" y="3442"/>
                  </a:lnTo>
                  <a:lnTo>
                    <a:pt x="300" y="3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4" name="Freeform 7"/>
            <p:cNvSpPr>
              <a:spLocks/>
            </p:cNvSpPr>
            <p:nvPr/>
          </p:nvSpPr>
          <p:spPr bwMode="auto">
            <a:xfrm>
              <a:off x="-4887913" y="3983038"/>
              <a:ext cx="750888" cy="26988"/>
            </a:xfrm>
            <a:custGeom>
              <a:avLst/>
              <a:gdLst>
                <a:gd name="T0" fmla="*/ 930 w 946"/>
                <a:gd name="T1" fmla="*/ 32 h 32"/>
                <a:gd name="T2" fmla="*/ 18 w 946"/>
                <a:gd name="T3" fmla="*/ 32 h 32"/>
                <a:gd name="T4" fmla="*/ 18 w 946"/>
                <a:gd name="T5" fmla="*/ 32 h 32"/>
                <a:gd name="T6" fmla="*/ 10 w 946"/>
                <a:gd name="T7" fmla="*/ 31 h 32"/>
                <a:gd name="T8" fmla="*/ 6 w 946"/>
                <a:gd name="T9" fmla="*/ 28 h 32"/>
                <a:gd name="T10" fmla="*/ 1 w 946"/>
                <a:gd name="T11" fmla="*/ 22 h 32"/>
                <a:gd name="T12" fmla="*/ 0 w 946"/>
                <a:gd name="T13" fmla="*/ 16 h 32"/>
                <a:gd name="T14" fmla="*/ 0 w 946"/>
                <a:gd name="T15" fmla="*/ 16 h 32"/>
                <a:gd name="T16" fmla="*/ 1 w 946"/>
                <a:gd name="T17" fmla="*/ 10 h 32"/>
                <a:gd name="T18" fmla="*/ 6 w 946"/>
                <a:gd name="T19" fmla="*/ 4 h 32"/>
                <a:gd name="T20" fmla="*/ 10 w 946"/>
                <a:gd name="T21" fmla="*/ 1 h 32"/>
                <a:gd name="T22" fmla="*/ 18 w 946"/>
                <a:gd name="T23" fmla="*/ 0 h 32"/>
                <a:gd name="T24" fmla="*/ 930 w 946"/>
                <a:gd name="T25" fmla="*/ 0 h 32"/>
                <a:gd name="T26" fmla="*/ 930 w 946"/>
                <a:gd name="T27" fmla="*/ 0 h 32"/>
                <a:gd name="T28" fmla="*/ 936 w 946"/>
                <a:gd name="T29" fmla="*/ 1 h 32"/>
                <a:gd name="T30" fmla="*/ 942 w 946"/>
                <a:gd name="T31" fmla="*/ 4 h 32"/>
                <a:gd name="T32" fmla="*/ 945 w 946"/>
                <a:gd name="T33" fmla="*/ 10 h 32"/>
                <a:gd name="T34" fmla="*/ 946 w 946"/>
                <a:gd name="T35" fmla="*/ 16 h 32"/>
                <a:gd name="T36" fmla="*/ 946 w 946"/>
                <a:gd name="T37" fmla="*/ 16 h 32"/>
                <a:gd name="T38" fmla="*/ 945 w 946"/>
                <a:gd name="T39" fmla="*/ 22 h 32"/>
                <a:gd name="T40" fmla="*/ 942 w 946"/>
                <a:gd name="T41" fmla="*/ 28 h 32"/>
                <a:gd name="T42" fmla="*/ 936 w 946"/>
                <a:gd name="T43" fmla="*/ 31 h 32"/>
                <a:gd name="T44" fmla="*/ 930 w 946"/>
                <a:gd name="T45" fmla="*/ 32 h 32"/>
                <a:gd name="T46" fmla="*/ 930 w 946"/>
                <a:gd name="T4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46" h="32">
                  <a:moveTo>
                    <a:pt x="930" y="32"/>
                  </a:moveTo>
                  <a:lnTo>
                    <a:pt x="18" y="32"/>
                  </a:lnTo>
                  <a:lnTo>
                    <a:pt x="18" y="32"/>
                  </a:lnTo>
                  <a:lnTo>
                    <a:pt x="10" y="31"/>
                  </a:lnTo>
                  <a:lnTo>
                    <a:pt x="6" y="28"/>
                  </a:lnTo>
                  <a:lnTo>
                    <a:pt x="1" y="22"/>
                  </a:lnTo>
                  <a:lnTo>
                    <a:pt x="0" y="16"/>
                  </a:lnTo>
                  <a:lnTo>
                    <a:pt x="0" y="16"/>
                  </a:lnTo>
                  <a:lnTo>
                    <a:pt x="1" y="10"/>
                  </a:lnTo>
                  <a:lnTo>
                    <a:pt x="6" y="4"/>
                  </a:lnTo>
                  <a:lnTo>
                    <a:pt x="10" y="1"/>
                  </a:lnTo>
                  <a:lnTo>
                    <a:pt x="18" y="0"/>
                  </a:lnTo>
                  <a:lnTo>
                    <a:pt x="930" y="0"/>
                  </a:lnTo>
                  <a:lnTo>
                    <a:pt x="930" y="0"/>
                  </a:lnTo>
                  <a:lnTo>
                    <a:pt x="936" y="1"/>
                  </a:lnTo>
                  <a:lnTo>
                    <a:pt x="942" y="4"/>
                  </a:lnTo>
                  <a:lnTo>
                    <a:pt x="945" y="10"/>
                  </a:lnTo>
                  <a:lnTo>
                    <a:pt x="946" y="16"/>
                  </a:lnTo>
                  <a:lnTo>
                    <a:pt x="946" y="16"/>
                  </a:lnTo>
                  <a:lnTo>
                    <a:pt x="945" y="22"/>
                  </a:lnTo>
                  <a:lnTo>
                    <a:pt x="942" y="28"/>
                  </a:lnTo>
                  <a:lnTo>
                    <a:pt x="936" y="31"/>
                  </a:lnTo>
                  <a:lnTo>
                    <a:pt x="930" y="32"/>
                  </a:lnTo>
                  <a:lnTo>
                    <a:pt x="930"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5" name="Freeform 8"/>
            <p:cNvSpPr>
              <a:spLocks/>
            </p:cNvSpPr>
            <p:nvPr/>
          </p:nvSpPr>
          <p:spPr bwMode="auto">
            <a:xfrm>
              <a:off x="-4237038" y="3905250"/>
              <a:ext cx="100013" cy="184150"/>
            </a:xfrm>
            <a:custGeom>
              <a:avLst/>
              <a:gdLst>
                <a:gd name="T0" fmla="*/ 16 w 126"/>
                <a:gd name="T1" fmla="*/ 232 h 232"/>
                <a:gd name="T2" fmla="*/ 16 w 126"/>
                <a:gd name="T3" fmla="*/ 232 h 232"/>
                <a:gd name="T4" fmla="*/ 10 w 126"/>
                <a:gd name="T5" fmla="*/ 231 h 232"/>
                <a:gd name="T6" fmla="*/ 4 w 126"/>
                <a:gd name="T7" fmla="*/ 226 h 232"/>
                <a:gd name="T8" fmla="*/ 4 w 126"/>
                <a:gd name="T9" fmla="*/ 226 h 232"/>
                <a:gd name="T10" fmla="*/ 1 w 126"/>
                <a:gd name="T11" fmla="*/ 222 h 232"/>
                <a:gd name="T12" fmla="*/ 0 w 126"/>
                <a:gd name="T13" fmla="*/ 215 h 232"/>
                <a:gd name="T14" fmla="*/ 1 w 126"/>
                <a:gd name="T15" fmla="*/ 209 h 232"/>
                <a:gd name="T16" fmla="*/ 4 w 126"/>
                <a:gd name="T17" fmla="*/ 204 h 232"/>
                <a:gd name="T18" fmla="*/ 94 w 126"/>
                <a:gd name="T19" fmla="*/ 115 h 232"/>
                <a:gd name="T20" fmla="*/ 4 w 126"/>
                <a:gd name="T21" fmla="*/ 28 h 232"/>
                <a:gd name="T22" fmla="*/ 4 w 126"/>
                <a:gd name="T23" fmla="*/ 28 h 232"/>
                <a:gd name="T24" fmla="*/ 1 w 126"/>
                <a:gd name="T25" fmla="*/ 24 h 232"/>
                <a:gd name="T26" fmla="*/ 0 w 126"/>
                <a:gd name="T27" fmla="*/ 16 h 232"/>
                <a:gd name="T28" fmla="*/ 1 w 126"/>
                <a:gd name="T29" fmla="*/ 10 h 232"/>
                <a:gd name="T30" fmla="*/ 4 w 126"/>
                <a:gd name="T31" fmla="*/ 4 h 232"/>
                <a:gd name="T32" fmla="*/ 4 w 126"/>
                <a:gd name="T33" fmla="*/ 4 h 232"/>
                <a:gd name="T34" fmla="*/ 10 w 126"/>
                <a:gd name="T35" fmla="*/ 2 h 232"/>
                <a:gd name="T36" fmla="*/ 16 w 126"/>
                <a:gd name="T37" fmla="*/ 0 h 232"/>
                <a:gd name="T38" fmla="*/ 23 w 126"/>
                <a:gd name="T39" fmla="*/ 2 h 232"/>
                <a:gd name="T40" fmla="*/ 28 w 126"/>
                <a:gd name="T41" fmla="*/ 4 h 232"/>
                <a:gd name="T42" fmla="*/ 117 w 126"/>
                <a:gd name="T43" fmla="*/ 94 h 232"/>
                <a:gd name="T44" fmla="*/ 117 w 126"/>
                <a:gd name="T45" fmla="*/ 94 h 232"/>
                <a:gd name="T46" fmla="*/ 120 w 126"/>
                <a:gd name="T47" fmla="*/ 98 h 232"/>
                <a:gd name="T48" fmla="*/ 123 w 126"/>
                <a:gd name="T49" fmla="*/ 104 h 232"/>
                <a:gd name="T50" fmla="*/ 126 w 126"/>
                <a:gd name="T51" fmla="*/ 110 h 232"/>
                <a:gd name="T52" fmla="*/ 126 w 126"/>
                <a:gd name="T53" fmla="*/ 116 h 232"/>
                <a:gd name="T54" fmla="*/ 126 w 126"/>
                <a:gd name="T55" fmla="*/ 116 h 232"/>
                <a:gd name="T56" fmla="*/ 126 w 126"/>
                <a:gd name="T57" fmla="*/ 122 h 232"/>
                <a:gd name="T58" fmla="*/ 123 w 126"/>
                <a:gd name="T59" fmla="*/ 128 h 232"/>
                <a:gd name="T60" fmla="*/ 120 w 126"/>
                <a:gd name="T61" fmla="*/ 134 h 232"/>
                <a:gd name="T62" fmla="*/ 117 w 126"/>
                <a:gd name="T63" fmla="*/ 138 h 232"/>
                <a:gd name="T64" fmla="*/ 28 w 126"/>
                <a:gd name="T65" fmla="*/ 226 h 232"/>
                <a:gd name="T66" fmla="*/ 28 w 126"/>
                <a:gd name="T67" fmla="*/ 226 h 232"/>
                <a:gd name="T68" fmla="*/ 23 w 126"/>
                <a:gd name="T69" fmla="*/ 231 h 232"/>
                <a:gd name="T70" fmla="*/ 16 w 126"/>
                <a:gd name="T71" fmla="*/ 232 h 232"/>
                <a:gd name="T72" fmla="*/ 16 w 126"/>
                <a:gd name="T73"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232">
                  <a:moveTo>
                    <a:pt x="16" y="232"/>
                  </a:moveTo>
                  <a:lnTo>
                    <a:pt x="16" y="232"/>
                  </a:lnTo>
                  <a:lnTo>
                    <a:pt x="10" y="231"/>
                  </a:lnTo>
                  <a:lnTo>
                    <a:pt x="4" y="226"/>
                  </a:lnTo>
                  <a:lnTo>
                    <a:pt x="4" y="226"/>
                  </a:lnTo>
                  <a:lnTo>
                    <a:pt x="1" y="222"/>
                  </a:lnTo>
                  <a:lnTo>
                    <a:pt x="0" y="215"/>
                  </a:lnTo>
                  <a:lnTo>
                    <a:pt x="1" y="209"/>
                  </a:lnTo>
                  <a:lnTo>
                    <a:pt x="4" y="204"/>
                  </a:lnTo>
                  <a:lnTo>
                    <a:pt x="94" y="115"/>
                  </a:lnTo>
                  <a:lnTo>
                    <a:pt x="4" y="28"/>
                  </a:lnTo>
                  <a:lnTo>
                    <a:pt x="4" y="28"/>
                  </a:lnTo>
                  <a:lnTo>
                    <a:pt x="1" y="24"/>
                  </a:lnTo>
                  <a:lnTo>
                    <a:pt x="0" y="16"/>
                  </a:lnTo>
                  <a:lnTo>
                    <a:pt x="1" y="10"/>
                  </a:lnTo>
                  <a:lnTo>
                    <a:pt x="4" y="4"/>
                  </a:lnTo>
                  <a:lnTo>
                    <a:pt x="4" y="4"/>
                  </a:lnTo>
                  <a:lnTo>
                    <a:pt x="10" y="2"/>
                  </a:lnTo>
                  <a:lnTo>
                    <a:pt x="16" y="0"/>
                  </a:lnTo>
                  <a:lnTo>
                    <a:pt x="23" y="2"/>
                  </a:lnTo>
                  <a:lnTo>
                    <a:pt x="28" y="4"/>
                  </a:lnTo>
                  <a:lnTo>
                    <a:pt x="117" y="94"/>
                  </a:lnTo>
                  <a:lnTo>
                    <a:pt x="117" y="94"/>
                  </a:lnTo>
                  <a:lnTo>
                    <a:pt x="120" y="98"/>
                  </a:lnTo>
                  <a:lnTo>
                    <a:pt x="123" y="104"/>
                  </a:lnTo>
                  <a:lnTo>
                    <a:pt x="126" y="110"/>
                  </a:lnTo>
                  <a:lnTo>
                    <a:pt x="126" y="116"/>
                  </a:lnTo>
                  <a:lnTo>
                    <a:pt x="126" y="116"/>
                  </a:lnTo>
                  <a:lnTo>
                    <a:pt x="126" y="122"/>
                  </a:lnTo>
                  <a:lnTo>
                    <a:pt x="123" y="128"/>
                  </a:lnTo>
                  <a:lnTo>
                    <a:pt x="120" y="134"/>
                  </a:lnTo>
                  <a:lnTo>
                    <a:pt x="117" y="138"/>
                  </a:lnTo>
                  <a:lnTo>
                    <a:pt x="28" y="226"/>
                  </a:lnTo>
                  <a:lnTo>
                    <a:pt x="28" y="226"/>
                  </a:lnTo>
                  <a:lnTo>
                    <a:pt x="23" y="231"/>
                  </a:lnTo>
                  <a:lnTo>
                    <a:pt x="16" y="232"/>
                  </a:lnTo>
                  <a:lnTo>
                    <a:pt x="16"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216" name="Group 215"/>
          <p:cNvGrpSpPr/>
          <p:nvPr/>
        </p:nvGrpSpPr>
        <p:grpSpPr>
          <a:xfrm>
            <a:off x="3635317" y="3541176"/>
            <a:ext cx="318964" cy="186197"/>
            <a:chOff x="-4411663" y="4275138"/>
            <a:chExt cx="312738" cy="182563"/>
          </a:xfrm>
          <a:solidFill>
            <a:schemeClr val="accent1"/>
          </a:solidFill>
        </p:grpSpPr>
        <p:sp>
          <p:nvSpPr>
            <p:cNvPr id="217" name="Freeform 9"/>
            <p:cNvSpPr>
              <a:spLocks/>
            </p:cNvSpPr>
            <p:nvPr/>
          </p:nvSpPr>
          <p:spPr bwMode="auto">
            <a:xfrm>
              <a:off x="-4411663" y="4352925"/>
              <a:ext cx="312738" cy="26988"/>
            </a:xfrm>
            <a:custGeom>
              <a:avLst/>
              <a:gdLst>
                <a:gd name="T0" fmla="*/ 377 w 394"/>
                <a:gd name="T1" fmla="*/ 33 h 33"/>
                <a:gd name="T2" fmla="*/ 16 w 394"/>
                <a:gd name="T3" fmla="*/ 33 h 33"/>
                <a:gd name="T4" fmla="*/ 16 w 394"/>
                <a:gd name="T5" fmla="*/ 33 h 33"/>
                <a:gd name="T6" fmla="*/ 10 w 394"/>
                <a:gd name="T7" fmla="*/ 32 h 33"/>
                <a:gd name="T8" fmla="*/ 4 w 394"/>
                <a:gd name="T9" fmla="*/ 28 h 33"/>
                <a:gd name="T10" fmla="*/ 1 w 394"/>
                <a:gd name="T11" fmla="*/ 23 h 33"/>
                <a:gd name="T12" fmla="*/ 0 w 394"/>
                <a:gd name="T13" fmla="*/ 17 h 33"/>
                <a:gd name="T14" fmla="*/ 0 w 394"/>
                <a:gd name="T15" fmla="*/ 17 h 33"/>
                <a:gd name="T16" fmla="*/ 1 w 394"/>
                <a:gd name="T17" fmla="*/ 10 h 33"/>
                <a:gd name="T18" fmla="*/ 4 w 394"/>
                <a:gd name="T19" fmla="*/ 6 h 33"/>
                <a:gd name="T20" fmla="*/ 10 w 394"/>
                <a:gd name="T21" fmla="*/ 1 h 33"/>
                <a:gd name="T22" fmla="*/ 16 w 394"/>
                <a:gd name="T23" fmla="*/ 0 h 33"/>
                <a:gd name="T24" fmla="*/ 377 w 394"/>
                <a:gd name="T25" fmla="*/ 0 h 33"/>
                <a:gd name="T26" fmla="*/ 377 w 394"/>
                <a:gd name="T27" fmla="*/ 0 h 33"/>
                <a:gd name="T28" fmla="*/ 383 w 394"/>
                <a:gd name="T29" fmla="*/ 1 h 33"/>
                <a:gd name="T30" fmla="*/ 389 w 394"/>
                <a:gd name="T31" fmla="*/ 6 h 33"/>
                <a:gd name="T32" fmla="*/ 392 w 394"/>
                <a:gd name="T33" fmla="*/ 10 h 33"/>
                <a:gd name="T34" fmla="*/ 394 w 394"/>
                <a:gd name="T35" fmla="*/ 17 h 33"/>
                <a:gd name="T36" fmla="*/ 394 w 394"/>
                <a:gd name="T37" fmla="*/ 17 h 33"/>
                <a:gd name="T38" fmla="*/ 392 w 394"/>
                <a:gd name="T39" fmla="*/ 23 h 33"/>
                <a:gd name="T40" fmla="*/ 389 w 394"/>
                <a:gd name="T41" fmla="*/ 28 h 33"/>
                <a:gd name="T42" fmla="*/ 383 w 394"/>
                <a:gd name="T43" fmla="*/ 32 h 33"/>
                <a:gd name="T44" fmla="*/ 377 w 394"/>
                <a:gd name="T45" fmla="*/ 33 h 33"/>
                <a:gd name="T46" fmla="*/ 377 w 394"/>
                <a:gd name="T4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4" h="33">
                  <a:moveTo>
                    <a:pt x="377" y="33"/>
                  </a:moveTo>
                  <a:lnTo>
                    <a:pt x="16" y="33"/>
                  </a:lnTo>
                  <a:lnTo>
                    <a:pt x="16" y="33"/>
                  </a:lnTo>
                  <a:lnTo>
                    <a:pt x="10" y="32"/>
                  </a:lnTo>
                  <a:lnTo>
                    <a:pt x="4" y="28"/>
                  </a:lnTo>
                  <a:lnTo>
                    <a:pt x="1" y="23"/>
                  </a:lnTo>
                  <a:lnTo>
                    <a:pt x="0" y="17"/>
                  </a:lnTo>
                  <a:lnTo>
                    <a:pt x="0" y="17"/>
                  </a:lnTo>
                  <a:lnTo>
                    <a:pt x="1" y="10"/>
                  </a:lnTo>
                  <a:lnTo>
                    <a:pt x="4" y="6"/>
                  </a:lnTo>
                  <a:lnTo>
                    <a:pt x="10" y="1"/>
                  </a:lnTo>
                  <a:lnTo>
                    <a:pt x="16" y="0"/>
                  </a:lnTo>
                  <a:lnTo>
                    <a:pt x="377" y="0"/>
                  </a:lnTo>
                  <a:lnTo>
                    <a:pt x="377" y="0"/>
                  </a:lnTo>
                  <a:lnTo>
                    <a:pt x="383" y="1"/>
                  </a:lnTo>
                  <a:lnTo>
                    <a:pt x="389" y="6"/>
                  </a:lnTo>
                  <a:lnTo>
                    <a:pt x="392" y="10"/>
                  </a:lnTo>
                  <a:lnTo>
                    <a:pt x="394" y="17"/>
                  </a:lnTo>
                  <a:lnTo>
                    <a:pt x="394" y="17"/>
                  </a:lnTo>
                  <a:lnTo>
                    <a:pt x="392" y="23"/>
                  </a:lnTo>
                  <a:lnTo>
                    <a:pt x="389" y="28"/>
                  </a:lnTo>
                  <a:lnTo>
                    <a:pt x="383" y="32"/>
                  </a:lnTo>
                  <a:lnTo>
                    <a:pt x="377" y="33"/>
                  </a:lnTo>
                  <a:lnTo>
                    <a:pt x="377"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8" name="Freeform 10"/>
            <p:cNvSpPr>
              <a:spLocks/>
            </p:cNvSpPr>
            <p:nvPr/>
          </p:nvSpPr>
          <p:spPr bwMode="auto">
            <a:xfrm>
              <a:off x="-4198938" y="4275138"/>
              <a:ext cx="100013" cy="182563"/>
            </a:xfrm>
            <a:custGeom>
              <a:avLst/>
              <a:gdLst>
                <a:gd name="T0" fmla="*/ 18 w 127"/>
                <a:gd name="T1" fmla="*/ 231 h 231"/>
                <a:gd name="T2" fmla="*/ 18 w 127"/>
                <a:gd name="T3" fmla="*/ 231 h 231"/>
                <a:gd name="T4" fmla="*/ 10 w 127"/>
                <a:gd name="T5" fmla="*/ 231 h 231"/>
                <a:gd name="T6" fmla="*/ 6 w 127"/>
                <a:gd name="T7" fmla="*/ 226 h 231"/>
                <a:gd name="T8" fmla="*/ 6 w 127"/>
                <a:gd name="T9" fmla="*/ 226 h 231"/>
                <a:gd name="T10" fmla="*/ 2 w 127"/>
                <a:gd name="T11" fmla="*/ 221 h 231"/>
                <a:gd name="T12" fmla="*/ 0 w 127"/>
                <a:gd name="T13" fmla="*/ 215 h 231"/>
                <a:gd name="T14" fmla="*/ 2 w 127"/>
                <a:gd name="T15" fmla="*/ 209 h 231"/>
                <a:gd name="T16" fmla="*/ 6 w 127"/>
                <a:gd name="T17" fmla="*/ 203 h 231"/>
                <a:gd name="T18" fmla="*/ 94 w 127"/>
                <a:gd name="T19" fmla="*/ 115 h 231"/>
                <a:gd name="T20" fmla="*/ 6 w 127"/>
                <a:gd name="T21" fmla="*/ 28 h 231"/>
                <a:gd name="T22" fmla="*/ 6 w 127"/>
                <a:gd name="T23" fmla="*/ 28 h 231"/>
                <a:gd name="T24" fmla="*/ 2 w 127"/>
                <a:gd name="T25" fmla="*/ 22 h 231"/>
                <a:gd name="T26" fmla="*/ 0 w 127"/>
                <a:gd name="T27" fmla="*/ 16 h 231"/>
                <a:gd name="T28" fmla="*/ 2 w 127"/>
                <a:gd name="T29" fmla="*/ 11 h 231"/>
                <a:gd name="T30" fmla="*/ 6 w 127"/>
                <a:gd name="T31" fmla="*/ 5 h 231"/>
                <a:gd name="T32" fmla="*/ 6 w 127"/>
                <a:gd name="T33" fmla="*/ 5 h 231"/>
                <a:gd name="T34" fmla="*/ 10 w 127"/>
                <a:gd name="T35" fmla="*/ 2 h 231"/>
                <a:gd name="T36" fmla="*/ 18 w 127"/>
                <a:gd name="T37" fmla="*/ 0 h 231"/>
                <a:gd name="T38" fmla="*/ 24 w 127"/>
                <a:gd name="T39" fmla="*/ 2 h 231"/>
                <a:gd name="T40" fmla="*/ 30 w 127"/>
                <a:gd name="T41" fmla="*/ 5 h 231"/>
                <a:gd name="T42" fmla="*/ 118 w 127"/>
                <a:gd name="T43" fmla="*/ 93 h 231"/>
                <a:gd name="T44" fmla="*/ 118 w 127"/>
                <a:gd name="T45" fmla="*/ 93 h 231"/>
                <a:gd name="T46" fmla="*/ 122 w 127"/>
                <a:gd name="T47" fmla="*/ 99 h 231"/>
                <a:gd name="T48" fmla="*/ 125 w 127"/>
                <a:gd name="T49" fmla="*/ 103 h 231"/>
                <a:gd name="T50" fmla="*/ 127 w 127"/>
                <a:gd name="T51" fmla="*/ 109 h 231"/>
                <a:gd name="T52" fmla="*/ 127 w 127"/>
                <a:gd name="T53" fmla="*/ 116 h 231"/>
                <a:gd name="T54" fmla="*/ 127 w 127"/>
                <a:gd name="T55" fmla="*/ 116 h 231"/>
                <a:gd name="T56" fmla="*/ 127 w 127"/>
                <a:gd name="T57" fmla="*/ 122 h 231"/>
                <a:gd name="T58" fmla="*/ 125 w 127"/>
                <a:gd name="T59" fmla="*/ 128 h 231"/>
                <a:gd name="T60" fmla="*/ 122 w 127"/>
                <a:gd name="T61" fmla="*/ 132 h 231"/>
                <a:gd name="T62" fmla="*/ 118 w 127"/>
                <a:gd name="T63" fmla="*/ 138 h 231"/>
                <a:gd name="T64" fmla="*/ 28 w 127"/>
                <a:gd name="T65" fmla="*/ 226 h 231"/>
                <a:gd name="T66" fmla="*/ 28 w 127"/>
                <a:gd name="T67" fmla="*/ 226 h 231"/>
                <a:gd name="T68" fmla="*/ 24 w 127"/>
                <a:gd name="T69" fmla="*/ 231 h 231"/>
                <a:gd name="T70" fmla="*/ 18 w 127"/>
                <a:gd name="T71" fmla="*/ 231 h 231"/>
                <a:gd name="T72" fmla="*/ 18 w 127"/>
                <a:gd name="T73"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31">
                  <a:moveTo>
                    <a:pt x="18" y="231"/>
                  </a:moveTo>
                  <a:lnTo>
                    <a:pt x="18" y="231"/>
                  </a:lnTo>
                  <a:lnTo>
                    <a:pt x="10" y="231"/>
                  </a:lnTo>
                  <a:lnTo>
                    <a:pt x="6" y="226"/>
                  </a:lnTo>
                  <a:lnTo>
                    <a:pt x="6" y="226"/>
                  </a:lnTo>
                  <a:lnTo>
                    <a:pt x="2" y="221"/>
                  </a:lnTo>
                  <a:lnTo>
                    <a:pt x="0" y="215"/>
                  </a:lnTo>
                  <a:lnTo>
                    <a:pt x="2" y="209"/>
                  </a:lnTo>
                  <a:lnTo>
                    <a:pt x="6" y="203"/>
                  </a:lnTo>
                  <a:lnTo>
                    <a:pt x="94" y="115"/>
                  </a:lnTo>
                  <a:lnTo>
                    <a:pt x="6" y="28"/>
                  </a:lnTo>
                  <a:lnTo>
                    <a:pt x="6" y="28"/>
                  </a:lnTo>
                  <a:lnTo>
                    <a:pt x="2" y="22"/>
                  </a:lnTo>
                  <a:lnTo>
                    <a:pt x="0" y="16"/>
                  </a:lnTo>
                  <a:lnTo>
                    <a:pt x="2" y="11"/>
                  </a:lnTo>
                  <a:lnTo>
                    <a:pt x="6" y="5"/>
                  </a:lnTo>
                  <a:lnTo>
                    <a:pt x="6" y="5"/>
                  </a:lnTo>
                  <a:lnTo>
                    <a:pt x="10" y="2"/>
                  </a:lnTo>
                  <a:lnTo>
                    <a:pt x="18" y="0"/>
                  </a:lnTo>
                  <a:lnTo>
                    <a:pt x="24" y="2"/>
                  </a:lnTo>
                  <a:lnTo>
                    <a:pt x="30" y="5"/>
                  </a:lnTo>
                  <a:lnTo>
                    <a:pt x="118" y="93"/>
                  </a:lnTo>
                  <a:lnTo>
                    <a:pt x="118" y="93"/>
                  </a:lnTo>
                  <a:lnTo>
                    <a:pt x="122" y="99"/>
                  </a:lnTo>
                  <a:lnTo>
                    <a:pt x="125" y="103"/>
                  </a:lnTo>
                  <a:lnTo>
                    <a:pt x="127" y="109"/>
                  </a:lnTo>
                  <a:lnTo>
                    <a:pt x="127" y="116"/>
                  </a:lnTo>
                  <a:lnTo>
                    <a:pt x="127" y="116"/>
                  </a:lnTo>
                  <a:lnTo>
                    <a:pt x="127" y="122"/>
                  </a:lnTo>
                  <a:lnTo>
                    <a:pt x="125" y="128"/>
                  </a:lnTo>
                  <a:lnTo>
                    <a:pt x="122" y="132"/>
                  </a:lnTo>
                  <a:lnTo>
                    <a:pt x="118" y="138"/>
                  </a:lnTo>
                  <a:lnTo>
                    <a:pt x="28" y="226"/>
                  </a:lnTo>
                  <a:lnTo>
                    <a:pt x="28" y="226"/>
                  </a:lnTo>
                  <a:lnTo>
                    <a:pt x="24" y="231"/>
                  </a:lnTo>
                  <a:lnTo>
                    <a:pt x="18" y="231"/>
                  </a:lnTo>
                  <a:lnTo>
                    <a:pt x="18" y="2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219" name="Group 218"/>
          <p:cNvGrpSpPr/>
          <p:nvPr/>
        </p:nvGrpSpPr>
        <p:grpSpPr>
          <a:xfrm>
            <a:off x="4180306" y="2689808"/>
            <a:ext cx="318964" cy="187816"/>
            <a:chOff x="-2597151" y="4195763"/>
            <a:chExt cx="312738" cy="184150"/>
          </a:xfrm>
          <a:solidFill>
            <a:schemeClr val="bg2">
              <a:lumMod val="25000"/>
              <a:lumOff val="75000"/>
            </a:schemeClr>
          </a:solidFill>
        </p:grpSpPr>
        <p:sp>
          <p:nvSpPr>
            <p:cNvPr id="220" name="Freeform 13"/>
            <p:cNvSpPr>
              <a:spLocks/>
            </p:cNvSpPr>
            <p:nvPr/>
          </p:nvSpPr>
          <p:spPr bwMode="auto">
            <a:xfrm>
              <a:off x="-2490788" y="4275138"/>
              <a:ext cx="206375" cy="25400"/>
            </a:xfrm>
            <a:custGeom>
              <a:avLst/>
              <a:gdLst>
                <a:gd name="T0" fmla="*/ 244 w 260"/>
                <a:gd name="T1" fmla="*/ 33 h 33"/>
                <a:gd name="T2" fmla="*/ 16 w 260"/>
                <a:gd name="T3" fmla="*/ 33 h 33"/>
                <a:gd name="T4" fmla="*/ 16 w 260"/>
                <a:gd name="T5" fmla="*/ 33 h 33"/>
                <a:gd name="T6" fmla="*/ 11 w 260"/>
                <a:gd name="T7" fmla="*/ 31 h 33"/>
                <a:gd name="T8" fmla="*/ 5 w 260"/>
                <a:gd name="T9" fmla="*/ 28 h 33"/>
                <a:gd name="T10" fmla="*/ 2 w 260"/>
                <a:gd name="T11" fmla="*/ 22 h 33"/>
                <a:gd name="T12" fmla="*/ 0 w 260"/>
                <a:gd name="T13" fmla="*/ 16 h 33"/>
                <a:gd name="T14" fmla="*/ 0 w 260"/>
                <a:gd name="T15" fmla="*/ 16 h 33"/>
                <a:gd name="T16" fmla="*/ 2 w 260"/>
                <a:gd name="T17" fmla="*/ 11 h 33"/>
                <a:gd name="T18" fmla="*/ 5 w 260"/>
                <a:gd name="T19" fmla="*/ 5 h 33"/>
                <a:gd name="T20" fmla="*/ 11 w 260"/>
                <a:gd name="T21" fmla="*/ 2 h 33"/>
                <a:gd name="T22" fmla="*/ 16 w 260"/>
                <a:gd name="T23" fmla="*/ 0 h 33"/>
                <a:gd name="T24" fmla="*/ 244 w 260"/>
                <a:gd name="T25" fmla="*/ 0 h 33"/>
                <a:gd name="T26" fmla="*/ 244 w 260"/>
                <a:gd name="T27" fmla="*/ 0 h 33"/>
                <a:gd name="T28" fmla="*/ 250 w 260"/>
                <a:gd name="T29" fmla="*/ 2 h 33"/>
                <a:gd name="T30" fmla="*/ 256 w 260"/>
                <a:gd name="T31" fmla="*/ 5 h 33"/>
                <a:gd name="T32" fmla="*/ 259 w 260"/>
                <a:gd name="T33" fmla="*/ 11 h 33"/>
                <a:gd name="T34" fmla="*/ 260 w 260"/>
                <a:gd name="T35" fmla="*/ 16 h 33"/>
                <a:gd name="T36" fmla="*/ 260 w 260"/>
                <a:gd name="T37" fmla="*/ 16 h 33"/>
                <a:gd name="T38" fmla="*/ 259 w 260"/>
                <a:gd name="T39" fmla="*/ 22 h 33"/>
                <a:gd name="T40" fmla="*/ 256 w 260"/>
                <a:gd name="T41" fmla="*/ 28 h 33"/>
                <a:gd name="T42" fmla="*/ 250 w 260"/>
                <a:gd name="T43" fmla="*/ 31 h 33"/>
                <a:gd name="T44" fmla="*/ 244 w 260"/>
                <a:gd name="T45" fmla="*/ 33 h 33"/>
                <a:gd name="T46" fmla="*/ 244 w 260"/>
                <a:gd name="T4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0" h="33">
                  <a:moveTo>
                    <a:pt x="244" y="33"/>
                  </a:moveTo>
                  <a:lnTo>
                    <a:pt x="16" y="33"/>
                  </a:lnTo>
                  <a:lnTo>
                    <a:pt x="16" y="33"/>
                  </a:lnTo>
                  <a:lnTo>
                    <a:pt x="11" y="31"/>
                  </a:lnTo>
                  <a:lnTo>
                    <a:pt x="5" y="28"/>
                  </a:lnTo>
                  <a:lnTo>
                    <a:pt x="2" y="22"/>
                  </a:lnTo>
                  <a:lnTo>
                    <a:pt x="0" y="16"/>
                  </a:lnTo>
                  <a:lnTo>
                    <a:pt x="0" y="16"/>
                  </a:lnTo>
                  <a:lnTo>
                    <a:pt x="2" y="11"/>
                  </a:lnTo>
                  <a:lnTo>
                    <a:pt x="5" y="5"/>
                  </a:lnTo>
                  <a:lnTo>
                    <a:pt x="11" y="2"/>
                  </a:lnTo>
                  <a:lnTo>
                    <a:pt x="16" y="0"/>
                  </a:lnTo>
                  <a:lnTo>
                    <a:pt x="244" y="0"/>
                  </a:lnTo>
                  <a:lnTo>
                    <a:pt x="244" y="0"/>
                  </a:lnTo>
                  <a:lnTo>
                    <a:pt x="250" y="2"/>
                  </a:lnTo>
                  <a:lnTo>
                    <a:pt x="256" y="5"/>
                  </a:lnTo>
                  <a:lnTo>
                    <a:pt x="259" y="11"/>
                  </a:lnTo>
                  <a:lnTo>
                    <a:pt x="260" y="16"/>
                  </a:lnTo>
                  <a:lnTo>
                    <a:pt x="260" y="16"/>
                  </a:lnTo>
                  <a:lnTo>
                    <a:pt x="259" y="22"/>
                  </a:lnTo>
                  <a:lnTo>
                    <a:pt x="256" y="28"/>
                  </a:lnTo>
                  <a:lnTo>
                    <a:pt x="250" y="31"/>
                  </a:lnTo>
                  <a:lnTo>
                    <a:pt x="244" y="33"/>
                  </a:lnTo>
                  <a:lnTo>
                    <a:pt x="244"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1" name="Freeform 14"/>
            <p:cNvSpPr>
              <a:spLocks/>
            </p:cNvSpPr>
            <p:nvPr/>
          </p:nvSpPr>
          <p:spPr bwMode="auto">
            <a:xfrm>
              <a:off x="-2597151" y="4275138"/>
              <a:ext cx="92075" cy="25400"/>
            </a:xfrm>
            <a:custGeom>
              <a:avLst/>
              <a:gdLst>
                <a:gd name="T0" fmla="*/ 98 w 114"/>
                <a:gd name="T1" fmla="*/ 33 h 33"/>
                <a:gd name="T2" fmla="*/ 16 w 114"/>
                <a:gd name="T3" fmla="*/ 33 h 33"/>
                <a:gd name="T4" fmla="*/ 16 w 114"/>
                <a:gd name="T5" fmla="*/ 33 h 33"/>
                <a:gd name="T6" fmla="*/ 8 w 114"/>
                <a:gd name="T7" fmla="*/ 31 h 33"/>
                <a:gd name="T8" fmla="*/ 4 w 114"/>
                <a:gd name="T9" fmla="*/ 28 h 33"/>
                <a:gd name="T10" fmla="*/ 0 w 114"/>
                <a:gd name="T11" fmla="*/ 22 h 33"/>
                <a:gd name="T12" fmla="*/ 0 w 114"/>
                <a:gd name="T13" fmla="*/ 16 h 33"/>
                <a:gd name="T14" fmla="*/ 0 w 114"/>
                <a:gd name="T15" fmla="*/ 16 h 33"/>
                <a:gd name="T16" fmla="*/ 0 w 114"/>
                <a:gd name="T17" fmla="*/ 11 h 33"/>
                <a:gd name="T18" fmla="*/ 4 w 114"/>
                <a:gd name="T19" fmla="*/ 5 h 33"/>
                <a:gd name="T20" fmla="*/ 8 w 114"/>
                <a:gd name="T21" fmla="*/ 2 h 33"/>
                <a:gd name="T22" fmla="*/ 16 w 114"/>
                <a:gd name="T23" fmla="*/ 0 h 33"/>
                <a:gd name="T24" fmla="*/ 98 w 114"/>
                <a:gd name="T25" fmla="*/ 0 h 33"/>
                <a:gd name="T26" fmla="*/ 98 w 114"/>
                <a:gd name="T27" fmla="*/ 0 h 33"/>
                <a:gd name="T28" fmla="*/ 104 w 114"/>
                <a:gd name="T29" fmla="*/ 2 h 33"/>
                <a:gd name="T30" fmla="*/ 110 w 114"/>
                <a:gd name="T31" fmla="*/ 5 h 33"/>
                <a:gd name="T32" fmla="*/ 113 w 114"/>
                <a:gd name="T33" fmla="*/ 11 h 33"/>
                <a:gd name="T34" fmla="*/ 114 w 114"/>
                <a:gd name="T35" fmla="*/ 16 h 33"/>
                <a:gd name="T36" fmla="*/ 114 w 114"/>
                <a:gd name="T37" fmla="*/ 16 h 33"/>
                <a:gd name="T38" fmla="*/ 113 w 114"/>
                <a:gd name="T39" fmla="*/ 22 h 33"/>
                <a:gd name="T40" fmla="*/ 110 w 114"/>
                <a:gd name="T41" fmla="*/ 28 h 33"/>
                <a:gd name="T42" fmla="*/ 104 w 114"/>
                <a:gd name="T43" fmla="*/ 31 h 33"/>
                <a:gd name="T44" fmla="*/ 98 w 114"/>
                <a:gd name="T45" fmla="*/ 33 h 33"/>
                <a:gd name="T46" fmla="*/ 98 w 114"/>
                <a:gd name="T4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4" h="33">
                  <a:moveTo>
                    <a:pt x="98" y="33"/>
                  </a:moveTo>
                  <a:lnTo>
                    <a:pt x="16" y="33"/>
                  </a:lnTo>
                  <a:lnTo>
                    <a:pt x="16" y="33"/>
                  </a:lnTo>
                  <a:lnTo>
                    <a:pt x="8" y="31"/>
                  </a:lnTo>
                  <a:lnTo>
                    <a:pt x="4" y="28"/>
                  </a:lnTo>
                  <a:lnTo>
                    <a:pt x="0" y="22"/>
                  </a:lnTo>
                  <a:lnTo>
                    <a:pt x="0" y="16"/>
                  </a:lnTo>
                  <a:lnTo>
                    <a:pt x="0" y="16"/>
                  </a:lnTo>
                  <a:lnTo>
                    <a:pt x="0" y="11"/>
                  </a:lnTo>
                  <a:lnTo>
                    <a:pt x="4" y="5"/>
                  </a:lnTo>
                  <a:lnTo>
                    <a:pt x="8" y="2"/>
                  </a:lnTo>
                  <a:lnTo>
                    <a:pt x="16" y="0"/>
                  </a:lnTo>
                  <a:lnTo>
                    <a:pt x="98" y="0"/>
                  </a:lnTo>
                  <a:lnTo>
                    <a:pt x="98" y="0"/>
                  </a:lnTo>
                  <a:lnTo>
                    <a:pt x="104" y="2"/>
                  </a:lnTo>
                  <a:lnTo>
                    <a:pt x="110" y="5"/>
                  </a:lnTo>
                  <a:lnTo>
                    <a:pt x="113" y="11"/>
                  </a:lnTo>
                  <a:lnTo>
                    <a:pt x="114" y="16"/>
                  </a:lnTo>
                  <a:lnTo>
                    <a:pt x="114" y="16"/>
                  </a:lnTo>
                  <a:lnTo>
                    <a:pt x="113" y="22"/>
                  </a:lnTo>
                  <a:lnTo>
                    <a:pt x="110" y="28"/>
                  </a:lnTo>
                  <a:lnTo>
                    <a:pt x="104" y="31"/>
                  </a:lnTo>
                  <a:lnTo>
                    <a:pt x="98" y="33"/>
                  </a:lnTo>
                  <a:lnTo>
                    <a:pt x="9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2" name="Freeform 15"/>
            <p:cNvSpPr>
              <a:spLocks/>
            </p:cNvSpPr>
            <p:nvPr/>
          </p:nvSpPr>
          <p:spPr bwMode="auto">
            <a:xfrm>
              <a:off x="-2384426" y="4195763"/>
              <a:ext cx="100013" cy="184150"/>
            </a:xfrm>
            <a:custGeom>
              <a:avLst/>
              <a:gdLst>
                <a:gd name="T0" fmla="*/ 16 w 126"/>
                <a:gd name="T1" fmla="*/ 232 h 232"/>
                <a:gd name="T2" fmla="*/ 16 w 126"/>
                <a:gd name="T3" fmla="*/ 232 h 232"/>
                <a:gd name="T4" fmla="*/ 10 w 126"/>
                <a:gd name="T5" fmla="*/ 231 h 232"/>
                <a:gd name="T6" fmla="*/ 6 w 126"/>
                <a:gd name="T7" fmla="*/ 227 h 232"/>
                <a:gd name="T8" fmla="*/ 6 w 126"/>
                <a:gd name="T9" fmla="*/ 227 h 232"/>
                <a:gd name="T10" fmla="*/ 1 w 126"/>
                <a:gd name="T11" fmla="*/ 222 h 232"/>
                <a:gd name="T12" fmla="*/ 0 w 126"/>
                <a:gd name="T13" fmla="*/ 216 h 232"/>
                <a:gd name="T14" fmla="*/ 1 w 126"/>
                <a:gd name="T15" fmla="*/ 209 h 232"/>
                <a:gd name="T16" fmla="*/ 6 w 126"/>
                <a:gd name="T17" fmla="*/ 205 h 232"/>
                <a:gd name="T18" fmla="*/ 94 w 126"/>
                <a:gd name="T19" fmla="*/ 115 h 232"/>
                <a:gd name="T20" fmla="*/ 6 w 126"/>
                <a:gd name="T21" fmla="*/ 28 h 232"/>
                <a:gd name="T22" fmla="*/ 6 w 126"/>
                <a:gd name="T23" fmla="*/ 28 h 232"/>
                <a:gd name="T24" fmla="*/ 1 w 126"/>
                <a:gd name="T25" fmla="*/ 24 h 232"/>
                <a:gd name="T26" fmla="*/ 0 w 126"/>
                <a:gd name="T27" fmla="*/ 16 h 232"/>
                <a:gd name="T28" fmla="*/ 1 w 126"/>
                <a:gd name="T29" fmla="*/ 11 h 232"/>
                <a:gd name="T30" fmla="*/ 6 w 126"/>
                <a:gd name="T31" fmla="*/ 5 h 232"/>
                <a:gd name="T32" fmla="*/ 6 w 126"/>
                <a:gd name="T33" fmla="*/ 5 h 232"/>
                <a:gd name="T34" fmla="*/ 10 w 126"/>
                <a:gd name="T35" fmla="*/ 2 h 232"/>
                <a:gd name="T36" fmla="*/ 16 w 126"/>
                <a:gd name="T37" fmla="*/ 0 h 232"/>
                <a:gd name="T38" fmla="*/ 23 w 126"/>
                <a:gd name="T39" fmla="*/ 2 h 232"/>
                <a:gd name="T40" fmla="*/ 28 w 126"/>
                <a:gd name="T41" fmla="*/ 5 h 232"/>
                <a:gd name="T42" fmla="*/ 117 w 126"/>
                <a:gd name="T43" fmla="*/ 94 h 232"/>
                <a:gd name="T44" fmla="*/ 117 w 126"/>
                <a:gd name="T45" fmla="*/ 94 h 232"/>
                <a:gd name="T46" fmla="*/ 122 w 126"/>
                <a:gd name="T47" fmla="*/ 99 h 232"/>
                <a:gd name="T48" fmla="*/ 125 w 126"/>
                <a:gd name="T49" fmla="*/ 105 h 232"/>
                <a:gd name="T50" fmla="*/ 126 w 126"/>
                <a:gd name="T51" fmla="*/ 111 h 232"/>
                <a:gd name="T52" fmla="*/ 126 w 126"/>
                <a:gd name="T53" fmla="*/ 116 h 232"/>
                <a:gd name="T54" fmla="*/ 126 w 126"/>
                <a:gd name="T55" fmla="*/ 116 h 232"/>
                <a:gd name="T56" fmla="*/ 126 w 126"/>
                <a:gd name="T57" fmla="*/ 122 h 232"/>
                <a:gd name="T58" fmla="*/ 125 w 126"/>
                <a:gd name="T59" fmla="*/ 128 h 232"/>
                <a:gd name="T60" fmla="*/ 122 w 126"/>
                <a:gd name="T61" fmla="*/ 134 h 232"/>
                <a:gd name="T62" fmla="*/ 117 w 126"/>
                <a:gd name="T63" fmla="*/ 138 h 232"/>
                <a:gd name="T64" fmla="*/ 28 w 126"/>
                <a:gd name="T65" fmla="*/ 227 h 232"/>
                <a:gd name="T66" fmla="*/ 28 w 126"/>
                <a:gd name="T67" fmla="*/ 227 h 232"/>
                <a:gd name="T68" fmla="*/ 23 w 126"/>
                <a:gd name="T69" fmla="*/ 231 h 232"/>
                <a:gd name="T70" fmla="*/ 16 w 126"/>
                <a:gd name="T71" fmla="*/ 232 h 232"/>
                <a:gd name="T72" fmla="*/ 16 w 126"/>
                <a:gd name="T73"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232">
                  <a:moveTo>
                    <a:pt x="16" y="232"/>
                  </a:moveTo>
                  <a:lnTo>
                    <a:pt x="16" y="232"/>
                  </a:lnTo>
                  <a:lnTo>
                    <a:pt x="10" y="231"/>
                  </a:lnTo>
                  <a:lnTo>
                    <a:pt x="6" y="227"/>
                  </a:lnTo>
                  <a:lnTo>
                    <a:pt x="6" y="227"/>
                  </a:lnTo>
                  <a:lnTo>
                    <a:pt x="1" y="222"/>
                  </a:lnTo>
                  <a:lnTo>
                    <a:pt x="0" y="216"/>
                  </a:lnTo>
                  <a:lnTo>
                    <a:pt x="1" y="209"/>
                  </a:lnTo>
                  <a:lnTo>
                    <a:pt x="6" y="205"/>
                  </a:lnTo>
                  <a:lnTo>
                    <a:pt x="94" y="115"/>
                  </a:lnTo>
                  <a:lnTo>
                    <a:pt x="6" y="28"/>
                  </a:lnTo>
                  <a:lnTo>
                    <a:pt x="6" y="28"/>
                  </a:lnTo>
                  <a:lnTo>
                    <a:pt x="1" y="24"/>
                  </a:lnTo>
                  <a:lnTo>
                    <a:pt x="0" y="16"/>
                  </a:lnTo>
                  <a:lnTo>
                    <a:pt x="1" y="11"/>
                  </a:lnTo>
                  <a:lnTo>
                    <a:pt x="6" y="5"/>
                  </a:lnTo>
                  <a:lnTo>
                    <a:pt x="6" y="5"/>
                  </a:lnTo>
                  <a:lnTo>
                    <a:pt x="10" y="2"/>
                  </a:lnTo>
                  <a:lnTo>
                    <a:pt x="16" y="0"/>
                  </a:lnTo>
                  <a:lnTo>
                    <a:pt x="23" y="2"/>
                  </a:lnTo>
                  <a:lnTo>
                    <a:pt x="28" y="5"/>
                  </a:lnTo>
                  <a:lnTo>
                    <a:pt x="117" y="94"/>
                  </a:lnTo>
                  <a:lnTo>
                    <a:pt x="117" y="94"/>
                  </a:lnTo>
                  <a:lnTo>
                    <a:pt x="122" y="99"/>
                  </a:lnTo>
                  <a:lnTo>
                    <a:pt x="125" y="105"/>
                  </a:lnTo>
                  <a:lnTo>
                    <a:pt x="126" y="111"/>
                  </a:lnTo>
                  <a:lnTo>
                    <a:pt x="126" y="116"/>
                  </a:lnTo>
                  <a:lnTo>
                    <a:pt x="126" y="116"/>
                  </a:lnTo>
                  <a:lnTo>
                    <a:pt x="126" y="122"/>
                  </a:lnTo>
                  <a:lnTo>
                    <a:pt x="125" y="128"/>
                  </a:lnTo>
                  <a:lnTo>
                    <a:pt x="122" y="134"/>
                  </a:lnTo>
                  <a:lnTo>
                    <a:pt x="117" y="138"/>
                  </a:lnTo>
                  <a:lnTo>
                    <a:pt x="28" y="227"/>
                  </a:lnTo>
                  <a:lnTo>
                    <a:pt x="28" y="227"/>
                  </a:lnTo>
                  <a:lnTo>
                    <a:pt x="23" y="231"/>
                  </a:lnTo>
                  <a:lnTo>
                    <a:pt x="16" y="232"/>
                  </a:lnTo>
                  <a:lnTo>
                    <a:pt x="16"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223" name="Group 222"/>
          <p:cNvGrpSpPr/>
          <p:nvPr/>
        </p:nvGrpSpPr>
        <p:grpSpPr>
          <a:xfrm>
            <a:off x="8504620" y="1774619"/>
            <a:ext cx="806034" cy="2786477"/>
            <a:chOff x="8337755" y="1739981"/>
            <a:chExt cx="790301" cy="2732088"/>
          </a:xfrm>
          <a:solidFill>
            <a:schemeClr val="accent1"/>
          </a:solidFill>
        </p:grpSpPr>
        <p:sp>
          <p:nvSpPr>
            <p:cNvPr id="224" name="Freeform 6"/>
            <p:cNvSpPr>
              <a:spLocks/>
            </p:cNvSpPr>
            <p:nvPr/>
          </p:nvSpPr>
          <p:spPr bwMode="auto">
            <a:xfrm>
              <a:off x="8845481" y="1739981"/>
              <a:ext cx="282575" cy="2732088"/>
            </a:xfrm>
            <a:custGeom>
              <a:avLst/>
              <a:gdLst>
                <a:gd name="T0" fmla="*/ 339 w 355"/>
                <a:gd name="T1" fmla="*/ 3442 h 3442"/>
                <a:gd name="T2" fmla="*/ 55 w 355"/>
                <a:gd name="T3" fmla="*/ 3442 h 3442"/>
                <a:gd name="T4" fmla="*/ 55 w 355"/>
                <a:gd name="T5" fmla="*/ 3442 h 3442"/>
                <a:gd name="T6" fmla="*/ 45 w 355"/>
                <a:gd name="T7" fmla="*/ 3441 h 3442"/>
                <a:gd name="T8" fmla="*/ 35 w 355"/>
                <a:gd name="T9" fmla="*/ 3438 h 3442"/>
                <a:gd name="T10" fmla="*/ 24 w 355"/>
                <a:gd name="T11" fmla="*/ 3432 h 3442"/>
                <a:gd name="T12" fmla="*/ 16 w 355"/>
                <a:gd name="T13" fmla="*/ 3424 h 3442"/>
                <a:gd name="T14" fmla="*/ 10 w 355"/>
                <a:gd name="T15" fmla="*/ 3417 h 3442"/>
                <a:gd name="T16" fmla="*/ 4 w 355"/>
                <a:gd name="T17" fmla="*/ 3407 h 3442"/>
                <a:gd name="T18" fmla="*/ 1 w 355"/>
                <a:gd name="T19" fmla="*/ 3396 h 3442"/>
                <a:gd name="T20" fmla="*/ 0 w 355"/>
                <a:gd name="T21" fmla="*/ 3385 h 3442"/>
                <a:gd name="T22" fmla="*/ 0 w 355"/>
                <a:gd name="T23" fmla="*/ 56 h 3442"/>
                <a:gd name="T24" fmla="*/ 0 w 355"/>
                <a:gd name="T25" fmla="*/ 56 h 3442"/>
                <a:gd name="T26" fmla="*/ 1 w 355"/>
                <a:gd name="T27" fmla="*/ 44 h 3442"/>
                <a:gd name="T28" fmla="*/ 4 w 355"/>
                <a:gd name="T29" fmla="*/ 34 h 3442"/>
                <a:gd name="T30" fmla="*/ 10 w 355"/>
                <a:gd name="T31" fmla="*/ 25 h 3442"/>
                <a:gd name="T32" fmla="*/ 16 w 355"/>
                <a:gd name="T33" fmla="*/ 16 h 3442"/>
                <a:gd name="T34" fmla="*/ 24 w 355"/>
                <a:gd name="T35" fmla="*/ 9 h 3442"/>
                <a:gd name="T36" fmla="*/ 35 w 355"/>
                <a:gd name="T37" fmla="*/ 4 h 3442"/>
                <a:gd name="T38" fmla="*/ 45 w 355"/>
                <a:gd name="T39" fmla="*/ 1 h 3442"/>
                <a:gd name="T40" fmla="*/ 55 w 355"/>
                <a:gd name="T41" fmla="*/ 0 h 3442"/>
                <a:gd name="T42" fmla="*/ 339 w 355"/>
                <a:gd name="T43" fmla="*/ 0 h 3442"/>
                <a:gd name="T44" fmla="*/ 339 w 355"/>
                <a:gd name="T45" fmla="*/ 0 h 3442"/>
                <a:gd name="T46" fmla="*/ 346 w 355"/>
                <a:gd name="T47" fmla="*/ 1 h 3442"/>
                <a:gd name="T48" fmla="*/ 351 w 355"/>
                <a:gd name="T49" fmla="*/ 4 h 3442"/>
                <a:gd name="T50" fmla="*/ 354 w 355"/>
                <a:gd name="T51" fmla="*/ 10 h 3442"/>
                <a:gd name="T52" fmla="*/ 355 w 355"/>
                <a:gd name="T53" fmla="*/ 16 h 3442"/>
                <a:gd name="T54" fmla="*/ 355 w 355"/>
                <a:gd name="T55" fmla="*/ 16 h 3442"/>
                <a:gd name="T56" fmla="*/ 354 w 355"/>
                <a:gd name="T57" fmla="*/ 24 h 3442"/>
                <a:gd name="T58" fmla="*/ 351 w 355"/>
                <a:gd name="T59" fmla="*/ 28 h 3442"/>
                <a:gd name="T60" fmla="*/ 346 w 355"/>
                <a:gd name="T61" fmla="*/ 32 h 3442"/>
                <a:gd name="T62" fmla="*/ 339 w 355"/>
                <a:gd name="T63" fmla="*/ 32 h 3442"/>
                <a:gd name="T64" fmla="*/ 55 w 355"/>
                <a:gd name="T65" fmla="*/ 32 h 3442"/>
                <a:gd name="T66" fmla="*/ 55 w 355"/>
                <a:gd name="T67" fmla="*/ 32 h 3442"/>
                <a:gd name="T68" fmla="*/ 51 w 355"/>
                <a:gd name="T69" fmla="*/ 34 h 3442"/>
                <a:gd name="T70" fmla="*/ 47 w 355"/>
                <a:gd name="T71" fmla="*/ 35 h 3442"/>
                <a:gd name="T72" fmla="*/ 39 w 355"/>
                <a:gd name="T73" fmla="*/ 40 h 3442"/>
                <a:gd name="T74" fmla="*/ 35 w 355"/>
                <a:gd name="T75" fmla="*/ 47 h 3442"/>
                <a:gd name="T76" fmla="*/ 33 w 355"/>
                <a:gd name="T77" fmla="*/ 51 h 3442"/>
                <a:gd name="T78" fmla="*/ 33 w 355"/>
                <a:gd name="T79" fmla="*/ 56 h 3442"/>
                <a:gd name="T80" fmla="*/ 33 w 355"/>
                <a:gd name="T81" fmla="*/ 3385 h 3442"/>
                <a:gd name="T82" fmla="*/ 33 w 355"/>
                <a:gd name="T83" fmla="*/ 3385 h 3442"/>
                <a:gd name="T84" fmla="*/ 33 w 355"/>
                <a:gd name="T85" fmla="*/ 3391 h 3442"/>
                <a:gd name="T86" fmla="*/ 35 w 355"/>
                <a:gd name="T87" fmla="*/ 3395 h 3442"/>
                <a:gd name="T88" fmla="*/ 39 w 355"/>
                <a:gd name="T89" fmla="*/ 3402 h 3442"/>
                <a:gd name="T90" fmla="*/ 47 w 355"/>
                <a:gd name="T91" fmla="*/ 3407 h 3442"/>
                <a:gd name="T92" fmla="*/ 51 w 355"/>
                <a:gd name="T93" fmla="*/ 3408 h 3442"/>
                <a:gd name="T94" fmla="*/ 55 w 355"/>
                <a:gd name="T95" fmla="*/ 3408 h 3442"/>
                <a:gd name="T96" fmla="*/ 339 w 355"/>
                <a:gd name="T97" fmla="*/ 3408 h 3442"/>
                <a:gd name="T98" fmla="*/ 339 w 355"/>
                <a:gd name="T99" fmla="*/ 3408 h 3442"/>
                <a:gd name="T100" fmla="*/ 346 w 355"/>
                <a:gd name="T101" fmla="*/ 3410 h 3442"/>
                <a:gd name="T102" fmla="*/ 351 w 355"/>
                <a:gd name="T103" fmla="*/ 3414 h 3442"/>
                <a:gd name="T104" fmla="*/ 354 w 355"/>
                <a:gd name="T105" fmla="*/ 3418 h 3442"/>
                <a:gd name="T106" fmla="*/ 355 w 355"/>
                <a:gd name="T107" fmla="*/ 3424 h 3442"/>
                <a:gd name="T108" fmla="*/ 355 w 355"/>
                <a:gd name="T109" fmla="*/ 3424 h 3442"/>
                <a:gd name="T110" fmla="*/ 354 w 355"/>
                <a:gd name="T111" fmla="*/ 3432 h 3442"/>
                <a:gd name="T112" fmla="*/ 351 w 355"/>
                <a:gd name="T113" fmla="*/ 3436 h 3442"/>
                <a:gd name="T114" fmla="*/ 346 w 355"/>
                <a:gd name="T115" fmla="*/ 3441 h 3442"/>
                <a:gd name="T116" fmla="*/ 339 w 355"/>
                <a:gd name="T117" fmla="*/ 3442 h 3442"/>
                <a:gd name="T118" fmla="*/ 339 w 355"/>
                <a:gd name="T119" fmla="*/ 3442 h 3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5" h="3442">
                  <a:moveTo>
                    <a:pt x="339" y="3442"/>
                  </a:moveTo>
                  <a:lnTo>
                    <a:pt x="55" y="3442"/>
                  </a:lnTo>
                  <a:lnTo>
                    <a:pt x="55" y="3442"/>
                  </a:lnTo>
                  <a:lnTo>
                    <a:pt x="45" y="3441"/>
                  </a:lnTo>
                  <a:lnTo>
                    <a:pt x="35" y="3438"/>
                  </a:lnTo>
                  <a:lnTo>
                    <a:pt x="24" y="3432"/>
                  </a:lnTo>
                  <a:lnTo>
                    <a:pt x="16" y="3424"/>
                  </a:lnTo>
                  <a:lnTo>
                    <a:pt x="10" y="3417"/>
                  </a:lnTo>
                  <a:lnTo>
                    <a:pt x="4" y="3407"/>
                  </a:lnTo>
                  <a:lnTo>
                    <a:pt x="1" y="3396"/>
                  </a:lnTo>
                  <a:lnTo>
                    <a:pt x="0" y="3385"/>
                  </a:lnTo>
                  <a:lnTo>
                    <a:pt x="0" y="56"/>
                  </a:lnTo>
                  <a:lnTo>
                    <a:pt x="0" y="56"/>
                  </a:lnTo>
                  <a:lnTo>
                    <a:pt x="1" y="44"/>
                  </a:lnTo>
                  <a:lnTo>
                    <a:pt x="4" y="34"/>
                  </a:lnTo>
                  <a:lnTo>
                    <a:pt x="10" y="25"/>
                  </a:lnTo>
                  <a:lnTo>
                    <a:pt x="16" y="16"/>
                  </a:lnTo>
                  <a:lnTo>
                    <a:pt x="24" y="9"/>
                  </a:lnTo>
                  <a:lnTo>
                    <a:pt x="35" y="4"/>
                  </a:lnTo>
                  <a:lnTo>
                    <a:pt x="45" y="1"/>
                  </a:lnTo>
                  <a:lnTo>
                    <a:pt x="55" y="0"/>
                  </a:lnTo>
                  <a:lnTo>
                    <a:pt x="339" y="0"/>
                  </a:lnTo>
                  <a:lnTo>
                    <a:pt x="339" y="0"/>
                  </a:lnTo>
                  <a:lnTo>
                    <a:pt x="346" y="1"/>
                  </a:lnTo>
                  <a:lnTo>
                    <a:pt x="351" y="4"/>
                  </a:lnTo>
                  <a:lnTo>
                    <a:pt x="354" y="10"/>
                  </a:lnTo>
                  <a:lnTo>
                    <a:pt x="355" y="16"/>
                  </a:lnTo>
                  <a:lnTo>
                    <a:pt x="355" y="16"/>
                  </a:lnTo>
                  <a:lnTo>
                    <a:pt x="354" y="24"/>
                  </a:lnTo>
                  <a:lnTo>
                    <a:pt x="351" y="28"/>
                  </a:lnTo>
                  <a:lnTo>
                    <a:pt x="346" y="32"/>
                  </a:lnTo>
                  <a:lnTo>
                    <a:pt x="339" y="32"/>
                  </a:lnTo>
                  <a:lnTo>
                    <a:pt x="55" y="32"/>
                  </a:lnTo>
                  <a:lnTo>
                    <a:pt x="55" y="32"/>
                  </a:lnTo>
                  <a:lnTo>
                    <a:pt x="51" y="34"/>
                  </a:lnTo>
                  <a:lnTo>
                    <a:pt x="47" y="35"/>
                  </a:lnTo>
                  <a:lnTo>
                    <a:pt x="39" y="40"/>
                  </a:lnTo>
                  <a:lnTo>
                    <a:pt x="35" y="47"/>
                  </a:lnTo>
                  <a:lnTo>
                    <a:pt x="33" y="51"/>
                  </a:lnTo>
                  <a:lnTo>
                    <a:pt x="33" y="56"/>
                  </a:lnTo>
                  <a:lnTo>
                    <a:pt x="33" y="3385"/>
                  </a:lnTo>
                  <a:lnTo>
                    <a:pt x="33" y="3385"/>
                  </a:lnTo>
                  <a:lnTo>
                    <a:pt x="33" y="3391"/>
                  </a:lnTo>
                  <a:lnTo>
                    <a:pt x="35" y="3395"/>
                  </a:lnTo>
                  <a:lnTo>
                    <a:pt x="39" y="3402"/>
                  </a:lnTo>
                  <a:lnTo>
                    <a:pt x="47" y="3407"/>
                  </a:lnTo>
                  <a:lnTo>
                    <a:pt x="51" y="3408"/>
                  </a:lnTo>
                  <a:lnTo>
                    <a:pt x="55" y="3408"/>
                  </a:lnTo>
                  <a:lnTo>
                    <a:pt x="339" y="3408"/>
                  </a:lnTo>
                  <a:lnTo>
                    <a:pt x="339" y="3408"/>
                  </a:lnTo>
                  <a:lnTo>
                    <a:pt x="346" y="3410"/>
                  </a:lnTo>
                  <a:lnTo>
                    <a:pt x="351" y="3414"/>
                  </a:lnTo>
                  <a:lnTo>
                    <a:pt x="354" y="3418"/>
                  </a:lnTo>
                  <a:lnTo>
                    <a:pt x="355" y="3424"/>
                  </a:lnTo>
                  <a:lnTo>
                    <a:pt x="355" y="3424"/>
                  </a:lnTo>
                  <a:lnTo>
                    <a:pt x="354" y="3432"/>
                  </a:lnTo>
                  <a:lnTo>
                    <a:pt x="351" y="3436"/>
                  </a:lnTo>
                  <a:lnTo>
                    <a:pt x="346" y="3441"/>
                  </a:lnTo>
                  <a:lnTo>
                    <a:pt x="339" y="3442"/>
                  </a:lnTo>
                  <a:lnTo>
                    <a:pt x="339" y="3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5" name="Freeform 11"/>
            <p:cNvSpPr>
              <a:spLocks/>
            </p:cNvSpPr>
            <p:nvPr/>
          </p:nvSpPr>
          <p:spPr bwMode="auto">
            <a:xfrm>
              <a:off x="8337755" y="3141744"/>
              <a:ext cx="512763" cy="25400"/>
            </a:xfrm>
            <a:custGeom>
              <a:avLst/>
              <a:gdLst>
                <a:gd name="T0" fmla="*/ 630 w 647"/>
                <a:gd name="T1" fmla="*/ 32 h 32"/>
                <a:gd name="T2" fmla="*/ 16 w 647"/>
                <a:gd name="T3" fmla="*/ 32 h 32"/>
                <a:gd name="T4" fmla="*/ 16 w 647"/>
                <a:gd name="T5" fmla="*/ 32 h 32"/>
                <a:gd name="T6" fmla="*/ 11 w 647"/>
                <a:gd name="T7" fmla="*/ 31 h 32"/>
                <a:gd name="T8" fmla="*/ 5 w 647"/>
                <a:gd name="T9" fmla="*/ 28 h 32"/>
                <a:gd name="T10" fmla="*/ 2 w 647"/>
                <a:gd name="T11" fmla="*/ 22 h 32"/>
                <a:gd name="T12" fmla="*/ 0 w 647"/>
                <a:gd name="T13" fmla="*/ 16 h 32"/>
                <a:gd name="T14" fmla="*/ 0 w 647"/>
                <a:gd name="T15" fmla="*/ 16 h 32"/>
                <a:gd name="T16" fmla="*/ 2 w 647"/>
                <a:gd name="T17" fmla="*/ 10 h 32"/>
                <a:gd name="T18" fmla="*/ 5 w 647"/>
                <a:gd name="T19" fmla="*/ 4 h 32"/>
                <a:gd name="T20" fmla="*/ 11 w 647"/>
                <a:gd name="T21" fmla="*/ 1 h 32"/>
                <a:gd name="T22" fmla="*/ 16 w 647"/>
                <a:gd name="T23" fmla="*/ 0 h 32"/>
                <a:gd name="T24" fmla="*/ 630 w 647"/>
                <a:gd name="T25" fmla="*/ 0 h 32"/>
                <a:gd name="T26" fmla="*/ 630 w 647"/>
                <a:gd name="T27" fmla="*/ 0 h 32"/>
                <a:gd name="T28" fmla="*/ 638 w 647"/>
                <a:gd name="T29" fmla="*/ 1 h 32"/>
                <a:gd name="T30" fmla="*/ 642 w 647"/>
                <a:gd name="T31" fmla="*/ 4 h 32"/>
                <a:gd name="T32" fmla="*/ 647 w 647"/>
                <a:gd name="T33" fmla="*/ 10 h 32"/>
                <a:gd name="T34" fmla="*/ 647 w 647"/>
                <a:gd name="T35" fmla="*/ 16 h 32"/>
                <a:gd name="T36" fmla="*/ 647 w 647"/>
                <a:gd name="T37" fmla="*/ 16 h 32"/>
                <a:gd name="T38" fmla="*/ 647 w 647"/>
                <a:gd name="T39" fmla="*/ 22 h 32"/>
                <a:gd name="T40" fmla="*/ 642 w 647"/>
                <a:gd name="T41" fmla="*/ 28 h 32"/>
                <a:gd name="T42" fmla="*/ 638 w 647"/>
                <a:gd name="T43" fmla="*/ 31 h 32"/>
                <a:gd name="T44" fmla="*/ 630 w 647"/>
                <a:gd name="T45" fmla="*/ 32 h 32"/>
                <a:gd name="T46" fmla="*/ 630 w 647"/>
                <a:gd name="T4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7" h="32">
                  <a:moveTo>
                    <a:pt x="630" y="32"/>
                  </a:moveTo>
                  <a:lnTo>
                    <a:pt x="16" y="32"/>
                  </a:lnTo>
                  <a:lnTo>
                    <a:pt x="16" y="32"/>
                  </a:lnTo>
                  <a:lnTo>
                    <a:pt x="11" y="31"/>
                  </a:lnTo>
                  <a:lnTo>
                    <a:pt x="5" y="28"/>
                  </a:lnTo>
                  <a:lnTo>
                    <a:pt x="2" y="22"/>
                  </a:lnTo>
                  <a:lnTo>
                    <a:pt x="0" y="16"/>
                  </a:lnTo>
                  <a:lnTo>
                    <a:pt x="0" y="16"/>
                  </a:lnTo>
                  <a:lnTo>
                    <a:pt x="2" y="10"/>
                  </a:lnTo>
                  <a:lnTo>
                    <a:pt x="5" y="4"/>
                  </a:lnTo>
                  <a:lnTo>
                    <a:pt x="11" y="1"/>
                  </a:lnTo>
                  <a:lnTo>
                    <a:pt x="16" y="0"/>
                  </a:lnTo>
                  <a:lnTo>
                    <a:pt x="630" y="0"/>
                  </a:lnTo>
                  <a:lnTo>
                    <a:pt x="630" y="0"/>
                  </a:lnTo>
                  <a:lnTo>
                    <a:pt x="638" y="1"/>
                  </a:lnTo>
                  <a:lnTo>
                    <a:pt x="642" y="4"/>
                  </a:lnTo>
                  <a:lnTo>
                    <a:pt x="647" y="10"/>
                  </a:lnTo>
                  <a:lnTo>
                    <a:pt x="647" y="16"/>
                  </a:lnTo>
                  <a:lnTo>
                    <a:pt x="647" y="16"/>
                  </a:lnTo>
                  <a:lnTo>
                    <a:pt x="647" y="22"/>
                  </a:lnTo>
                  <a:lnTo>
                    <a:pt x="642" y="28"/>
                  </a:lnTo>
                  <a:lnTo>
                    <a:pt x="638" y="31"/>
                  </a:lnTo>
                  <a:lnTo>
                    <a:pt x="630" y="32"/>
                  </a:lnTo>
                  <a:lnTo>
                    <a:pt x="630"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6" name="Freeform 12"/>
            <p:cNvSpPr>
              <a:spLocks/>
            </p:cNvSpPr>
            <p:nvPr/>
          </p:nvSpPr>
          <p:spPr bwMode="auto">
            <a:xfrm>
              <a:off x="8752092" y="3062369"/>
              <a:ext cx="98425" cy="184150"/>
            </a:xfrm>
            <a:custGeom>
              <a:avLst/>
              <a:gdLst>
                <a:gd name="T0" fmla="*/ 16 w 125"/>
                <a:gd name="T1" fmla="*/ 232 h 232"/>
                <a:gd name="T2" fmla="*/ 16 w 125"/>
                <a:gd name="T3" fmla="*/ 232 h 232"/>
                <a:gd name="T4" fmla="*/ 10 w 125"/>
                <a:gd name="T5" fmla="*/ 231 h 232"/>
                <a:gd name="T6" fmla="*/ 4 w 125"/>
                <a:gd name="T7" fmla="*/ 226 h 232"/>
                <a:gd name="T8" fmla="*/ 4 w 125"/>
                <a:gd name="T9" fmla="*/ 226 h 232"/>
                <a:gd name="T10" fmla="*/ 0 w 125"/>
                <a:gd name="T11" fmla="*/ 222 h 232"/>
                <a:gd name="T12" fmla="*/ 0 w 125"/>
                <a:gd name="T13" fmla="*/ 216 h 232"/>
                <a:gd name="T14" fmla="*/ 0 w 125"/>
                <a:gd name="T15" fmla="*/ 209 h 232"/>
                <a:gd name="T16" fmla="*/ 4 w 125"/>
                <a:gd name="T17" fmla="*/ 204 h 232"/>
                <a:gd name="T18" fmla="*/ 92 w 125"/>
                <a:gd name="T19" fmla="*/ 114 h 232"/>
                <a:gd name="T20" fmla="*/ 4 w 125"/>
                <a:gd name="T21" fmla="*/ 28 h 232"/>
                <a:gd name="T22" fmla="*/ 4 w 125"/>
                <a:gd name="T23" fmla="*/ 28 h 232"/>
                <a:gd name="T24" fmla="*/ 0 w 125"/>
                <a:gd name="T25" fmla="*/ 23 h 232"/>
                <a:gd name="T26" fmla="*/ 0 w 125"/>
                <a:gd name="T27" fmla="*/ 16 h 232"/>
                <a:gd name="T28" fmla="*/ 0 w 125"/>
                <a:gd name="T29" fmla="*/ 10 h 232"/>
                <a:gd name="T30" fmla="*/ 4 w 125"/>
                <a:gd name="T31" fmla="*/ 4 h 232"/>
                <a:gd name="T32" fmla="*/ 4 w 125"/>
                <a:gd name="T33" fmla="*/ 4 h 232"/>
                <a:gd name="T34" fmla="*/ 10 w 125"/>
                <a:gd name="T35" fmla="*/ 1 h 232"/>
                <a:gd name="T36" fmla="*/ 16 w 125"/>
                <a:gd name="T37" fmla="*/ 0 h 232"/>
                <a:gd name="T38" fmla="*/ 22 w 125"/>
                <a:gd name="T39" fmla="*/ 1 h 232"/>
                <a:gd name="T40" fmla="*/ 28 w 125"/>
                <a:gd name="T41" fmla="*/ 4 h 232"/>
                <a:gd name="T42" fmla="*/ 116 w 125"/>
                <a:gd name="T43" fmla="*/ 94 h 232"/>
                <a:gd name="T44" fmla="*/ 116 w 125"/>
                <a:gd name="T45" fmla="*/ 94 h 232"/>
                <a:gd name="T46" fmla="*/ 120 w 125"/>
                <a:gd name="T47" fmla="*/ 98 h 232"/>
                <a:gd name="T48" fmla="*/ 123 w 125"/>
                <a:gd name="T49" fmla="*/ 104 h 232"/>
                <a:gd name="T50" fmla="*/ 125 w 125"/>
                <a:gd name="T51" fmla="*/ 110 h 232"/>
                <a:gd name="T52" fmla="*/ 125 w 125"/>
                <a:gd name="T53" fmla="*/ 116 h 232"/>
                <a:gd name="T54" fmla="*/ 125 w 125"/>
                <a:gd name="T55" fmla="*/ 116 h 232"/>
                <a:gd name="T56" fmla="*/ 125 w 125"/>
                <a:gd name="T57" fmla="*/ 122 h 232"/>
                <a:gd name="T58" fmla="*/ 123 w 125"/>
                <a:gd name="T59" fmla="*/ 128 h 232"/>
                <a:gd name="T60" fmla="*/ 120 w 125"/>
                <a:gd name="T61" fmla="*/ 134 h 232"/>
                <a:gd name="T62" fmla="*/ 116 w 125"/>
                <a:gd name="T63" fmla="*/ 138 h 232"/>
                <a:gd name="T64" fmla="*/ 28 w 125"/>
                <a:gd name="T65" fmla="*/ 226 h 232"/>
                <a:gd name="T66" fmla="*/ 28 w 125"/>
                <a:gd name="T67" fmla="*/ 226 h 232"/>
                <a:gd name="T68" fmla="*/ 22 w 125"/>
                <a:gd name="T69" fmla="*/ 231 h 232"/>
                <a:gd name="T70" fmla="*/ 16 w 125"/>
                <a:gd name="T71" fmla="*/ 232 h 232"/>
                <a:gd name="T72" fmla="*/ 16 w 125"/>
                <a:gd name="T73"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5" h="232">
                  <a:moveTo>
                    <a:pt x="16" y="232"/>
                  </a:moveTo>
                  <a:lnTo>
                    <a:pt x="16" y="232"/>
                  </a:lnTo>
                  <a:lnTo>
                    <a:pt x="10" y="231"/>
                  </a:lnTo>
                  <a:lnTo>
                    <a:pt x="4" y="226"/>
                  </a:lnTo>
                  <a:lnTo>
                    <a:pt x="4" y="226"/>
                  </a:lnTo>
                  <a:lnTo>
                    <a:pt x="0" y="222"/>
                  </a:lnTo>
                  <a:lnTo>
                    <a:pt x="0" y="216"/>
                  </a:lnTo>
                  <a:lnTo>
                    <a:pt x="0" y="209"/>
                  </a:lnTo>
                  <a:lnTo>
                    <a:pt x="4" y="204"/>
                  </a:lnTo>
                  <a:lnTo>
                    <a:pt x="92" y="114"/>
                  </a:lnTo>
                  <a:lnTo>
                    <a:pt x="4" y="28"/>
                  </a:lnTo>
                  <a:lnTo>
                    <a:pt x="4" y="28"/>
                  </a:lnTo>
                  <a:lnTo>
                    <a:pt x="0" y="23"/>
                  </a:lnTo>
                  <a:lnTo>
                    <a:pt x="0" y="16"/>
                  </a:lnTo>
                  <a:lnTo>
                    <a:pt x="0" y="10"/>
                  </a:lnTo>
                  <a:lnTo>
                    <a:pt x="4" y="4"/>
                  </a:lnTo>
                  <a:lnTo>
                    <a:pt x="4" y="4"/>
                  </a:lnTo>
                  <a:lnTo>
                    <a:pt x="10" y="1"/>
                  </a:lnTo>
                  <a:lnTo>
                    <a:pt x="16" y="0"/>
                  </a:lnTo>
                  <a:lnTo>
                    <a:pt x="22" y="1"/>
                  </a:lnTo>
                  <a:lnTo>
                    <a:pt x="28" y="4"/>
                  </a:lnTo>
                  <a:lnTo>
                    <a:pt x="116" y="94"/>
                  </a:lnTo>
                  <a:lnTo>
                    <a:pt x="116" y="94"/>
                  </a:lnTo>
                  <a:lnTo>
                    <a:pt x="120" y="98"/>
                  </a:lnTo>
                  <a:lnTo>
                    <a:pt x="123" y="104"/>
                  </a:lnTo>
                  <a:lnTo>
                    <a:pt x="125" y="110"/>
                  </a:lnTo>
                  <a:lnTo>
                    <a:pt x="125" y="116"/>
                  </a:lnTo>
                  <a:lnTo>
                    <a:pt x="125" y="116"/>
                  </a:lnTo>
                  <a:lnTo>
                    <a:pt x="125" y="122"/>
                  </a:lnTo>
                  <a:lnTo>
                    <a:pt x="123" y="128"/>
                  </a:lnTo>
                  <a:lnTo>
                    <a:pt x="120" y="134"/>
                  </a:lnTo>
                  <a:lnTo>
                    <a:pt x="116" y="138"/>
                  </a:lnTo>
                  <a:lnTo>
                    <a:pt x="28" y="226"/>
                  </a:lnTo>
                  <a:lnTo>
                    <a:pt x="28" y="226"/>
                  </a:lnTo>
                  <a:lnTo>
                    <a:pt x="22" y="231"/>
                  </a:lnTo>
                  <a:lnTo>
                    <a:pt x="16" y="232"/>
                  </a:lnTo>
                  <a:lnTo>
                    <a:pt x="16"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227" name="Group 226"/>
          <p:cNvGrpSpPr/>
          <p:nvPr/>
        </p:nvGrpSpPr>
        <p:grpSpPr>
          <a:xfrm>
            <a:off x="8389185" y="3492657"/>
            <a:ext cx="318964" cy="187816"/>
            <a:chOff x="-2597151" y="4195763"/>
            <a:chExt cx="312738" cy="184150"/>
          </a:xfrm>
          <a:solidFill>
            <a:schemeClr val="accent1"/>
          </a:solidFill>
        </p:grpSpPr>
        <p:sp>
          <p:nvSpPr>
            <p:cNvPr id="228" name="Freeform 13"/>
            <p:cNvSpPr>
              <a:spLocks/>
            </p:cNvSpPr>
            <p:nvPr/>
          </p:nvSpPr>
          <p:spPr bwMode="auto">
            <a:xfrm>
              <a:off x="-2490788" y="4275138"/>
              <a:ext cx="206375" cy="25400"/>
            </a:xfrm>
            <a:custGeom>
              <a:avLst/>
              <a:gdLst>
                <a:gd name="T0" fmla="*/ 244 w 260"/>
                <a:gd name="T1" fmla="*/ 33 h 33"/>
                <a:gd name="T2" fmla="*/ 16 w 260"/>
                <a:gd name="T3" fmla="*/ 33 h 33"/>
                <a:gd name="T4" fmla="*/ 16 w 260"/>
                <a:gd name="T5" fmla="*/ 33 h 33"/>
                <a:gd name="T6" fmla="*/ 11 w 260"/>
                <a:gd name="T7" fmla="*/ 31 h 33"/>
                <a:gd name="T8" fmla="*/ 5 w 260"/>
                <a:gd name="T9" fmla="*/ 28 h 33"/>
                <a:gd name="T10" fmla="*/ 2 w 260"/>
                <a:gd name="T11" fmla="*/ 22 h 33"/>
                <a:gd name="T12" fmla="*/ 0 w 260"/>
                <a:gd name="T13" fmla="*/ 16 h 33"/>
                <a:gd name="T14" fmla="*/ 0 w 260"/>
                <a:gd name="T15" fmla="*/ 16 h 33"/>
                <a:gd name="T16" fmla="*/ 2 w 260"/>
                <a:gd name="T17" fmla="*/ 11 h 33"/>
                <a:gd name="T18" fmla="*/ 5 w 260"/>
                <a:gd name="T19" fmla="*/ 5 h 33"/>
                <a:gd name="T20" fmla="*/ 11 w 260"/>
                <a:gd name="T21" fmla="*/ 2 h 33"/>
                <a:gd name="T22" fmla="*/ 16 w 260"/>
                <a:gd name="T23" fmla="*/ 0 h 33"/>
                <a:gd name="T24" fmla="*/ 244 w 260"/>
                <a:gd name="T25" fmla="*/ 0 h 33"/>
                <a:gd name="T26" fmla="*/ 244 w 260"/>
                <a:gd name="T27" fmla="*/ 0 h 33"/>
                <a:gd name="T28" fmla="*/ 250 w 260"/>
                <a:gd name="T29" fmla="*/ 2 h 33"/>
                <a:gd name="T30" fmla="*/ 256 w 260"/>
                <a:gd name="T31" fmla="*/ 5 h 33"/>
                <a:gd name="T32" fmla="*/ 259 w 260"/>
                <a:gd name="T33" fmla="*/ 11 h 33"/>
                <a:gd name="T34" fmla="*/ 260 w 260"/>
                <a:gd name="T35" fmla="*/ 16 h 33"/>
                <a:gd name="T36" fmla="*/ 260 w 260"/>
                <a:gd name="T37" fmla="*/ 16 h 33"/>
                <a:gd name="T38" fmla="*/ 259 w 260"/>
                <a:gd name="T39" fmla="*/ 22 h 33"/>
                <a:gd name="T40" fmla="*/ 256 w 260"/>
                <a:gd name="T41" fmla="*/ 28 h 33"/>
                <a:gd name="T42" fmla="*/ 250 w 260"/>
                <a:gd name="T43" fmla="*/ 31 h 33"/>
                <a:gd name="T44" fmla="*/ 244 w 260"/>
                <a:gd name="T45" fmla="*/ 33 h 33"/>
                <a:gd name="T46" fmla="*/ 244 w 260"/>
                <a:gd name="T4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0" h="33">
                  <a:moveTo>
                    <a:pt x="244" y="33"/>
                  </a:moveTo>
                  <a:lnTo>
                    <a:pt x="16" y="33"/>
                  </a:lnTo>
                  <a:lnTo>
                    <a:pt x="16" y="33"/>
                  </a:lnTo>
                  <a:lnTo>
                    <a:pt x="11" y="31"/>
                  </a:lnTo>
                  <a:lnTo>
                    <a:pt x="5" y="28"/>
                  </a:lnTo>
                  <a:lnTo>
                    <a:pt x="2" y="22"/>
                  </a:lnTo>
                  <a:lnTo>
                    <a:pt x="0" y="16"/>
                  </a:lnTo>
                  <a:lnTo>
                    <a:pt x="0" y="16"/>
                  </a:lnTo>
                  <a:lnTo>
                    <a:pt x="2" y="11"/>
                  </a:lnTo>
                  <a:lnTo>
                    <a:pt x="5" y="5"/>
                  </a:lnTo>
                  <a:lnTo>
                    <a:pt x="11" y="2"/>
                  </a:lnTo>
                  <a:lnTo>
                    <a:pt x="16" y="0"/>
                  </a:lnTo>
                  <a:lnTo>
                    <a:pt x="244" y="0"/>
                  </a:lnTo>
                  <a:lnTo>
                    <a:pt x="244" y="0"/>
                  </a:lnTo>
                  <a:lnTo>
                    <a:pt x="250" y="2"/>
                  </a:lnTo>
                  <a:lnTo>
                    <a:pt x="256" y="5"/>
                  </a:lnTo>
                  <a:lnTo>
                    <a:pt x="259" y="11"/>
                  </a:lnTo>
                  <a:lnTo>
                    <a:pt x="260" y="16"/>
                  </a:lnTo>
                  <a:lnTo>
                    <a:pt x="260" y="16"/>
                  </a:lnTo>
                  <a:lnTo>
                    <a:pt x="259" y="22"/>
                  </a:lnTo>
                  <a:lnTo>
                    <a:pt x="256" y="28"/>
                  </a:lnTo>
                  <a:lnTo>
                    <a:pt x="250" y="31"/>
                  </a:lnTo>
                  <a:lnTo>
                    <a:pt x="244" y="33"/>
                  </a:lnTo>
                  <a:lnTo>
                    <a:pt x="244"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9" name="Freeform 14"/>
            <p:cNvSpPr>
              <a:spLocks/>
            </p:cNvSpPr>
            <p:nvPr/>
          </p:nvSpPr>
          <p:spPr bwMode="auto">
            <a:xfrm>
              <a:off x="-2597151" y="4275138"/>
              <a:ext cx="92075" cy="25400"/>
            </a:xfrm>
            <a:custGeom>
              <a:avLst/>
              <a:gdLst>
                <a:gd name="T0" fmla="*/ 98 w 114"/>
                <a:gd name="T1" fmla="*/ 33 h 33"/>
                <a:gd name="T2" fmla="*/ 16 w 114"/>
                <a:gd name="T3" fmla="*/ 33 h 33"/>
                <a:gd name="T4" fmla="*/ 16 w 114"/>
                <a:gd name="T5" fmla="*/ 33 h 33"/>
                <a:gd name="T6" fmla="*/ 8 w 114"/>
                <a:gd name="T7" fmla="*/ 31 h 33"/>
                <a:gd name="T8" fmla="*/ 4 w 114"/>
                <a:gd name="T9" fmla="*/ 28 h 33"/>
                <a:gd name="T10" fmla="*/ 0 w 114"/>
                <a:gd name="T11" fmla="*/ 22 h 33"/>
                <a:gd name="T12" fmla="*/ 0 w 114"/>
                <a:gd name="T13" fmla="*/ 16 h 33"/>
                <a:gd name="T14" fmla="*/ 0 w 114"/>
                <a:gd name="T15" fmla="*/ 16 h 33"/>
                <a:gd name="T16" fmla="*/ 0 w 114"/>
                <a:gd name="T17" fmla="*/ 11 h 33"/>
                <a:gd name="T18" fmla="*/ 4 w 114"/>
                <a:gd name="T19" fmla="*/ 5 h 33"/>
                <a:gd name="T20" fmla="*/ 8 w 114"/>
                <a:gd name="T21" fmla="*/ 2 h 33"/>
                <a:gd name="T22" fmla="*/ 16 w 114"/>
                <a:gd name="T23" fmla="*/ 0 h 33"/>
                <a:gd name="T24" fmla="*/ 98 w 114"/>
                <a:gd name="T25" fmla="*/ 0 h 33"/>
                <a:gd name="T26" fmla="*/ 98 w 114"/>
                <a:gd name="T27" fmla="*/ 0 h 33"/>
                <a:gd name="T28" fmla="*/ 104 w 114"/>
                <a:gd name="T29" fmla="*/ 2 h 33"/>
                <a:gd name="T30" fmla="*/ 110 w 114"/>
                <a:gd name="T31" fmla="*/ 5 h 33"/>
                <a:gd name="T32" fmla="*/ 113 w 114"/>
                <a:gd name="T33" fmla="*/ 11 h 33"/>
                <a:gd name="T34" fmla="*/ 114 w 114"/>
                <a:gd name="T35" fmla="*/ 16 h 33"/>
                <a:gd name="T36" fmla="*/ 114 w 114"/>
                <a:gd name="T37" fmla="*/ 16 h 33"/>
                <a:gd name="T38" fmla="*/ 113 w 114"/>
                <a:gd name="T39" fmla="*/ 22 h 33"/>
                <a:gd name="T40" fmla="*/ 110 w 114"/>
                <a:gd name="T41" fmla="*/ 28 h 33"/>
                <a:gd name="T42" fmla="*/ 104 w 114"/>
                <a:gd name="T43" fmla="*/ 31 h 33"/>
                <a:gd name="T44" fmla="*/ 98 w 114"/>
                <a:gd name="T45" fmla="*/ 33 h 33"/>
                <a:gd name="T46" fmla="*/ 98 w 114"/>
                <a:gd name="T4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4" h="33">
                  <a:moveTo>
                    <a:pt x="98" y="33"/>
                  </a:moveTo>
                  <a:lnTo>
                    <a:pt x="16" y="33"/>
                  </a:lnTo>
                  <a:lnTo>
                    <a:pt x="16" y="33"/>
                  </a:lnTo>
                  <a:lnTo>
                    <a:pt x="8" y="31"/>
                  </a:lnTo>
                  <a:lnTo>
                    <a:pt x="4" y="28"/>
                  </a:lnTo>
                  <a:lnTo>
                    <a:pt x="0" y="22"/>
                  </a:lnTo>
                  <a:lnTo>
                    <a:pt x="0" y="16"/>
                  </a:lnTo>
                  <a:lnTo>
                    <a:pt x="0" y="16"/>
                  </a:lnTo>
                  <a:lnTo>
                    <a:pt x="0" y="11"/>
                  </a:lnTo>
                  <a:lnTo>
                    <a:pt x="4" y="5"/>
                  </a:lnTo>
                  <a:lnTo>
                    <a:pt x="8" y="2"/>
                  </a:lnTo>
                  <a:lnTo>
                    <a:pt x="16" y="0"/>
                  </a:lnTo>
                  <a:lnTo>
                    <a:pt x="98" y="0"/>
                  </a:lnTo>
                  <a:lnTo>
                    <a:pt x="98" y="0"/>
                  </a:lnTo>
                  <a:lnTo>
                    <a:pt x="104" y="2"/>
                  </a:lnTo>
                  <a:lnTo>
                    <a:pt x="110" y="5"/>
                  </a:lnTo>
                  <a:lnTo>
                    <a:pt x="113" y="11"/>
                  </a:lnTo>
                  <a:lnTo>
                    <a:pt x="114" y="16"/>
                  </a:lnTo>
                  <a:lnTo>
                    <a:pt x="114" y="16"/>
                  </a:lnTo>
                  <a:lnTo>
                    <a:pt x="113" y="22"/>
                  </a:lnTo>
                  <a:lnTo>
                    <a:pt x="110" y="28"/>
                  </a:lnTo>
                  <a:lnTo>
                    <a:pt x="104" y="31"/>
                  </a:lnTo>
                  <a:lnTo>
                    <a:pt x="98" y="33"/>
                  </a:lnTo>
                  <a:lnTo>
                    <a:pt x="9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0" name="Freeform 15"/>
            <p:cNvSpPr>
              <a:spLocks/>
            </p:cNvSpPr>
            <p:nvPr/>
          </p:nvSpPr>
          <p:spPr bwMode="auto">
            <a:xfrm>
              <a:off x="-2384426" y="4195763"/>
              <a:ext cx="100013" cy="184150"/>
            </a:xfrm>
            <a:custGeom>
              <a:avLst/>
              <a:gdLst>
                <a:gd name="T0" fmla="*/ 16 w 126"/>
                <a:gd name="T1" fmla="*/ 232 h 232"/>
                <a:gd name="T2" fmla="*/ 16 w 126"/>
                <a:gd name="T3" fmla="*/ 232 h 232"/>
                <a:gd name="T4" fmla="*/ 10 w 126"/>
                <a:gd name="T5" fmla="*/ 231 h 232"/>
                <a:gd name="T6" fmla="*/ 6 w 126"/>
                <a:gd name="T7" fmla="*/ 227 h 232"/>
                <a:gd name="T8" fmla="*/ 6 w 126"/>
                <a:gd name="T9" fmla="*/ 227 h 232"/>
                <a:gd name="T10" fmla="*/ 1 w 126"/>
                <a:gd name="T11" fmla="*/ 222 h 232"/>
                <a:gd name="T12" fmla="*/ 0 w 126"/>
                <a:gd name="T13" fmla="*/ 216 h 232"/>
                <a:gd name="T14" fmla="*/ 1 w 126"/>
                <a:gd name="T15" fmla="*/ 209 h 232"/>
                <a:gd name="T16" fmla="*/ 6 w 126"/>
                <a:gd name="T17" fmla="*/ 205 h 232"/>
                <a:gd name="T18" fmla="*/ 94 w 126"/>
                <a:gd name="T19" fmla="*/ 115 h 232"/>
                <a:gd name="T20" fmla="*/ 6 w 126"/>
                <a:gd name="T21" fmla="*/ 28 h 232"/>
                <a:gd name="T22" fmla="*/ 6 w 126"/>
                <a:gd name="T23" fmla="*/ 28 h 232"/>
                <a:gd name="T24" fmla="*/ 1 w 126"/>
                <a:gd name="T25" fmla="*/ 24 h 232"/>
                <a:gd name="T26" fmla="*/ 0 w 126"/>
                <a:gd name="T27" fmla="*/ 16 h 232"/>
                <a:gd name="T28" fmla="*/ 1 w 126"/>
                <a:gd name="T29" fmla="*/ 11 h 232"/>
                <a:gd name="T30" fmla="*/ 6 w 126"/>
                <a:gd name="T31" fmla="*/ 5 h 232"/>
                <a:gd name="T32" fmla="*/ 6 w 126"/>
                <a:gd name="T33" fmla="*/ 5 h 232"/>
                <a:gd name="T34" fmla="*/ 10 w 126"/>
                <a:gd name="T35" fmla="*/ 2 h 232"/>
                <a:gd name="T36" fmla="*/ 16 w 126"/>
                <a:gd name="T37" fmla="*/ 0 h 232"/>
                <a:gd name="T38" fmla="*/ 23 w 126"/>
                <a:gd name="T39" fmla="*/ 2 h 232"/>
                <a:gd name="T40" fmla="*/ 28 w 126"/>
                <a:gd name="T41" fmla="*/ 5 h 232"/>
                <a:gd name="T42" fmla="*/ 117 w 126"/>
                <a:gd name="T43" fmla="*/ 94 h 232"/>
                <a:gd name="T44" fmla="*/ 117 w 126"/>
                <a:gd name="T45" fmla="*/ 94 h 232"/>
                <a:gd name="T46" fmla="*/ 122 w 126"/>
                <a:gd name="T47" fmla="*/ 99 h 232"/>
                <a:gd name="T48" fmla="*/ 125 w 126"/>
                <a:gd name="T49" fmla="*/ 105 h 232"/>
                <a:gd name="T50" fmla="*/ 126 w 126"/>
                <a:gd name="T51" fmla="*/ 111 h 232"/>
                <a:gd name="T52" fmla="*/ 126 w 126"/>
                <a:gd name="T53" fmla="*/ 116 h 232"/>
                <a:gd name="T54" fmla="*/ 126 w 126"/>
                <a:gd name="T55" fmla="*/ 116 h 232"/>
                <a:gd name="T56" fmla="*/ 126 w 126"/>
                <a:gd name="T57" fmla="*/ 122 h 232"/>
                <a:gd name="T58" fmla="*/ 125 w 126"/>
                <a:gd name="T59" fmla="*/ 128 h 232"/>
                <a:gd name="T60" fmla="*/ 122 w 126"/>
                <a:gd name="T61" fmla="*/ 134 h 232"/>
                <a:gd name="T62" fmla="*/ 117 w 126"/>
                <a:gd name="T63" fmla="*/ 138 h 232"/>
                <a:gd name="T64" fmla="*/ 28 w 126"/>
                <a:gd name="T65" fmla="*/ 227 h 232"/>
                <a:gd name="T66" fmla="*/ 28 w 126"/>
                <a:gd name="T67" fmla="*/ 227 h 232"/>
                <a:gd name="T68" fmla="*/ 23 w 126"/>
                <a:gd name="T69" fmla="*/ 231 h 232"/>
                <a:gd name="T70" fmla="*/ 16 w 126"/>
                <a:gd name="T71" fmla="*/ 232 h 232"/>
                <a:gd name="T72" fmla="*/ 16 w 126"/>
                <a:gd name="T73"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232">
                  <a:moveTo>
                    <a:pt x="16" y="232"/>
                  </a:moveTo>
                  <a:lnTo>
                    <a:pt x="16" y="232"/>
                  </a:lnTo>
                  <a:lnTo>
                    <a:pt x="10" y="231"/>
                  </a:lnTo>
                  <a:lnTo>
                    <a:pt x="6" y="227"/>
                  </a:lnTo>
                  <a:lnTo>
                    <a:pt x="6" y="227"/>
                  </a:lnTo>
                  <a:lnTo>
                    <a:pt x="1" y="222"/>
                  </a:lnTo>
                  <a:lnTo>
                    <a:pt x="0" y="216"/>
                  </a:lnTo>
                  <a:lnTo>
                    <a:pt x="1" y="209"/>
                  </a:lnTo>
                  <a:lnTo>
                    <a:pt x="6" y="205"/>
                  </a:lnTo>
                  <a:lnTo>
                    <a:pt x="94" y="115"/>
                  </a:lnTo>
                  <a:lnTo>
                    <a:pt x="6" y="28"/>
                  </a:lnTo>
                  <a:lnTo>
                    <a:pt x="6" y="28"/>
                  </a:lnTo>
                  <a:lnTo>
                    <a:pt x="1" y="24"/>
                  </a:lnTo>
                  <a:lnTo>
                    <a:pt x="0" y="16"/>
                  </a:lnTo>
                  <a:lnTo>
                    <a:pt x="1" y="11"/>
                  </a:lnTo>
                  <a:lnTo>
                    <a:pt x="6" y="5"/>
                  </a:lnTo>
                  <a:lnTo>
                    <a:pt x="6" y="5"/>
                  </a:lnTo>
                  <a:lnTo>
                    <a:pt x="10" y="2"/>
                  </a:lnTo>
                  <a:lnTo>
                    <a:pt x="16" y="0"/>
                  </a:lnTo>
                  <a:lnTo>
                    <a:pt x="23" y="2"/>
                  </a:lnTo>
                  <a:lnTo>
                    <a:pt x="28" y="5"/>
                  </a:lnTo>
                  <a:lnTo>
                    <a:pt x="117" y="94"/>
                  </a:lnTo>
                  <a:lnTo>
                    <a:pt x="117" y="94"/>
                  </a:lnTo>
                  <a:lnTo>
                    <a:pt x="122" y="99"/>
                  </a:lnTo>
                  <a:lnTo>
                    <a:pt x="125" y="105"/>
                  </a:lnTo>
                  <a:lnTo>
                    <a:pt x="126" y="111"/>
                  </a:lnTo>
                  <a:lnTo>
                    <a:pt x="126" y="116"/>
                  </a:lnTo>
                  <a:lnTo>
                    <a:pt x="126" y="116"/>
                  </a:lnTo>
                  <a:lnTo>
                    <a:pt x="126" y="122"/>
                  </a:lnTo>
                  <a:lnTo>
                    <a:pt x="125" y="128"/>
                  </a:lnTo>
                  <a:lnTo>
                    <a:pt x="122" y="134"/>
                  </a:lnTo>
                  <a:lnTo>
                    <a:pt x="117" y="138"/>
                  </a:lnTo>
                  <a:lnTo>
                    <a:pt x="28" y="227"/>
                  </a:lnTo>
                  <a:lnTo>
                    <a:pt x="28" y="227"/>
                  </a:lnTo>
                  <a:lnTo>
                    <a:pt x="23" y="231"/>
                  </a:lnTo>
                  <a:lnTo>
                    <a:pt x="16" y="232"/>
                  </a:lnTo>
                  <a:lnTo>
                    <a:pt x="16"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pic>
        <p:nvPicPr>
          <p:cNvPr id="231" name="Picture 23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61554" y="2804854"/>
            <a:ext cx="776178" cy="908180"/>
          </a:xfrm>
          <a:prstGeom prst="rect">
            <a:avLst/>
          </a:prstGeom>
        </p:spPr>
      </p:pic>
      <p:pic>
        <p:nvPicPr>
          <p:cNvPr id="232" name="Picture 23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36131" y="4043416"/>
            <a:ext cx="861961" cy="1008553"/>
          </a:xfrm>
          <a:prstGeom prst="rect">
            <a:avLst/>
          </a:prstGeom>
        </p:spPr>
      </p:pic>
      <p:pic>
        <p:nvPicPr>
          <p:cNvPr id="233" name="Picture 23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45116" y="1457243"/>
            <a:ext cx="685793" cy="802425"/>
          </a:xfrm>
          <a:prstGeom prst="rect">
            <a:avLst/>
          </a:prstGeom>
        </p:spPr>
      </p:pic>
    </p:spTree>
    <p:extLst>
      <p:ext uri="{BB962C8B-B14F-4D97-AF65-F5344CB8AC3E}">
        <p14:creationId xmlns:p14="http://schemas.microsoft.com/office/powerpoint/2010/main" val="954472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p:cNvSpPr>
            <a:spLocks noGrp="1"/>
          </p:cNvSpPr>
          <p:nvPr>
            <p:ph type="title"/>
          </p:nvPr>
        </p:nvSpPr>
        <p:spPr/>
        <p:txBody>
          <a:bodyPr/>
          <a:lstStyle/>
          <a:p>
            <a:r>
              <a:rPr lang="en-US" dirty="0"/>
              <a:t>Transform data into intelligent action</a:t>
            </a:r>
          </a:p>
        </p:txBody>
      </p:sp>
      <p:sp>
        <p:nvSpPr>
          <p:cNvPr id="134" name="Rectangle 133"/>
          <p:cNvSpPr/>
          <p:nvPr/>
        </p:nvSpPr>
        <p:spPr bwMode="auto">
          <a:xfrm>
            <a:off x="8005941" y="1387331"/>
            <a:ext cx="1660373" cy="2928083"/>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telligence</a:t>
            </a:r>
          </a:p>
        </p:txBody>
      </p:sp>
      <p:sp>
        <p:nvSpPr>
          <p:cNvPr id="142" name="Rectangle 141"/>
          <p:cNvSpPr/>
          <p:nvPr/>
        </p:nvSpPr>
        <p:spPr bwMode="auto">
          <a:xfrm>
            <a:off x="8005941" y="4442205"/>
            <a:ext cx="1660373" cy="1293008"/>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Dashboards &amp; Visualizations</a:t>
            </a:r>
          </a:p>
        </p:txBody>
      </p:sp>
      <p:sp>
        <p:nvSpPr>
          <p:cNvPr id="131" name="Rectangle 130"/>
          <p:cNvSpPr/>
          <p:nvPr/>
        </p:nvSpPr>
        <p:spPr bwMode="auto">
          <a:xfrm>
            <a:off x="2679611" y="1387331"/>
            <a:ext cx="1660373" cy="434788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132" name="Rectangle 131"/>
          <p:cNvSpPr/>
          <p:nvPr/>
        </p:nvSpPr>
        <p:spPr bwMode="auto">
          <a:xfrm>
            <a:off x="4455055" y="1387332"/>
            <a:ext cx="1660373" cy="434788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Big Data Stores</a:t>
            </a:r>
          </a:p>
        </p:txBody>
      </p:sp>
      <p:sp>
        <p:nvSpPr>
          <p:cNvPr id="133" name="Rectangle 132"/>
          <p:cNvSpPr/>
          <p:nvPr/>
        </p:nvSpPr>
        <p:spPr bwMode="auto">
          <a:xfrm>
            <a:off x="6230498" y="1387332"/>
            <a:ext cx="1660373" cy="434788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Machine Learning and Analytics</a:t>
            </a:r>
          </a:p>
        </p:txBody>
      </p:sp>
      <p:sp>
        <p:nvSpPr>
          <p:cNvPr id="135" name="Rectangle 134"/>
          <p:cNvSpPr/>
          <p:nvPr/>
        </p:nvSpPr>
        <p:spPr>
          <a:xfrm>
            <a:off x="8647433" y="3776396"/>
            <a:ext cx="1212643" cy="253266"/>
          </a:xfrm>
          <a:prstGeom prst="rect">
            <a:avLst/>
          </a:prstGeom>
        </p:spPr>
        <p:txBody>
          <a:bodyPr wrap="square">
            <a:spAutoFit/>
          </a:bodyPr>
          <a:lstStyle/>
          <a:p>
            <a:r>
              <a:rPr lang="en-US" sz="1122" dirty="0">
                <a:cs typeface="Segoe UI Semilight" panose="020B0402040204020203" pitchFamily="34" charset="0"/>
              </a:rPr>
              <a:t>Cortana</a:t>
            </a:r>
          </a:p>
        </p:txBody>
      </p:sp>
      <p:grpSp>
        <p:nvGrpSpPr>
          <p:cNvPr id="136" name="Group 135"/>
          <p:cNvGrpSpPr/>
          <p:nvPr/>
        </p:nvGrpSpPr>
        <p:grpSpPr>
          <a:xfrm>
            <a:off x="8269003" y="3748752"/>
            <a:ext cx="301767" cy="301767"/>
            <a:chOff x="3236100" y="589298"/>
            <a:chExt cx="5641200" cy="5641200"/>
          </a:xfrm>
        </p:grpSpPr>
        <p:sp>
          <p:nvSpPr>
            <p:cNvPr id="137" name="Freeform 136"/>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sp>
          <p:nvSpPr>
            <p:cNvPr id="138" name="Freeform 137"/>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grpSp>
      <p:sp>
        <p:nvSpPr>
          <p:cNvPr id="141" name="Rectangle 140"/>
          <p:cNvSpPr/>
          <p:nvPr/>
        </p:nvSpPr>
        <p:spPr>
          <a:xfrm>
            <a:off x="3208175" y="3776396"/>
            <a:ext cx="1214695" cy="265009"/>
          </a:xfrm>
          <a:prstGeom prst="rect">
            <a:avLst/>
          </a:prstGeom>
        </p:spPr>
        <p:txBody>
          <a:bodyPr wrap="square">
            <a:spAutoFit/>
          </a:bodyPr>
          <a:lstStyle/>
          <a:p>
            <a:r>
              <a:rPr lang="en-US" sz="1122" dirty="0">
                <a:cs typeface="Segoe UI Semilight" panose="020B0402040204020203" pitchFamily="34" charset="0"/>
              </a:rPr>
              <a:t>Event Hubs</a:t>
            </a:r>
            <a:endParaRPr lang="en-US" sz="1122" dirty="0"/>
          </a:p>
        </p:txBody>
      </p:sp>
      <p:sp>
        <p:nvSpPr>
          <p:cNvPr id="143" name="Rectangle 142"/>
          <p:cNvSpPr/>
          <p:nvPr/>
        </p:nvSpPr>
        <p:spPr>
          <a:xfrm>
            <a:off x="6831635" y="3614620"/>
            <a:ext cx="1212643" cy="583314"/>
          </a:xfrm>
          <a:prstGeom prst="rect">
            <a:avLst/>
          </a:prstGeom>
        </p:spPr>
        <p:txBody>
          <a:bodyPr wrap="square">
            <a:spAutoFit/>
          </a:bodyPr>
          <a:lstStyle/>
          <a:p>
            <a:r>
              <a:rPr lang="en-US" sz="1122" dirty="0">
                <a:cs typeface="Segoe UI Semilight" panose="020B0402040204020203" pitchFamily="34" charset="0"/>
              </a:rPr>
              <a:t>HDInsight </a:t>
            </a:r>
          </a:p>
          <a:p>
            <a:r>
              <a:rPr lang="en-US" sz="1122" dirty="0">
                <a:cs typeface="Segoe UI Semilight" panose="020B0402040204020203" pitchFamily="34" charset="0"/>
              </a:rPr>
              <a:t>(Hadoop and Spark)</a:t>
            </a:r>
          </a:p>
        </p:txBody>
      </p:sp>
      <p:sp>
        <p:nvSpPr>
          <p:cNvPr id="140" name="Rectangle 139"/>
          <p:cNvSpPr/>
          <p:nvPr/>
        </p:nvSpPr>
        <p:spPr>
          <a:xfrm>
            <a:off x="6831635" y="4569005"/>
            <a:ext cx="866839" cy="410125"/>
          </a:xfrm>
          <a:prstGeom prst="rect">
            <a:avLst/>
          </a:prstGeom>
        </p:spPr>
        <p:txBody>
          <a:bodyPr wrap="square">
            <a:spAutoFit/>
          </a:bodyPr>
          <a:lstStyle/>
          <a:p>
            <a:r>
              <a:rPr lang="en-US" sz="1122" dirty="0">
                <a:cs typeface="Segoe UI Semilight" panose="020B0402040204020203" pitchFamily="34" charset="0"/>
              </a:rPr>
              <a:t>Stream Analytics</a:t>
            </a:r>
          </a:p>
        </p:txBody>
      </p:sp>
      <p:sp>
        <p:nvSpPr>
          <p:cNvPr id="189" name="Rectangle 188"/>
          <p:cNvSpPr/>
          <p:nvPr/>
        </p:nvSpPr>
        <p:spPr>
          <a:xfrm>
            <a:off x="2169343" y="6018273"/>
            <a:ext cx="892227" cy="306913"/>
          </a:xfrm>
          <a:prstGeom prst="rect">
            <a:avLst/>
          </a:prstGeom>
        </p:spPr>
        <p:txBody>
          <a:bodyPr wrap="none" lIns="0" tIns="0" rIns="0" bIns="0" anchor="ctr">
            <a:noAutofit/>
          </a:bodyPr>
          <a:lstStyle/>
          <a:p>
            <a:pPr>
              <a:lnSpc>
                <a:spcPct val="90000"/>
              </a:lnSpc>
            </a:pPr>
            <a:r>
              <a:rPr lang="en-US" sz="2448" dirty="0">
                <a:solidFill>
                  <a:schemeClr val="bg2"/>
                </a:solidFill>
                <a:latin typeface="+mj-lt"/>
              </a:rPr>
              <a:t>Data</a:t>
            </a:r>
          </a:p>
        </p:txBody>
      </p:sp>
      <p:sp>
        <p:nvSpPr>
          <p:cNvPr id="190" name="Rectangle 189"/>
          <p:cNvSpPr/>
          <p:nvPr/>
        </p:nvSpPr>
        <p:spPr>
          <a:xfrm>
            <a:off x="5471961" y="5991723"/>
            <a:ext cx="1420136" cy="360013"/>
          </a:xfrm>
          <a:prstGeom prst="rect">
            <a:avLst/>
          </a:prstGeom>
        </p:spPr>
        <p:txBody>
          <a:bodyPr wrap="none" lIns="0" tIns="0" rIns="0" bIns="0" anchor="ctr">
            <a:spAutoFit/>
          </a:bodyPr>
          <a:lstStyle/>
          <a:p>
            <a:pPr algn="ctr" defTabSz="739440">
              <a:spcBef>
                <a:spcPct val="0"/>
              </a:spcBef>
              <a:spcAft>
                <a:spcPct val="35000"/>
              </a:spcAft>
            </a:pPr>
            <a:r>
              <a:rPr lang="en-US" sz="2448" dirty="0">
                <a:solidFill>
                  <a:schemeClr val="bg2"/>
                </a:solidFill>
                <a:latin typeface="+mj-lt"/>
              </a:rPr>
              <a:t>Intelligence</a:t>
            </a:r>
            <a:endParaRPr lang="en-US" sz="1836" b="1" spc="-31" dirty="0">
              <a:solidFill>
                <a:schemeClr val="bg2"/>
              </a:solidFill>
              <a:latin typeface="Segoe UI Semilight" panose="020B0402040204020203" pitchFamily="34" charset="0"/>
              <a:cs typeface="Segoe UI Semilight" panose="020B0402040204020203" pitchFamily="34" charset="0"/>
            </a:endParaRPr>
          </a:p>
        </p:txBody>
      </p:sp>
      <p:cxnSp>
        <p:nvCxnSpPr>
          <p:cNvPr id="192" name="Straight Connector 191"/>
          <p:cNvCxnSpPr/>
          <p:nvPr/>
        </p:nvCxnSpPr>
        <p:spPr>
          <a:xfrm>
            <a:off x="3506929" y="6172315"/>
            <a:ext cx="1296574" cy="0"/>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3" name="Group 192"/>
          <p:cNvGrpSpPr/>
          <p:nvPr/>
        </p:nvGrpSpPr>
        <p:grpSpPr>
          <a:xfrm rot="13500000">
            <a:off x="4602109" y="6086298"/>
            <a:ext cx="173455" cy="170863"/>
            <a:chOff x="402446" y="5872915"/>
            <a:chExt cx="292608" cy="288235"/>
          </a:xfrm>
          <a:solidFill>
            <a:schemeClr val="tx1">
              <a:lumMod val="85000"/>
            </a:schemeClr>
          </a:solidFill>
        </p:grpSpPr>
        <p:cxnSp>
          <p:nvCxnSpPr>
            <p:cNvPr id="194" name="Straight Connector 193"/>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97" name="Straight Connector 196"/>
          <p:cNvCxnSpPr/>
          <p:nvPr/>
        </p:nvCxnSpPr>
        <p:spPr>
          <a:xfrm>
            <a:off x="7728636" y="6172315"/>
            <a:ext cx="1296574" cy="0"/>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8" name="Group 197"/>
          <p:cNvGrpSpPr/>
          <p:nvPr/>
        </p:nvGrpSpPr>
        <p:grpSpPr>
          <a:xfrm rot="13500000">
            <a:off x="8823816" y="6086298"/>
            <a:ext cx="173455" cy="170863"/>
            <a:chOff x="402446" y="5872915"/>
            <a:chExt cx="292608" cy="288235"/>
          </a:xfrm>
          <a:solidFill>
            <a:schemeClr val="tx1">
              <a:lumMod val="85000"/>
            </a:schemeClr>
          </a:solidFill>
        </p:grpSpPr>
        <p:cxnSp>
          <p:nvCxnSpPr>
            <p:cNvPr id="199" name="Straight Connector 198"/>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01" name="Rectangle 200"/>
          <p:cNvSpPr/>
          <p:nvPr/>
        </p:nvSpPr>
        <p:spPr>
          <a:xfrm>
            <a:off x="9775271" y="6015039"/>
            <a:ext cx="1434111" cy="313382"/>
          </a:xfrm>
          <a:prstGeom prst="rect">
            <a:avLst/>
          </a:prstGeom>
        </p:spPr>
        <p:txBody>
          <a:bodyPr wrap="none" lIns="0" tIns="0" rIns="0" bIns="0" anchor="ctr">
            <a:noAutofit/>
          </a:bodyPr>
          <a:lstStyle/>
          <a:p>
            <a:pPr>
              <a:lnSpc>
                <a:spcPct val="90000"/>
              </a:lnSpc>
            </a:pPr>
            <a:r>
              <a:rPr lang="en-US" sz="2448" dirty="0">
                <a:solidFill>
                  <a:schemeClr val="bg2"/>
                </a:solidFill>
                <a:latin typeface="+mj-lt"/>
              </a:rPr>
              <a:t>Action</a:t>
            </a:r>
          </a:p>
        </p:txBody>
      </p:sp>
      <p:sp>
        <p:nvSpPr>
          <p:cNvPr id="203" name="Freeform 202"/>
          <p:cNvSpPr/>
          <p:nvPr/>
        </p:nvSpPr>
        <p:spPr bwMode="auto">
          <a:xfrm>
            <a:off x="2476641" y="1396072"/>
            <a:ext cx="118369" cy="4360661"/>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36"/>
          </a:p>
        </p:txBody>
      </p:sp>
      <p:sp>
        <p:nvSpPr>
          <p:cNvPr id="206" name="Freeform 205"/>
          <p:cNvSpPr/>
          <p:nvPr/>
        </p:nvSpPr>
        <p:spPr bwMode="auto">
          <a:xfrm flipH="1">
            <a:off x="9754276" y="1396072"/>
            <a:ext cx="118369" cy="4360661"/>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36"/>
          </a:p>
        </p:txBody>
      </p:sp>
      <p:cxnSp>
        <p:nvCxnSpPr>
          <p:cNvPr id="207" name="Straight Connector 206"/>
          <p:cNvCxnSpPr/>
          <p:nvPr/>
        </p:nvCxnSpPr>
        <p:spPr>
          <a:xfrm flipH="1">
            <a:off x="9754276" y="3576401"/>
            <a:ext cx="294803"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8" name="TextBox 207"/>
          <p:cNvSpPr txBox="1"/>
          <p:nvPr/>
        </p:nvSpPr>
        <p:spPr>
          <a:xfrm>
            <a:off x="10512073" y="1694805"/>
            <a:ext cx="1041755" cy="441167"/>
          </a:xfrm>
          <a:prstGeom prst="rect">
            <a:avLst/>
          </a:prstGeom>
          <a:noFill/>
        </p:spPr>
        <p:txBody>
          <a:bodyPr wrap="square" lIns="186494" tIns="149195" rIns="186494" bIns="149195" rtlCol="0">
            <a:spAutoFit/>
          </a:bodyPr>
          <a:lstStyle/>
          <a:p>
            <a:pPr defTabSz="951121">
              <a:lnSpc>
                <a:spcPct val="90000"/>
              </a:lnSpc>
              <a:spcBef>
                <a:spcPct val="0"/>
              </a:spcBef>
              <a:spcAft>
                <a:spcPts val="612"/>
              </a:spcAft>
            </a:pPr>
            <a:r>
              <a:rPr lang="en-US" sz="1224" spc="-31" dirty="0">
                <a:solidFill>
                  <a:schemeClr val="bg2"/>
                </a:solidFill>
                <a:latin typeface="Segoe UI Semilight" panose="020B0402040204020203" pitchFamily="34" charset="0"/>
                <a:cs typeface="Segoe UI Semilight" panose="020B0402040204020203" pitchFamily="34" charset="0"/>
              </a:rPr>
              <a:t>People</a:t>
            </a:r>
          </a:p>
        </p:txBody>
      </p:sp>
      <p:sp>
        <p:nvSpPr>
          <p:cNvPr id="209" name="TextBox 208"/>
          <p:cNvSpPr txBox="1"/>
          <p:nvPr/>
        </p:nvSpPr>
        <p:spPr>
          <a:xfrm>
            <a:off x="10768954" y="4858698"/>
            <a:ext cx="829796" cy="324042"/>
          </a:xfrm>
          <a:prstGeom prst="rect">
            <a:avLst/>
          </a:prstGeom>
          <a:noFill/>
        </p:spPr>
        <p:txBody>
          <a:bodyPr wrap="square" lIns="0" tIns="0" rIns="0" bIns="0" rtlCol="0">
            <a:spAutoFit/>
          </a:bodyPr>
          <a:lstStyle/>
          <a:p>
            <a:pPr defTabSz="951121">
              <a:lnSpc>
                <a:spcPct val="90000"/>
              </a:lnSpc>
              <a:spcBef>
                <a:spcPct val="0"/>
              </a:spcBef>
              <a:spcAft>
                <a:spcPts val="612"/>
              </a:spcAft>
            </a:pPr>
            <a:r>
              <a:rPr lang="en-US" sz="1224" spc="-31" dirty="0">
                <a:solidFill>
                  <a:schemeClr val="bg2"/>
                </a:solidFill>
                <a:latin typeface="Segoe UI Semilight" panose="020B0402040204020203" pitchFamily="34" charset="0"/>
                <a:cs typeface="Segoe UI Semilight" panose="020B0402040204020203" pitchFamily="34" charset="0"/>
              </a:rPr>
              <a:t>Automated </a:t>
            </a:r>
            <a:br>
              <a:rPr lang="en-US" sz="1224" spc="-31" dirty="0">
                <a:solidFill>
                  <a:schemeClr val="bg2"/>
                </a:solidFill>
                <a:latin typeface="Segoe UI Semilight" panose="020B0402040204020203" pitchFamily="34" charset="0"/>
                <a:cs typeface="Segoe UI Semilight" panose="020B0402040204020203" pitchFamily="34" charset="0"/>
              </a:rPr>
            </a:br>
            <a:r>
              <a:rPr lang="en-US" sz="1224" spc="-31" dirty="0">
                <a:solidFill>
                  <a:schemeClr val="bg2"/>
                </a:solidFill>
                <a:latin typeface="Segoe UI Semilight" panose="020B0402040204020203" pitchFamily="34" charset="0"/>
                <a:cs typeface="Segoe UI Semilight" panose="020B0402040204020203" pitchFamily="34" charset="0"/>
              </a:rPr>
              <a:t>Systems</a:t>
            </a:r>
          </a:p>
        </p:txBody>
      </p:sp>
      <p:grpSp>
        <p:nvGrpSpPr>
          <p:cNvPr id="210" name="Group 209"/>
          <p:cNvGrpSpPr/>
          <p:nvPr/>
        </p:nvGrpSpPr>
        <p:grpSpPr>
          <a:xfrm>
            <a:off x="10132159" y="1731256"/>
            <a:ext cx="360512" cy="368265"/>
            <a:chOff x="6112510" y="6954657"/>
            <a:chExt cx="1181100" cy="1206500"/>
          </a:xfrm>
          <a:solidFill>
            <a:schemeClr val="accent2"/>
          </a:solidFill>
        </p:grpSpPr>
        <p:sp>
          <p:nvSpPr>
            <p:cNvPr id="211"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2"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3"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4"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215" name="Group 214"/>
          <p:cNvGrpSpPr/>
          <p:nvPr/>
        </p:nvGrpSpPr>
        <p:grpSpPr>
          <a:xfrm>
            <a:off x="10180112" y="4787122"/>
            <a:ext cx="368657" cy="460821"/>
            <a:chOff x="2954338" y="6831013"/>
            <a:chExt cx="1041400" cy="1301750"/>
          </a:xfrm>
          <a:solidFill>
            <a:schemeClr val="accent2"/>
          </a:solidFill>
        </p:grpSpPr>
        <p:sp>
          <p:nvSpPr>
            <p:cNvPr id="216"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3260" tIns="46630" rIns="93260" bIns="46630" numCol="1" anchor="t" anchorCtr="0" compatLnSpc="1">
              <a:prstTxWarp prst="textNoShape">
                <a:avLst/>
              </a:prstTxWarp>
            </a:bodyPr>
            <a:lstStyle/>
            <a:p>
              <a:endParaRPr lang="en-US" sz="1836"/>
            </a:p>
          </p:txBody>
        </p:sp>
        <p:sp>
          <p:nvSpPr>
            <p:cNvPr id="217"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3260" tIns="46630" rIns="93260" bIns="46630" numCol="1" anchor="t" anchorCtr="0" compatLnSpc="1">
              <a:prstTxWarp prst="textNoShape">
                <a:avLst/>
              </a:prstTxWarp>
            </a:bodyPr>
            <a:lstStyle/>
            <a:p>
              <a:endParaRPr lang="en-US" sz="1836"/>
            </a:p>
          </p:txBody>
        </p:sp>
      </p:grpSp>
      <p:grpSp>
        <p:nvGrpSpPr>
          <p:cNvPr id="10" name="Group 9"/>
          <p:cNvGrpSpPr/>
          <p:nvPr/>
        </p:nvGrpSpPr>
        <p:grpSpPr>
          <a:xfrm>
            <a:off x="10025677" y="2902172"/>
            <a:ext cx="1795634" cy="1474416"/>
            <a:chOff x="9910801" y="2434267"/>
            <a:chExt cx="1878892" cy="1542780"/>
          </a:xfrm>
          <a:solidFill>
            <a:schemeClr val="accent2"/>
          </a:solidFill>
        </p:grpSpPr>
        <p:sp>
          <p:nvSpPr>
            <p:cNvPr id="218" name="TextBox 217"/>
            <p:cNvSpPr txBox="1"/>
            <p:nvPr/>
          </p:nvSpPr>
          <p:spPr>
            <a:xfrm>
              <a:off x="9910801" y="3234749"/>
              <a:ext cx="1090058" cy="461622"/>
            </a:xfrm>
            <a:prstGeom prst="rect">
              <a:avLst/>
            </a:prstGeom>
            <a:noFill/>
          </p:spPr>
          <p:txBody>
            <a:bodyPr wrap="square" lIns="186494" tIns="149195" rIns="186494" bIns="149195" rtlCol="0">
              <a:spAutoFit/>
            </a:bodyPr>
            <a:lstStyle/>
            <a:p>
              <a:pPr defTabSz="951121">
                <a:lnSpc>
                  <a:spcPct val="90000"/>
                </a:lnSpc>
                <a:spcBef>
                  <a:spcPct val="0"/>
                </a:spcBef>
                <a:spcAft>
                  <a:spcPts val="612"/>
                </a:spcAft>
              </a:pPr>
              <a:r>
                <a:rPr lang="en-US" sz="1224" spc="-31" dirty="0">
                  <a:solidFill>
                    <a:schemeClr val="bg2"/>
                  </a:solidFill>
                  <a:latin typeface="Segoe UI Semilight" panose="020B0402040204020203" pitchFamily="34" charset="0"/>
                  <a:cs typeface="Segoe UI Semilight" panose="020B0402040204020203" pitchFamily="34" charset="0"/>
                </a:rPr>
                <a:t>Apps</a:t>
              </a:r>
            </a:p>
          </p:txBody>
        </p:sp>
        <p:grpSp>
          <p:nvGrpSpPr>
            <p:cNvPr id="219" name="Group 218"/>
            <p:cNvGrpSpPr/>
            <p:nvPr/>
          </p:nvGrpSpPr>
          <p:grpSpPr>
            <a:xfrm>
              <a:off x="10012430" y="2917883"/>
              <a:ext cx="462396" cy="357669"/>
              <a:chOff x="5007615" y="2323753"/>
              <a:chExt cx="649029" cy="502032"/>
            </a:xfrm>
            <a:grpFill/>
          </p:grpSpPr>
          <p:sp>
            <p:nvSpPr>
              <p:cNvPr id="220" name="Freeform 219"/>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3260" tIns="46630" rIns="93260" bIns="46630" numCol="1" anchor="t" anchorCtr="0" compatLnSpc="1">
                <a:prstTxWarp prst="textNoShape">
                  <a:avLst/>
                </a:prstTxWarp>
                <a:noAutofit/>
              </a:bodyPr>
              <a:lstStyle/>
              <a:p>
                <a:endParaRPr lang="en-US" sz="1836" dirty="0"/>
              </a:p>
            </p:txBody>
          </p:sp>
          <p:sp>
            <p:nvSpPr>
              <p:cNvPr id="221" name="Freeform 220"/>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endParaRPr lang="en-US" sz="1836" dirty="0"/>
              </a:p>
            </p:txBody>
          </p:sp>
        </p:grpSp>
        <p:grpSp>
          <p:nvGrpSpPr>
            <p:cNvPr id="222" name="Group 221"/>
            <p:cNvGrpSpPr/>
            <p:nvPr/>
          </p:nvGrpSpPr>
          <p:grpSpPr>
            <a:xfrm>
              <a:off x="10486805" y="2434267"/>
              <a:ext cx="1302888" cy="1542780"/>
              <a:chOff x="10486805" y="2923046"/>
              <a:chExt cx="1302888" cy="1542780"/>
            </a:xfrm>
            <a:grpFill/>
          </p:grpSpPr>
          <p:sp>
            <p:nvSpPr>
              <p:cNvPr id="223" name="Rectangle 222"/>
              <p:cNvSpPr/>
              <p:nvPr/>
            </p:nvSpPr>
            <p:spPr bwMode="auto">
              <a:xfrm>
                <a:off x="10802824" y="2923046"/>
                <a:ext cx="986869" cy="1542780"/>
              </a:xfrm>
              <a:prstGeom prst="rect">
                <a:avLst/>
              </a:prstGeom>
              <a:noFill/>
              <a:ln>
                <a:solidFill>
                  <a:schemeClr val="tx1">
                    <a:lumMod val="6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24" name="TextBox 223"/>
              <p:cNvSpPr txBox="1"/>
              <p:nvPr/>
            </p:nvSpPr>
            <p:spPr>
              <a:xfrm>
                <a:off x="11212738" y="3022354"/>
                <a:ext cx="473389" cy="164789"/>
              </a:xfrm>
              <a:prstGeom prst="rect">
                <a:avLst/>
              </a:prstGeom>
              <a:noFill/>
            </p:spPr>
            <p:txBody>
              <a:bodyPr wrap="square" lIns="0" tIns="0" rIns="0" bIns="0" rtlCol="0">
                <a:spAutoFit/>
              </a:bodyPr>
              <a:lstStyle/>
              <a:p>
                <a:pPr defTabSz="951121">
                  <a:spcBef>
                    <a:spcPct val="0"/>
                  </a:spcBef>
                  <a:spcAft>
                    <a:spcPts val="612"/>
                  </a:spcAft>
                </a:pPr>
                <a:r>
                  <a:rPr lang="en-US" sz="1071" dirty="0">
                    <a:solidFill>
                      <a:schemeClr val="accent2"/>
                    </a:solidFill>
                    <a:cs typeface="Segoe UI Semilight" panose="020B0402040204020203" pitchFamily="34" charset="0"/>
                  </a:rPr>
                  <a:t>Web</a:t>
                </a:r>
              </a:p>
            </p:txBody>
          </p:sp>
          <p:sp>
            <p:nvSpPr>
              <p:cNvPr id="225" name="TextBox 224"/>
              <p:cNvSpPr txBox="1"/>
              <p:nvPr/>
            </p:nvSpPr>
            <p:spPr>
              <a:xfrm>
                <a:off x="11212738" y="3571986"/>
                <a:ext cx="473389" cy="164789"/>
              </a:xfrm>
              <a:prstGeom prst="rect">
                <a:avLst/>
              </a:prstGeom>
              <a:noFill/>
            </p:spPr>
            <p:txBody>
              <a:bodyPr wrap="square" lIns="0" tIns="0" rIns="0" bIns="0" rtlCol="0">
                <a:spAutoFit/>
              </a:bodyPr>
              <a:lstStyle/>
              <a:p>
                <a:pPr defTabSz="951121">
                  <a:spcBef>
                    <a:spcPct val="0"/>
                  </a:spcBef>
                  <a:spcAft>
                    <a:spcPts val="612"/>
                  </a:spcAft>
                </a:pPr>
                <a:r>
                  <a:rPr lang="en-US" sz="1071" dirty="0">
                    <a:solidFill>
                      <a:schemeClr val="accent2"/>
                    </a:solidFill>
                    <a:cs typeface="Segoe UI Semilight" panose="020B0402040204020203" pitchFamily="34" charset="0"/>
                  </a:rPr>
                  <a:t>Mobile</a:t>
                </a:r>
              </a:p>
            </p:txBody>
          </p:sp>
          <p:sp>
            <p:nvSpPr>
              <p:cNvPr id="226" name="TextBox 225"/>
              <p:cNvSpPr txBox="1"/>
              <p:nvPr/>
            </p:nvSpPr>
            <p:spPr>
              <a:xfrm>
                <a:off x="11212738" y="4160203"/>
                <a:ext cx="473389" cy="164789"/>
              </a:xfrm>
              <a:prstGeom prst="rect">
                <a:avLst/>
              </a:prstGeom>
              <a:noFill/>
            </p:spPr>
            <p:txBody>
              <a:bodyPr wrap="square" lIns="0" tIns="0" rIns="0" bIns="0" rtlCol="0">
                <a:spAutoFit/>
              </a:bodyPr>
              <a:lstStyle/>
              <a:p>
                <a:pPr defTabSz="951121">
                  <a:spcBef>
                    <a:spcPct val="0"/>
                  </a:spcBef>
                  <a:spcAft>
                    <a:spcPts val="612"/>
                  </a:spcAft>
                </a:pPr>
                <a:r>
                  <a:rPr lang="en-US" sz="1071" dirty="0">
                    <a:solidFill>
                      <a:schemeClr val="accent2"/>
                    </a:solidFill>
                    <a:cs typeface="Segoe UI Semilight" panose="020B0402040204020203" pitchFamily="34" charset="0"/>
                  </a:rPr>
                  <a:t>Bots</a:t>
                </a:r>
              </a:p>
            </p:txBody>
          </p:sp>
          <p:sp>
            <p:nvSpPr>
              <p:cNvPr id="227" name="Freeform 226"/>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grpFill/>
              <a:ln>
                <a:noFill/>
              </a:ln>
            </p:spPr>
            <p:txBody>
              <a:bodyPr vert="horz" wrap="square" lIns="93260" tIns="46630" rIns="93260" bIns="46630" numCol="1" anchor="t" anchorCtr="0" compatLnSpc="1">
                <a:prstTxWarp prst="textNoShape">
                  <a:avLst/>
                </a:prstTxWarp>
                <a:noAutofit/>
              </a:bodyPr>
              <a:lstStyle/>
              <a:p>
                <a:endParaRPr lang="en-US" sz="1836" dirty="0"/>
              </a:p>
            </p:txBody>
          </p:sp>
          <p:sp>
            <p:nvSpPr>
              <p:cNvPr id="228" name="Freeform 227"/>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grpFill/>
              <a:ln>
                <a:noFill/>
              </a:ln>
            </p:spPr>
            <p:txBody>
              <a:bodyPr vert="horz" wrap="square" lIns="93260" tIns="46630" rIns="93260" bIns="46630" numCol="1" anchor="t" anchorCtr="0" compatLnSpc="1">
                <a:prstTxWarp prst="textNoShape">
                  <a:avLst/>
                </a:prstTxWarp>
                <a:noAutofit/>
              </a:bodyPr>
              <a:lstStyle/>
              <a:p>
                <a:endParaRPr lang="en-US" sz="1836"/>
              </a:p>
            </p:txBody>
          </p:sp>
          <p:sp>
            <p:nvSpPr>
              <p:cNvPr id="229" name="Freeform 228"/>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noFill/>
              <a:ln w="31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solidFill>
                    <a:schemeClr val="accent2"/>
                  </a:solidFill>
                  <a:ea typeface="Segoe UI" pitchFamily="34" charset="0"/>
                  <a:cs typeface="Segoe UI" pitchFamily="34" charset="0"/>
                </a:endParaRPr>
              </a:p>
            </p:txBody>
          </p:sp>
          <p:cxnSp>
            <p:nvCxnSpPr>
              <p:cNvPr id="230" name="Straight Connector 229"/>
              <p:cNvCxnSpPr/>
              <p:nvPr/>
            </p:nvCxnSpPr>
            <p:spPr>
              <a:xfrm flipH="1">
                <a:off x="10486805" y="3605293"/>
                <a:ext cx="308472" cy="0"/>
              </a:xfrm>
              <a:prstGeom prst="line">
                <a:avLst/>
              </a:prstGeom>
              <a:grpFill/>
              <a:ln>
                <a:solidFill>
                  <a:schemeClr val="tx1">
                    <a:lumMod val="6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sp>
        <p:nvSpPr>
          <p:cNvPr id="139" name="Rectangle 138"/>
          <p:cNvSpPr/>
          <p:nvPr/>
        </p:nvSpPr>
        <p:spPr>
          <a:xfrm>
            <a:off x="8647433" y="2914002"/>
            <a:ext cx="1212643" cy="418289"/>
          </a:xfrm>
          <a:prstGeom prst="rect">
            <a:avLst/>
          </a:prstGeom>
        </p:spPr>
        <p:txBody>
          <a:bodyPr wrap="square" anchor="ctr">
            <a:spAutoFit/>
          </a:bodyPr>
          <a:lstStyle/>
          <a:p>
            <a:r>
              <a:rPr lang="en-US" sz="1122" dirty="0">
                <a:cs typeface="Segoe UI Semilight" panose="020B0402040204020203" pitchFamily="34" charset="0"/>
              </a:rPr>
              <a:t>Bot </a:t>
            </a:r>
            <a:br>
              <a:rPr lang="en-US" sz="1122" dirty="0">
                <a:cs typeface="Segoe UI Semilight" panose="020B0402040204020203" pitchFamily="34" charset="0"/>
              </a:rPr>
            </a:br>
            <a:r>
              <a:rPr lang="en-US" sz="1122" dirty="0">
                <a:cs typeface="Segoe UI Semilight" panose="020B0402040204020203" pitchFamily="34" charset="0"/>
              </a:rPr>
              <a:t>Framework</a:t>
            </a:r>
          </a:p>
        </p:txBody>
      </p:sp>
      <p:sp>
        <p:nvSpPr>
          <p:cNvPr id="145" name="Rectangle 144"/>
          <p:cNvSpPr/>
          <p:nvPr/>
        </p:nvSpPr>
        <p:spPr>
          <a:xfrm>
            <a:off x="4944592" y="2917249"/>
            <a:ext cx="1214695" cy="418289"/>
          </a:xfrm>
          <a:prstGeom prst="rect">
            <a:avLst/>
          </a:prstGeom>
        </p:spPr>
        <p:txBody>
          <a:bodyPr wrap="square">
            <a:spAutoFit/>
          </a:bodyPr>
          <a:lstStyle/>
          <a:p>
            <a:r>
              <a:rPr lang="en-US" sz="1122" dirty="0">
                <a:cs typeface="Segoe UI Semilight" panose="020B0402040204020203" pitchFamily="34" charset="0"/>
              </a:rPr>
              <a:t>SQL Data </a:t>
            </a:r>
          </a:p>
          <a:p>
            <a:r>
              <a:rPr lang="en-US" sz="1122" dirty="0">
                <a:cs typeface="Segoe UI Semilight" panose="020B0402040204020203" pitchFamily="34" charset="0"/>
              </a:rPr>
              <a:t>Warehouse</a:t>
            </a:r>
          </a:p>
        </p:txBody>
      </p:sp>
      <p:sp>
        <p:nvSpPr>
          <p:cNvPr id="144" name="Rectangle 143"/>
          <p:cNvSpPr/>
          <p:nvPr/>
        </p:nvSpPr>
        <p:spPr>
          <a:xfrm>
            <a:off x="3208175" y="3018419"/>
            <a:ext cx="1214695" cy="253266"/>
          </a:xfrm>
          <a:prstGeom prst="rect">
            <a:avLst/>
          </a:prstGeom>
        </p:spPr>
        <p:txBody>
          <a:bodyPr wrap="square">
            <a:spAutoFit/>
          </a:bodyPr>
          <a:lstStyle/>
          <a:p>
            <a:r>
              <a:rPr lang="en-US" sz="1122" dirty="0">
                <a:cs typeface="Segoe UI Semilight" panose="020B0402040204020203" pitchFamily="34" charset="0"/>
              </a:rPr>
              <a:t>Data Catalog</a:t>
            </a:r>
          </a:p>
        </p:txBody>
      </p:sp>
      <p:grpSp>
        <p:nvGrpSpPr>
          <p:cNvPr id="231" name="Group 230"/>
          <p:cNvGrpSpPr/>
          <p:nvPr/>
        </p:nvGrpSpPr>
        <p:grpSpPr>
          <a:xfrm>
            <a:off x="2907222" y="2977856"/>
            <a:ext cx="262811" cy="279564"/>
            <a:chOff x="3232150" y="382588"/>
            <a:chExt cx="5727700" cy="6092825"/>
          </a:xfrm>
          <a:solidFill>
            <a:schemeClr val="tx1"/>
          </a:solidFill>
        </p:grpSpPr>
        <p:sp>
          <p:nvSpPr>
            <p:cNvPr id="232"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3"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4"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50" name="Rectangle 149"/>
          <p:cNvSpPr/>
          <p:nvPr/>
        </p:nvSpPr>
        <p:spPr>
          <a:xfrm>
            <a:off x="6831635" y="2917249"/>
            <a:ext cx="1212643" cy="418289"/>
          </a:xfrm>
          <a:prstGeom prst="rect">
            <a:avLst/>
          </a:prstGeom>
        </p:spPr>
        <p:txBody>
          <a:bodyPr wrap="square">
            <a:spAutoFit/>
          </a:bodyPr>
          <a:lstStyle/>
          <a:p>
            <a:r>
              <a:rPr lang="en-US" sz="1122" dirty="0">
                <a:cs typeface="Segoe UI Semilight" panose="020B0402040204020203" pitchFamily="34" charset="0"/>
              </a:rPr>
              <a:t>Data Lake Analytics</a:t>
            </a:r>
          </a:p>
        </p:txBody>
      </p:sp>
      <p:grpSp>
        <p:nvGrpSpPr>
          <p:cNvPr id="235" name="Group 234"/>
          <p:cNvGrpSpPr/>
          <p:nvPr/>
        </p:nvGrpSpPr>
        <p:grpSpPr>
          <a:xfrm>
            <a:off x="6477230" y="2996617"/>
            <a:ext cx="210864" cy="275835"/>
            <a:chOff x="3473450" y="4579938"/>
            <a:chExt cx="1741488" cy="2278062"/>
          </a:xfrm>
          <a:solidFill>
            <a:schemeClr val="tx1"/>
          </a:solidFill>
        </p:grpSpPr>
        <p:sp>
          <p:nvSpPr>
            <p:cNvPr id="236"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7"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8"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46" name="Rectangle 145"/>
          <p:cNvSpPr/>
          <p:nvPr/>
        </p:nvSpPr>
        <p:spPr>
          <a:xfrm>
            <a:off x="3208175" y="2219906"/>
            <a:ext cx="1214695" cy="253266"/>
          </a:xfrm>
          <a:prstGeom prst="rect">
            <a:avLst/>
          </a:prstGeom>
        </p:spPr>
        <p:txBody>
          <a:bodyPr wrap="square">
            <a:spAutoFit/>
          </a:bodyPr>
          <a:lstStyle/>
          <a:p>
            <a:r>
              <a:rPr lang="en-US" sz="1122" dirty="0">
                <a:cs typeface="Segoe UI Semilight" panose="020B0402040204020203" pitchFamily="34" charset="0"/>
              </a:rPr>
              <a:t>Data Factory </a:t>
            </a:r>
            <a:endParaRPr lang="en-US" sz="1122" dirty="0"/>
          </a:p>
        </p:txBody>
      </p:sp>
      <p:sp>
        <p:nvSpPr>
          <p:cNvPr id="149" name="Rectangle 148"/>
          <p:cNvSpPr/>
          <p:nvPr/>
        </p:nvSpPr>
        <p:spPr>
          <a:xfrm>
            <a:off x="6831635" y="2139019"/>
            <a:ext cx="1212643" cy="418289"/>
          </a:xfrm>
          <a:prstGeom prst="rect">
            <a:avLst/>
          </a:prstGeom>
        </p:spPr>
        <p:txBody>
          <a:bodyPr wrap="square">
            <a:spAutoFit/>
          </a:bodyPr>
          <a:lstStyle/>
          <a:p>
            <a:r>
              <a:rPr lang="en-US" sz="1122" dirty="0">
                <a:cs typeface="Segoe UI Semilight" panose="020B0402040204020203" pitchFamily="34" charset="0"/>
              </a:rPr>
              <a:t>Machine Learning</a:t>
            </a:r>
          </a:p>
        </p:txBody>
      </p:sp>
      <p:sp>
        <p:nvSpPr>
          <p:cNvPr id="147" name="Rectangle 146"/>
          <p:cNvSpPr/>
          <p:nvPr/>
        </p:nvSpPr>
        <p:spPr>
          <a:xfrm>
            <a:off x="4931387" y="2219906"/>
            <a:ext cx="1214695" cy="253266"/>
          </a:xfrm>
          <a:prstGeom prst="rect">
            <a:avLst/>
          </a:prstGeom>
        </p:spPr>
        <p:txBody>
          <a:bodyPr wrap="square">
            <a:spAutoFit/>
          </a:bodyPr>
          <a:lstStyle/>
          <a:p>
            <a:r>
              <a:rPr lang="en-US" sz="1122" dirty="0">
                <a:cs typeface="Segoe UI Semilight" panose="020B0402040204020203" pitchFamily="34" charset="0"/>
              </a:rPr>
              <a:t>Data Lake Store</a:t>
            </a:r>
          </a:p>
        </p:txBody>
      </p:sp>
      <p:grpSp>
        <p:nvGrpSpPr>
          <p:cNvPr id="239" name="Group 238"/>
          <p:cNvGrpSpPr/>
          <p:nvPr/>
        </p:nvGrpSpPr>
        <p:grpSpPr>
          <a:xfrm>
            <a:off x="4636526" y="2224884"/>
            <a:ext cx="240061" cy="240061"/>
            <a:chOff x="4068192" y="3363795"/>
            <a:chExt cx="324957" cy="324957"/>
          </a:xfrm>
        </p:grpSpPr>
        <p:sp>
          <p:nvSpPr>
            <p:cNvPr id="240" name="Rounded Rectangle 239"/>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1" name="Rectangle 240"/>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3" name="Oval 242"/>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Oval 243"/>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5" name="Rectangle 244"/>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7" name="Oval 246"/>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Oval 247"/>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9" name="Rectangle 248"/>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0" name="Rectangle 249"/>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1" name="Oval 250"/>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2" name="Oval 251"/>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Oval 254"/>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6" name="Oval 255"/>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1" name="Rectangle 150"/>
          <p:cNvSpPr/>
          <p:nvPr/>
        </p:nvSpPr>
        <p:spPr>
          <a:xfrm>
            <a:off x="8647433" y="2139019"/>
            <a:ext cx="1212643" cy="418289"/>
          </a:xfrm>
          <a:prstGeom prst="rect">
            <a:avLst/>
          </a:prstGeom>
        </p:spPr>
        <p:txBody>
          <a:bodyPr wrap="square">
            <a:spAutoFit/>
          </a:bodyPr>
          <a:lstStyle/>
          <a:p>
            <a:r>
              <a:rPr lang="en-US" sz="1122" dirty="0">
                <a:cs typeface="Segoe UI Semilight" panose="020B0402040204020203" pitchFamily="34" charset="0"/>
              </a:rPr>
              <a:t>Cognitive Services</a:t>
            </a:r>
          </a:p>
        </p:txBody>
      </p:sp>
      <p:grpSp>
        <p:nvGrpSpPr>
          <p:cNvPr id="13" name="Group 12"/>
          <p:cNvGrpSpPr/>
          <p:nvPr/>
        </p:nvGrpSpPr>
        <p:grpSpPr>
          <a:xfrm>
            <a:off x="8215641" y="2213949"/>
            <a:ext cx="408490" cy="261932"/>
            <a:chOff x="7822816" y="2717080"/>
            <a:chExt cx="427431" cy="274077"/>
          </a:xfrm>
        </p:grpSpPr>
        <p:sp>
          <p:nvSpPr>
            <p:cNvPr id="257" name="Freeform 256"/>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3260" tIns="46630" rIns="93260" bIns="46630" numCol="1" anchor="t" anchorCtr="0" compatLnSpc="1">
              <a:prstTxWarp prst="textNoShape">
                <a:avLst/>
              </a:prstTxWarp>
              <a:noAutofit/>
            </a:bodyPr>
            <a:lstStyle/>
            <a:p>
              <a:endParaRPr lang="en-US" sz="1836"/>
            </a:p>
          </p:txBody>
        </p:sp>
        <p:sp>
          <p:nvSpPr>
            <p:cNvPr id="258"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grpSp>
      <p:sp>
        <p:nvSpPr>
          <p:cNvPr id="263" name="Rectangle 262"/>
          <p:cNvSpPr/>
          <p:nvPr/>
        </p:nvSpPr>
        <p:spPr>
          <a:xfrm>
            <a:off x="8467066" y="5192194"/>
            <a:ext cx="1214695" cy="253266"/>
          </a:xfrm>
          <a:prstGeom prst="rect">
            <a:avLst/>
          </a:prstGeom>
        </p:spPr>
        <p:txBody>
          <a:bodyPr wrap="square">
            <a:spAutoFit/>
          </a:bodyPr>
          <a:lstStyle/>
          <a:p>
            <a:r>
              <a:rPr lang="en-US" sz="1122" dirty="0">
                <a:cs typeface="Segoe UI Semilight" panose="020B0402040204020203" pitchFamily="34" charset="0"/>
              </a:rPr>
              <a:t>Power BI</a:t>
            </a:r>
          </a:p>
        </p:txBody>
      </p:sp>
      <p:grpSp>
        <p:nvGrpSpPr>
          <p:cNvPr id="30" name="Group 29"/>
          <p:cNvGrpSpPr/>
          <p:nvPr/>
        </p:nvGrpSpPr>
        <p:grpSpPr>
          <a:xfrm>
            <a:off x="8125156" y="5217973"/>
            <a:ext cx="310508" cy="198461"/>
            <a:chOff x="7884058" y="5368509"/>
            <a:chExt cx="324905" cy="207663"/>
          </a:xfrm>
        </p:grpSpPr>
        <p:sp>
          <p:nvSpPr>
            <p:cNvPr id="26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6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6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6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6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grpSp>
      <p:sp>
        <p:nvSpPr>
          <p:cNvPr id="156" name="Freeform 155"/>
          <p:cNvSpPr/>
          <p:nvPr/>
        </p:nvSpPr>
        <p:spPr bwMode="auto">
          <a:xfrm>
            <a:off x="8241479" y="2997894"/>
            <a:ext cx="356814" cy="242549"/>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grpSp>
        <p:nvGrpSpPr>
          <p:cNvPr id="259" name="Group 258"/>
          <p:cNvGrpSpPr/>
          <p:nvPr/>
        </p:nvGrpSpPr>
        <p:grpSpPr>
          <a:xfrm>
            <a:off x="6416331" y="4571222"/>
            <a:ext cx="337028" cy="258901"/>
            <a:chOff x="1260022" y="5196402"/>
            <a:chExt cx="3273425" cy="2514600"/>
          </a:xfrm>
          <a:solidFill>
            <a:schemeClr val="tx1"/>
          </a:solidFill>
        </p:grpSpPr>
        <p:sp>
          <p:nvSpPr>
            <p:cNvPr id="260" name="Freeform 259"/>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261" name="Freeform 260"/>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262" name="Freeform 261"/>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270" name="Freeform 269"/>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grpSp>
      <p:sp>
        <p:nvSpPr>
          <p:cNvPr id="271" name="Freeform 270"/>
          <p:cNvSpPr>
            <a:spLocks/>
          </p:cNvSpPr>
          <p:nvPr/>
        </p:nvSpPr>
        <p:spPr bwMode="auto">
          <a:xfrm>
            <a:off x="6417588" y="3769025"/>
            <a:ext cx="350145" cy="264972"/>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3260" tIns="46630" rIns="93260" bIns="46630" numCol="1" anchor="t" anchorCtr="0" compatLnSpc="1">
            <a:prstTxWarp prst="textNoShape">
              <a:avLst/>
            </a:prstTxWarp>
          </a:bodyPr>
          <a:lstStyle/>
          <a:p>
            <a:endParaRPr lang="en-US" sz="1632" dirty="0"/>
          </a:p>
        </p:txBody>
      </p:sp>
      <p:sp>
        <p:nvSpPr>
          <p:cNvPr id="301" name="Freeform 300"/>
          <p:cNvSpPr/>
          <p:nvPr/>
        </p:nvSpPr>
        <p:spPr bwMode="auto">
          <a:xfrm>
            <a:off x="2903392" y="2161357"/>
            <a:ext cx="273767" cy="287691"/>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302" name="Freeform 301"/>
          <p:cNvSpPr/>
          <p:nvPr/>
        </p:nvSpPr>
        <p:spPr bwMode="auto">
          <a:xfrm>
            <a:off x="2922814" y="3781104"/>
            <a:ext cx="221312" cy="231596"/>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sp>
        <p:nvSpPr>
          <p:cNvPr id="303" name="Freeform 302"/>
          <p:cNvSpPr/>
          <p:nvPr/>
        </p:nvSpPr>
        <p:spPr bwMode="auto">
          <a:xfrm flipH="1">
            <a:off x="6458921" y="2213786"/>
            <a:ext cx="255409" cy="270286"/>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grpSp>
        <p:nvGrpSpPr>
          <p:cNvPr id="351" name="Group 350"/>
          <p:cNvGrpSpPr/>
          <p:nvPr/>
        </p:nvGrpSpPr>
        <p:grpSpPr>
          <a:xfrm>
            <a:off x="4637144" y="2977855"/>
            <a:ext cx="237255" cy="290582"/>
            <a:chOff x="-3084513" y="3390510"/>
            <a:chExt cx="2716213" cy="3363913"/>
          </a:xfrm>
          <a:solidFill>
            <a:schemeClr val="tx1"/>
          </a:solidFill>
        </p:grpSpPr>
        <p:sp>
          <p:nvSpPr>
            <p:cNvPr id="348"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9"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77" name="TextBox 176"/>
          <p:cNvSpPr txBox="1"/>
          <p:nvPr/>
        </p:nvSpPr>
        <p:spPr>
          <a:xfrm>
            <a:off x="1680530" y="1922422"/>
            <a:ext cx="495460" cy="302817"/>
          </a:xfrm>
          <a:prstGeom prst="rect">
            <a:avLst/>
          </a:prstGeom>
          <a:noFill/>
        </p:spPr>
        <p:txBody>
          <a:bodyPr wrap="square" lIns="0" tIns="0" rIns="0" bIns="0" rtlCol="0" anchor="ctr" anchorCtr="0">
            <a:spAutoFit/>
          </a:bodyPr>
          <a:lstStyle/>
          <a:p>
            <a:pPr defTabSz="932563">
              <a:spcAft>
                <a:spcPts val="600"/>
              </a:spcAft>
            </a:pPr>
            <a:r>
              <a:rPr lang="en-US" sz="1050" dirty="0">
                <a:solidFill>
                  <a:schemeClr val="bg2"/>
                </a:solidFill>
                <a:cs typeface="Segoe UI Semilight" panose="020B0402040204020203" pitchFamily="34" charset="0"/>
              </a:rPr>
              <a:t>Data Sources</a:t>
            </a:r>
          </a:p>
        </p:txBody>
      </p:sp>
      <p:sp>
        <p:nvSpPr>
          <p:cNvPr id="179" name="TextBox 178"/>
          <p:cNvSpPr txBox="1"/>
          <p:nvPr/>
        </p:nvSpPr>
        <p:spPr>
          <a:xfrm>
            <a:off x="1680530" y="3227397"/>
            <a:ext cx="495460" cy="151409"/>
          </a:xfrm>
          <a:prstGeom prst="rect">
            <a:avLst/>
          </a:prstGeom>
          <a:noFill/>
        </p:spPr>
        <p:txBody>
          <a:bodyPr wrap="square" lIns="0" tIns="0" rIns="0" bIns="0" rtlCol="0" anchor="ctr" anchorCtr="0">
            <a:spAutoFit/>
          </a:bodyPr>
          <a:lstStyle/>
          <a:p>
            <a:pPr defTabSz="932563">
              <a:spcBef>
                <a:spcPct val="0"/>
              </a:spcBef>
              <a:spcAft>
                <a:spcPts val="600"/>
              </a:spcAft>
            </a:pPr>
            <a:r>
              <a:rPr lang="en-US" sz="1050" dirty="0">
                <a:solidFill>
                  <a:schemeClr val="bg2"/>
                </a:solidFill>
                <a:cs typeface="Segoe UI Semilight" panose="020B0402040204020203" pitchFamily="34" charset="0"/>
              </a:rPr>
              <a:t>Apps</a:t>
            </a:r>
          </a:p>
        </p:txBody>
      </p:sp>
      <p:sp>
        <p:nvSpPr>
          <p:cNvPr id="181" name="TextBox 180"/>
          <p:cNvSpPr txBox="1"/>
          <p:nvPr/>
        </p:nvSpPr>
        <p:spPr>
          <a:xfrm>
            <a:off x="1680530" y="4555831"/>
            <a:ext cx="689402" cy="302817"/>
          </a:xfrm>
          <a:prstGeom prst="rect">
            <a:avLst/>
          </a:prstGeom>
          <a:noFill/>
        </p:spPr>
        <p:txBody>
          <a:bodyPr wrap="square" lIns="0" tIns="0" rIns="0" bIns="0" rtlCol="0" anchor="ctr" anchorCtr="0">
            <a:spAutoFit/>
          </a:bodyPr>
          <a:lstStyle/>
          <a:p>
            <a:pPr defTabSz="932563">
              <a:spcBef>
                <a:spcPct val="0"/>
              </a:spcBef>
              <a:spcAft>
                <a:spcPts val="600"/>
              </a:spcAft>
            </a:pPr>
            <a:r>
              <a:rPr lang="en-US" sz="1050" dirty="0">
                <a:solidFill>
                  <a:schemeClr val="bg2"/>
                </a:solidFill>
                <a:cs typeface="Segoe UI Semilight" panose="020B0402040204020203" pitchFamily="34" charset="0"/>
              </a:rPr>
              <a:t>Sensors </a:t>
            </a:r>
            <a:br>
              <a:rPr lang="en-US" sz="1050" dirty="0">
                <a:solidFill>
                  <a:schemeClr val="bg2"/>
                </a:solidFill>
                <a:cs typeface="Segoe UI Semilight" panose="020B0402040204020203" pitchFamily="34" charset="0"/>
              </a:rPr>
            </a:br>
            <a:r>
              <a:rPr lang="en-US" sz="1050" dirty="0">
                <a:solidFill>
                  <a:schemeClr val="bg2"/>
                </a:solidFill>
                <a:cs typeface="Segoe UI Semilight" panose="020B0402040204020203" pitchFamily="34" charset="0"/>
              </a:rPr>
              <a:t>and devices</a:t>
            </a:r>
          </a:p>
        </p:txBody>
      </p:sp>
      <p:sp>
        <p:nvSpPr>
          <p:cNvPr id="182" name="TextBox 181"/>
          <p:cNvSpPr txBox="1"/>
          <p:nvPr/>
        </p:nvSpPr>
        <p:spPr>
          <a:xfrm>
            <a:off x="1344921" y="5395823"/>
            <a:ext cx="444613" cy="259557"/>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r>
              <a:rPr lang="en-US" sz="1800" dirty="0">
                <a:solidFill>
                  <a:schemeClr val="bg2"/>
                </a:solidFill>
                <a:latin typeface="+mn-lt"/>
              </a:rPr>
              <a:t>Data</a:t>
            </a:r>
          </a:p>
        </p:txBody>
      </p:sp>
      <p:cxnSp>
        <p:nvCxnSpPr>
          <p:cNvPr id="202" name="Straight Connector 201"/>
          <p:cNvCxnSpPr/>
          <p:nvPr/>
        </p:nvCxnSpPr>
        <p:spPr>
          <a:xfrm>
            <a:off x="2254104" y="3319692"/>
            <a:ext cx="289049" cy="0"/>
          </a:xfrm>
          <a:prstGeom prst="line">
            <a:avLst/>
          </a:prstGeom>
          <a:solidFill>
            <a:srgbClr val="0078D7"/>
          </a:solid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89" name="Picture 28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23336" y="2938860"/>
            <a:ext cx="727305" cy="850995"/>
          </a:xfrm>
          <a:prstGeom prst="rect">
            <a:avLst/>
          </a:prstGeom>
        </p:spPr>
      </p:pic>
      <p:pic>
        <p:nvPicPr>
          <p:cNvPr id="290" name="Picture 28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01500" y="4294460"/>
            <a:ext cx="705564" cy="825558"/>
          </a:xfrm>
          <a:prstGeom prst="rect">
            <a:avLst/>
          </a:prstGeom>
        </p:spPr>
      </p:pic>
      <p:pic>
        <p:nvPicPr>
          <p:cNvPr id="291" name="Picture 29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01636" y="1676103"/>
            <a:ext cx="642611" cy="751899"/>
          </a:xfrm>
          <a:prstGeom prst="rect">
            <a:avLst/>
          </a:prstGeom>
        </p:spPr>
      </p:pic>
    </p:spTree>
    <p:extLst>
      <p:ext uri="{BB962C8B-B14F-4D97-AF65-F5344CB8AC3E}">
        <p14:creationId xmlns:p14="http://schemas.microsoft.com/office/powerpoint/2010/main" val="141801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639" y="1209974"/>
            <a:ext cx="10056812" cy="3175485"/>
          </a:xfrm>
        </p:spPr>
        <p:txBody>
          <a:bodyPr/>
          <a:lstStyle/>
          <a:p>
            <a:r>
              <a:rPr lang="en-US" dirty="0"/>
              <a:t>Demo: Vehicle health and driving behavior patterns </a:t>
            </a:r>
            <a:br>
              <a:rPr lang="en-US" dirty="0"/>
            </a:br>
            <a:endParaRPr lang="en-US" dirty="0"/>
          </a:p>
        </p:txBody>
      </p:sp>
    </p:spTree>
    <p:extLst>
      <p:ext uri="{BB962C8B-B14F-4D97-AF65-F5344CB8AC3E}">
        <p14:creationId xmlns:p14="http://schemas.microsoft.com/office/powerpoint/2010/main" val="142457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p:cNvSpPr/>
          <p:nvPr/>
        </p:nvSpPr>
        <p:spPr bwMode="auto">
          <a:xfrm>
            <a:off x="0" y="2549419"/>
            <a:ext cx="12436475" cy="3896005"/>
          </a:xfrm>
          <a:prstGeom prst="rect">
            <a:avLst/>
          </a:prstGeom>
          <a:solidFill>
            <a:schemeClr val="tx1">
              <a:lumMod val="95000"/>
            </a:schemeClr>
          </a:solidFill>
          <a:ln w="317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000" kern="0" dirty="0">
              <a:gradFill>
                <a:gsLst>
                  <a:gs pos="1250">
                    <a:srgbClr val="505050"/>
                  </a:gs>
                  <a:gs pos="76000">
                    <a:srgbClr val="505050"/>
                  </a:gs>
                </a:gsLst>
                <a:lin ang="5400000" scaled="0"/>
              </a:gradFill>
            </a:endParaRPr>
          </a:p>
        </p:txBody>
      </p:sp>
      <p:sp>
        <p:nvSpPr>
          <p:cNvPr id="7" name="Title 6"/>
          <p:cNvSpPr>
            <a:spLocks noGrp="1"/>
          </p:cNvSpPr>
          <p:nvPr>
            <p:ph type="title"/>
          </p:nvPr>
        </p:nvSpPr>
        <p:spPr/>
        <p:txBody>
          <a:bodyPr/>
          <a:lstStyle/>
          <a:p>
            <a:r>
              <a:rPr lang="en-US" sz="4000" dirty="0"/>
              <a:t>Turning telemetry data from vehicles into insight</a:t>
            </a:r>
            <a:br>
              <a:rPr lang="en-US" sz="4000" dirty="0"/>
            </a:br>
            <a:endParaRPr lang="en-US" sz="4000" dirty="0"/>
          </a:p>
        </p:txBody>
      </p:sp>
      <p:grpSp>
        <p:nvGrpSpPr>
          <p:cNvPr id="100" name="Group 99"/>
          <p:cNvGrpSpPr/>
          <p:nvPr/>
        </p:nvGrpSpPr>
        <p:grpSpPr>
          <a:xfrm>
            <a:off x="5358357" y="1483270"/>
            <a:ext cx="1216819" cy="928792"/>
            <a:chOff x="811579" y="1729311"/>
            <a:chExt cx="1475102" cy="1125938"/>
          </a:xfrm>
          <a:solidFill>
            <a:srgbClr val="0072C6"/>
          </a:solidFill>
        </p:grpSpPr>
        <p:sp>
          <p:nvSpPr>
            <p:cNvPr id="101" name="Freeform 5"/>
            <p:cNvSpPr>
              <a:spLocks noEditPoints="1"/>
            </p:cNvSpPr>
            <p:nvPr/>
          </p:nvSpPr>
          <p:spPr bwMode="auto">
            <a:xfrm>
              <a:off x="811579" y="2184749"/>
              <a:ext cx="1475102" cy="670500"/>
            </a:xfrm>
            <a:custGeom>
              <a:avLst/>
              <a:gdLst>
                <a:gd name="T0" fmla="*/ 92 w 128"/>
                <a:gd name="T1" fmla="*/ 16 h 56"/>
                <a:gd name="T2" fmla="*/ 84 w 128"/>
                <a:gd name="T3" fmla="*/ 16 h 56"/>
                <a:gd name="T4" fmla="*/ 68 w 128"/>
                <a:gd name="T5" fmla="*/ 0 h 56"/>
                <a:gd name="T6" fmla="*/ 36 w 128"/>
                <a:gd name="T7" fmla="*/ 0 h 56"/>
                <a:gd name="T8" fmla="*/ 14 w 128"/>
                <a:gd name="T9" fmla="*/ 12 h 56"/>
                <a:gd name="T10" fmla="*/ 12 w 128"/>
                <a:gd name="T11" fmla="*/ 10 h 56"/>
                <a:gd name="T12" fmla="*/ 12 w 128"/>
                <a:gd name="T13" fmla="*/ 4 h 56"/>
                <a:gd name="T14" fmla="*/ 0 w 128"/>
                <a:gd name="T15" fmla="*/ 4 h 56"/>
                <a:gd name="T16" fmla="*/ 0 w 128"/>
                <a:gd name="T17" fmla="*/ 12 h 56"/>
                <a:gd name="T18" fmla="*/ 2 w 128"/>
                <a:gd name="T19" fmla="*/ 12 h 56"/>
                <a:gd name="T20" fmla="*/ 6 w 128"/>
                <a:gd name="T21" fmla="*/ 16 h 56"/>
                <a:gd name="T22" fmla="*/ 0 w 128"/>
                <a:gd name="T23" fmla="*/ 16 h 56"/>
                <a:gd name="T24" fmla="*/ 0 w 128"/>
                <a:gd name="T25" fmla="*/ 32 h 56"/>
                <a:gd name="T26" fmla="*/ 13 w 128"/>
                <a:gd name="T27" fmla="*/ 48 h 56"/>
                <a:gd name="T28" fmla="*/ 24 w 128"/>
                <a:gd name="T29" fmla="*/ 56 h 56"/>
                <a:gd name="T30" fmla="*/ 35 w 128"/>
                <a:gd name="T31" fmla="*/ 48 h 56"/>
                <a:gd name="T32" fmla="*/ 81 w 128"/>
                <a:gd name="T33" fmla="*/ 48 h 56"/>
                <a:gd name="T34" fmla="*/ 92 w 128"/>
                <a:gd name="T35" fmla="*/ 56 h 56"/>
                <a:gd name="T36" fmla="*/ 103 w 128"/>
                <a:gd name="T37" fmla="*/ 48 h 56"/>
                <a:gd name="T38" fmla="*/ 128 w 128"/>
                <a:gd name="T39" fmla="*/ 48 h 56"/>
                <a:gd name="T40" fmla="*/ 128 w 128"/>
                <a:gd name="T41" fmla="*/ 35 h 56"/>
                <a:gd name="T42" fmla="*/ 127 w 128"/>
                <a:gd name="T43" fmla="*/ 33 h 56"/>
                <a:gd name="T44" fmla="*/ 92 w 128"/>
                <a:gd name="T45" fmla="*/ 16 h 56"/>
                <a:gd name="T46" fmla="*/ 73 w 128"/>
                <a:gd name="T47" fmla="*/ 16 h 56"/>
                <a:gd name="T48" fmla="*/ 44 w 128"/>
                <a:gd name="T49" fmla="*/ 16 h 56"/>
                <a:gd name="T50" fmla="*/ 44 w 128"/>
                <a:gd name="T51" fmla="*/ 8 h 56"/>
                <a:gd name="T52" fmla="*/ 65 w 128"/>
                <a:gd name="T53" fmla="*/ 8 h 56"/>
                <a:gd name="T54" fmla="*/ 73 w 128"/>
                <a:gd name="T55" fmla="*/ 16 h 56"/>
                <a:gd name="T56" fmla="*/ 36 w 128"/>
                <a:gd name="T57" fmla="*/ 9 h 56"/>
                <a:gd name="T58" fmla="*/ 36 w 128"/>
                <a:gd name="T59" fmla="*/ 16 h 56"/>
                <a:gd name="T60" fmla="*/ 24 w 128"/>
                <a:gd name="T61" fmla="*/ 16 h 56"/>
                <a:gd name="T62" fmla="*/ 36 w 128"/>
                <a:gd name="T63" fmla="*/ 9 h 56"/>
                <a:gd name="T64" fmla="*/ 24 w 128"/>
                <a:gd name="T65" fmla="*/ 48 h 56"/>
                <a:gd name="T66" fmla="*/ 20 w 128"/>
                <a:gd name="T67" fmla="*/ 44 h 56"/>
                <a:gd name="T68" fmla="*/ 24 w 128"/>
                <a:gd name="T69" fmla="*/ 40 h 56"/>
                <a:gd name="T70" fmla="*/ 28 w 128"/>
                <a:gd name="T71" fmla="*/ 44 h 56"/>
                <a:gd name="T72" fmla="*/ 24 w 128"/>
                <a:gd name="T73" fmla="*/ 48 h 56"/>
                <a:gd name="T74" fmla="*/ 92 w 128"/>
                <a:gd name="T75" fmla="*/ 48 h 56"/>
                <a:gd name="T76" fmla="*/ 88 w 128"/>
                <a:gd name="T77" fmla="*/ 44 h 56"/>
                <a:gd name="T78" fmla="*/ 92 w 128"/>
                <a:gd name="T79" fmla="*/ 40 h 56"/>
                <a:gd name="T80" fmla="*/ 96 w 128"/>
                <a:gd name="T81" fmla="*/ 44 h 56"/>
                <a:gd name="T82" fmla="*/ 92 w 128"/>
                <a:gd name="T83" fmla="*/ 48 h 56"/>
                <a:gd name="T84" fmla="*/ 120 w 128"/>
                <a:gd name="T85" fmla="*/ 40 h 56"/>
                <a:gd name="T86" fmla="*/ 103 w 128"/>
                <a:gd name="T87" fmla="*/ 40 h 56"/>
                <a:gd name="T88" fmla="*/ 92 w 128"/>
                <a:gd name="T89" fmla="*/ 32 h 56"/>
                <a:gd name="T90" fmla="*/ 81 w 128"/>
                <a:gd name="T91" fmla="*/ 40 h 56"/>
                <a:gd name="T92" fmla="*/ 35 w 128"/>
                <a:gd name="T93" fmla="*/ 40 h 56"/>
                <a:gd name="T94" fmla="*/ 24 w 128"/>
                <a:gd name="T95" fmla="*/ 32 h 56"/>
                <a:gd name="T96" fmla="*/ 13 w 128"/>
                <a:gd name="T97" fmla="*/ 39 h 56"/>
                <a:gd name="T98" fmla="*/ 8 w 128"/>
                <a:gd name="T99" fmla="*/ 32 h 56"/>
                <a:gd name="T100" fmla="*/ 8 w 128"/>
                <a:gd name="T101" fmla="*/ 24 h 56"/>
                <a:gd name="T102" fmla="*/ 84 w 128"/>
                <a:gd name="T103" fmla="*/ 24 h 56"/>
                <a:gd name="T104" fmla="*/ 92 w 128"/>
                <a:gd name="T105" fmla="*/ 24 h 56"/>
                <a:gd name="T106" fmla="*/ 120 w 128"/>
                <a:gd name="T107" fmla="*/ 37 h 56"/>
                <a:gd name="T108" fmla="*/ 120 w 128"/>
                <a:gd name="T109" fmla="*/ 4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8" h="56">
                  <a:moveTo>
                    <a:pt x="92" y="16"/>
                  </a:moveTo>
                  <a:cubicBezTo>
                    <a:pt x="84" y="16"/>
                    <a:pt x="84" y="16"/>
                    <a:pt x="84" y="16"/>
                  </a:cubicBezTo>
                  <a:cubicBezTo>
                    <a:pt x="68" y="0"/>
                    <a:pt x="68" y="0"/>
                    <a:pt x="68" y="0"/>
                  </a:cubicBezTo>
                  <a:cubicBezTo>
                    <a:pt x="36" y="0"/>
                    <a:pt x="36" y="0"/>
                    <a:pt x="36" y="0"/>
                  </a:cubicBezTo>
                  <a:cubicBezTo>
                    <a:pt x="14" y="12"/>
                    <a:pt x="14" y="12"/>
                    <a:pt x="14" y="12"/>
                  </a:cubicBezTo>
                  <a:cubicBezTo>
                    <a:pt x="12" y="10"/>
                    <a:pt x="12" y="10"/>
                    <a:pt x="12" y="10"/>
                  </a:cubicBezTo>
                  <a:cubicBezTo>
                    <a:pt x="12" y="4"/>
                    <a:pt x="12" y="4"/>
                    <a:pt x="12" y="4"/>
                  </a:cubicBezTo>
                  <a:cubicBezTo>
                    <a:pt x="0" y="4"/>
                    <a:pt x="0" y="4"/>
                    <a:pt x="0" y="4"/>
                  </a:cubicBezTo>
                  <a:cubicBezTo>
                    <a:pt x="0" y="12"/>
                    <a:pt x="0" y="12"/>
                    <a:pt x="0" y="12"/>
                  </a:cubicBezTo>
                  <a:cubicBezTo>
                    <a:pt x="2" y="12"/>
                    <a:pt x="2" y="12"/>
                    <a:pt x="2" y="12"/>
                  </a:cubicBezTo>
                  <a:cubicBezTo>
                    <a:pt x="6" y="16"/>
                    <a:pt x="6" y="16"/>
                    <a:pt x="6" y="16"/>
                  </a:cubicBezTo>
                  <a:cubicBezTo>
                    <a:pt x="0" y="16"/>
                    <a:pt x="0" y="16"/>
                    <a:pt x="0" y="16"/>
                  </a:cubicBezTo>
                  <a:cubicBezTo>
                    <a:pt x="0" y="32"/>
                    <a:pt x="0" y="32"/>
                    <a:pt x="0" y="32"/>
                  </a:cubicBezTo>
                  <a:cubicBezTo>
                    <a:pt x="0" y="40"/>
                    <a:pt x="5" y="46"/>
                    <a:pt x="13" y="48"/>
                  </a:cubicBezTo>
                  <a:cubicBezTo>
                    <a:pt x="14" y="52"/>
                    <a:pt x="19" y="56"/>
                    <a:pt x="24" y="56"/>
                  </a:cubicBezTo>
                  <a:cubicBezTo>
                    <a:pt x="29" y="56"/>
                    <a:pt x="34" y="53"/>
                    <a:pt x="35" y="48"/>
                  </a:cubicBezTo>
                  <a:cubicBezTo>
                    <a:pt x="81" y="48"/>
                    <a:pt x="81" y="48"/>
                    <a:pt x="81" y="48"/>
                  </a:cubicBezTo>
                  <a:cubicBezTo>
                    <a:pt x="82" y="53"/>
                    <a:pt x="87" y="56"/>
                    <a:pt x="92" y="56"/>
                  </a:cubicBezTo>
                  <a:cubicBezTo>
                    <a:pt x="97" y="56"/>
                    <a:pt x="102" y="53"/>
                    <a:pt x="103" y="48"/>
                  </a:cubicBezTo>
                  <a:cubicBezTo>
                    <a:pt x="128" y="48"/>
                    <a:pt x="128" y="48"/>
                    <a:pt x="128" y="48"/>
                  </a:cubicBezTo>
                  <a:cubicBezTo>
                    <a:pt x="128" y="35"/>
                    <a:pt x="128" y="35"/>
                    <a:pt x="128" y="35"/>
                  </a:cubicBezTo>
                  <a:cubicBezTo>
                    <a:pt x="127" y="33"/>
                    <a:pt x="127" y="33"/>
                    <a:pt x="127" y="33"/>
                  </a:cubicBezTo>
                  <a:cubicBezTo>
                    <a:pt x="118" y="22"/>
                    <a:pt x="105" y="16"/>
                    <a:pt x="92" y="16"/>
                  </a:cubicBezTo>
                  <a:close/>
                  <a:moveTo>
                    <a:pt x="73" y="16"/>
                  </a:moveTo>
                  <a:cubicBezTo>
                    <a:pt x="44" y="16"/>
                    <a:pt x="44" y="16"/>
                    <a:pt x="44" y="16"/>
                  </a:cubicBezTo>
                  <a:cubicBezTo>
                    <a:pt x="44" y="8"/>
                    <a:pt x="44" y="8"/>
                    <a:pt x="44" y="8"/>
                  </a:cubicBezTo>
                  <a:cubicBezTo>
                    <a:pt x="65" y="8"/>
                    <a:pt x="65" y="8"/>
                    <a:pt x="65" y="8"/>
                  </a:cubicBezTo>
                  <a:lnTo>
                    <a:pt x="73" y="16"/>
                  </a:lnTo>
                  <a:close/>
                  <a:moveTo>
                    <a:pt x="36" y="9"/>
                  </a:moveTo>
                  <a:cubicBezTo>
                    <a:pt x="36" y="16"/>
                    <a:pt x="36" y="16"/>
                    <a:pt x="36" y="16"/>
                  </a:cubicBezTo>
                  <a:cubicBezTo>
                    <a:pt x="24" y="16"/>
                    <a:pt x="24" y="16"/>
                    <a:pt x="24" y="16"/>
                  </a:cubicBezTo>
                  <a:lnTo>
                    <a:pt x="36" y="9"/>
                  </a:lnTo>
                  <a:close/>
                  <a:moveTo>
                    <a:pt x="24" y="48"/>
                  </a:moveTo>
                  <a:cubicBezTo>
                    <a:pt x="22" y="48"/>
                    <a:pt x="20" y="46"/>
                    <a:pt x="20" y="44"/>
                  </a:cubicBezTo>
                  <a:cubicBezTo>
                    <a:pt x="20" y="42"/>
                    <a:pt x="22" y="40"/>
                    <a:pt x="24" y="40"/>
                  </a:cubicBezTo>
                  <a:cubicBezTo>
                    <a:pt x="26" y="40"/>
                    <a:pt x="28" y="42"/>
                    <a:pt x="28" y="44"/>
                  </a:cubicBezTo>
                  <a:cubicBezTo>
                    <a:pt x="28" y="46"/>
                    <a:pt x="26" y="48"/>
                    <a:pt x="24" y="48"/>
                  </a:cubicBezTo>
                  <a:close/>
                  <a:moveTo>
                    <a:pt x="92" y="48"/>
                  </a:moveTo>
                  <a:cubicBezTo>
                    <a:pt x="90" y="48"/>
                    <a:pt x="88" y="46"/>
                    <a:pt x="88" y="44"/>
                  </a:cubicBezTo>
                  <a:cubicBezTo>
                    <a:pt x="88" y="42"/>
                    <a:pt x="90" y="40"/>
                    <a:pt x="92" y="40"/>
                  </a:cubicBezTo>
                  <a:cubicBezTo>
                    <a:pt x="94" y="40"/>
                    <a:pt x="96" y="42"/>
                    <a:pt x="96" y="44"/>
                  </a:cubicBezTo>
                  <a:cubicBezTo>
                    <a:pt x="96" y="46"/>
                    <a:pt x="94" y="48"/>
                    <a:pt x="92" y="48"/>
                  </a:cubicBezTo>
                  <a:close/>
                  <a:moveTo>
                    <a:pt x="120" y="40"/>
                  </a:moveTo>
                  <a:cubicBezTo>
                    <a:pt x="103" y="40"/>
                    <a:pt x="103" y="40"/>
                    <a:pt x="103" y="40"/>
                  </a:cubicBezTo>
                  <a:cubicBezTo>
                    <a:pt x="102" y="35"/>
                    <a:pt x="97" y="32"/>
                    <a:pt x="92" y="32"/>
                  </a:cubicBezTo>
                  <a:cubicBezTo>
                    <a:pt x="87" y="32"/>
                    <a:pt x="82" y="35"/>
                    <a:pt x="81" y="40"/>
                  </a:cubicBezTo>
                  <a:cubicBezTo>
                    <a:pt x="35" y="40"/>
                    <a:pt x="35" y="40"/>
                    <a:pt x="35" y="40"/>
                  </a:cubicBezTo>
                  <a:cubicBezTo>
                    <a:pt x="34" y="35"/>
                    <a:pt x="29" y="32"/>
                    <a:pt x="24" y="32"/>
                  </a:cubicBezTo>
                  <a:cubicBezTo>
                    <a:pt x="19" y="32"/>
                    <a:pt x="15" y="35"/>
                    <a:pt x="13" y="39"/>
                  </a:cubicBezTo>
                  <a:cubicBezTo>
                    <a:pt x="10" y="38"/>
                    <a:pt x="8" y="35"/>
                    <a:pt x="8" y="32"/>
                  </a:cubicBezTo>
                  <a:cubicBezTo>
                    <a:pt x="8" y="24"/>
                    <a:pt x="8" y="24"/>
                    <a:pt x="8" y="24"/>
                  </a:cubicBezTo>
                  <a:cubicBezTo>
                    <a:pt x="84" y="24"/>
                    <a:pt x="84" y="24"/>
                    <a:pt x="84" y="24"/>
                  </a:cubicBezTo>
                  <a:cubicBezTo>
                    <a:pt x="92" y="24"/>
                    <a:pt x="92" y="24"/>
                    <a:pt x="92" y="24"/>
                  </a:cubicBezTo>
                  <a:cubicBezTo>
                    <a:pt x="102" y="24"/>
                    <a:pt x="112" y="29"/>
                    <a:pt x="120" y="37"/>
                  </a:cubicBezTo>
                  <a:lnTo>
                    <a:pt x="120" y="40"/>
                  </a:lnTo>
                  <a:close/>
                </a:path>
              </a:pathLst>
            </a:custGeom>
            <a:grpFill/>
            <a:ln w="38100">
              <a:noFill/>
              <a:round/>
              <a:headEnd/>
              <a:tailEnd/>
            </a:ln>
          </p:spPr>
          <p:txBody>
            <a:bodyPr vert="horz" wrap="square" lIns="91440" tIns="45720" rIns="91440" bIns="45720" numCol="1" anchor="t" anchorCtr="0" compatLnSpc="1">
              <a:prstTxWarp prst="textNoShape">
                <a:avLst/>
              </a:prstTxWarp>
            </a:bodyPr>
            <a:lstStyle/>
            <a:p>
              <a:pPr defTabSz="914400">
                <a:defRPr/>
              </a:pPr>
              <a:endParaRPr lang="en-US" kern="0">
                <a:gradFill>
                  <a:gsLst>
                    <a:gs pos="1250">
                      <a:srgbClr val="505050"/>
                    </a:gs>
                    <a:gs pos="76000">
                      <a:srgbClr val="505050"/>
                    </a:gs>
                  </a:gsLst>
                  <a:lin ang="5400000" scaled="0"/>
                </a:gradFill>
              </a:endParaRPr>
            </a:p>
          </p:txBody>
        </p:sp>
        <p:grpSp>
          <p:nvGrpSpPr>
            <p:cNvPr id="102" name="Group 8"/>
            <p:cNvGrpSpPr>
              <a:grpSpLocks noChangeAspect="1"/>
            </p:cNvGrpSpPr>
            <p:nvPr/>
          </p:nvGrpSpPr>
          <p:grpSpPr bwMode="auto">
            <a:xfrm>
              <a:off x="1287193" y="1729311"/>
              <a:ext cx="523875" cy="288925"/>
              <a:chOff x="5218" y="1988"/>
              <a:chExt cx="330" cy="182"/>
            </a:xfrm>
            <a:grpFill/>
          </p:grpSpPr>
          <p:sp>
            <p:nvSpPr>
              <p:cNvPr id="103" name="Freeform 9"/>
              <p:cNvSpPr>
                <a:spLocks/>
              </p:cNvSpPr>
              <p:nvPr/>
            </p:nvSpPr>
            <p:spPr bwMode="auto">
              <a:xfrm>
                <a:off x="5218" y="1988"/>
                <a:ext cx="330" cy="89"/>
              </a:xfrm>
              <a:custGeom>
                <a:avLst/>
                <a:gdLst>
                  <a:gd name="T0" fmla="*/ 96 w 102"/>
                  <a:gd name="T1" fmla="*/ 27 h 27"/>
                  <a:gd name="T2" fmla="*/ 102 w 102"/>
                  <a:gd name="T3" fmla="*/ 21 h 27"/>
                  <a:gd name="T4" fmla="*/ 51 w 102"/>
                  <a:gd name="T5" fmla="*/ 0 h 27"/>
                  <a:gd name="T6" fmla="*/ 0 w 102"/>
                  <a:gd name="T7" fmla="*/ 21 h 27"/>
                  <a:gd name="T8" fmla="*/ 6 w 102"/>
                  <a:gd name="T9" fmla="*/ 27 h 27"/>
                  <a:gd name="T10" fmla="*/ 51 w 102"/>
                  <a:gd name="T11" fmla="*/ 8 h 27"/>
                  <a:gd name="T12" fmla="*/ 96 w 10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102" h="27">
                    <a:moveTo>
                      <a:pt x="96" y="27"/>
                    </a:moveTo>
                    <a:cubicBezTo>
                      <a:pt x="102" y="21"/>
                      <a:pt x="102" y="21"/>
                      <a:pt x="102" y="21"/>
                    </a:cubicBezTo>
                    <a:cubicBezTo>
                      <a:pt x="88" y="8"/>
                      <a:pt x="70" y="0"/>
                      <a:pt x="51" y="0"/>
                    </a:cubicBezTo>
                    <a:cubicBezTo>
                      <a:pt x="32" y="0"/>
                      <a:pt x="14" y="8"/>
                      <a:pt x="0" y="21"/>
                    </a:cubicBezTo>
                    <a:cubicBezTo>
                      <a:pt x="6" y="27"/>
                      <a:pt x="6" y="27"/>
                      <a:pt x="6" y="27"/>
                    </a:cubicBezTo>
                    <a:cubicBezTo>
                      <a:pt x="18" y="15"/>
                      <a:pt x="34" y="8"/>
                      <a:pt x="51" y="8"/>
                    </a:cubicBezTo>
                    <a:cubicBezTo>
                      <a:pt x="68" y="8"/>
                      <a:pt x="84" y="15"/>
                      <a:pt x="96" y="27"/>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defTabSz="914400">
                  <a:defRPr/>
                </a:pPr>
                <a:endParaRPr lang="en-US" kern="0">
                  <a:gradFill>
                    <a:gsLst>
                      <a:gs pos="1250">
                        <a:srgbClr val="505050"/>
                      </a:gs>
                      <a:gs pos="76000">
                        <a:srgbClr val="505050"/>
                      </a:gs>
                    </a:gsLst>
                    <a:lin ang="5400000" scaled="0"/>
                  </a:gradFill>
                </a:endParaRPr>
              </a:p>
            </p:txBody>
          </p:sp>
          <p:sp>
            <p:nvSpPr>
              <p:cNvPr id="104" name="Freeform 10"/>
              <p:cNvSpPr>
                <a:spLocks/>
              </p:cNvSpPr>
              <p:nvPr/>
            </p:nvSpPr>
            <p:spPr bwMode="auto">
              <a:xfrm>
                <a:off x="5263" y="2054"/>
                <a:ext cx="240" cy="70"/>
              </a:xfrm>
              <a:custGeom>
                <a:avLst/>
                <a:gdLst>
                  <a:gd name="T0" fmla="*/ 37 w 74"/>
                  <a:gd name="T1" fmla="*/ 8 h 21"/>
                  <a:gd name="T2" fmla="*/ 68 w 74"/>
                  <a:gd name="T3" fmla="*/ 21 h 21"/>
                  <a:gd name="T4" fmla="*/ 74 w 74"/>
                  <a:gd name="T5" fmla="*/ 15 h 21"/>
                  <a:gd name="T6" fmla="*/ 37 w 74"/>
                  <a:gd name="T7" fmla="*/ 0 h 21"/>
                  <a:gd name="T8" fmla="*/ 0 w 74"/>
                  <a:gd name="T9" fmla="*/ 15 h 21"/>
                  <a:gd name="T10" fmla="*/ 6 w 74"/>
                  <a:gd name="T11" fmla="*/ 21 h 21"/>
                  <a:gd name="T12" fmla="*/ 37 w 74"/>
                  <a:gd name="T13" fmla="*/ 8 h 21"/>
                </a:gdLst>
                <a:ahLst/>
                <a:cxnLst>
                  <a:cxn ang="0">
                    <a:pos x="T0" y="T1"/>
                  </a:cxn>
                  <a:cxn ang="0">
                    <a:pos x="T2" y="T3"/>
                  </a:cxn>
                  <a:cxn ang="0">
                    <a:pos x="T4" y="T5"/>
                  </a:cxn>
                  <a:cxn ang="0">
                    <a:pos x="T6" y="T7"/>
                  </a:cxn>
                  <a:cxn ang="0">
                    <a:pos x="T8" y="T9"/>
                  </a:cxn>
                  <a:cxn ang="0">
                    <a:pos x="T10" y="T11"/>
                  </a:cxn>
                  <a:cxn ang="0">
                    <a:pos x="T12" y="T13"/>
                  </a:cxn>
                </a:cxnLst>
                <a:rect l="0" t="0" r="r" b="b"/>
                <a:pathLst>
                  <a:path w="74" h="21">
                    <a:moveTo>
                      <a:pt x="37" y="8"/>
                    </a:moveTo>
                    <a:cubicBezTo>
                      <a:pt x="49" y="8"/>
                      <a:pt x="60" y="13"/>
                      <a:pt x="68" y="21"/>
                    </a:cubicBezTo>
                    <a:cubicBezTo>
                      <a:pt x="74" y="15"/>
                      <a:pt x="74" y="15"/>
                      <a:pt x="74" y="15"/>
                    </a:cubicBezTo>
                    <a:cubicBezTo>
                      <a:pt x="64" y="5"/>
                      <a:pt x="51" y="0"/>
                      <a:pt x="37" y="0"/>
                    </a:cubicBezTo>
                    <a:cubicBezTo>
                      <a:pt x="23" y="0"/>
                      <a:pt x="10" y="5"/>
                      <a:pt x="0" y="15"/>
                    </a:cubicBezTo>
                    <a:cubicBezTo>
                      <a:pt x="6" y="21"/>
                      <a:pt x="6" y="21"/>
                      <a:pt x="6" y="21"/>
                    </a:cubicBezTo>
                    <a:cubicBezTo>
                      <a:pt x="14" y="13"/>
                      <a:pt x="25" y="8"/>
                      <a:pt x="37" y="8"/>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defTabSz="914400">
                  <a:defRPr/>
                </a:pPr>
                <a:endParaRPr lang="en-US" kern="0" dirty="0">
                  <a:gradFill>
                    <a:gsLst>
                      <a:gs pos="1250">
                        <a:srgbClr val="505050"/>
                      </a:gs>
                      <a:gs pos="76000">
                        <a:srgbClr val="505050"/>
                      </a:gs>
                    </a:gsLst>
                    <a:lin ang="5400000" scaled="0"/>
                  </a:gradFill>
                </a:endParaRPr>
              </a:p>
            </p:txBody>
          </p:sp>
          <p:sp>
            <p:nvSpPr>
              <p:cNvPr id="105" name="Freeform 11"/>
              <p:cNvSpPr>
                <a:spLocks/>
              </p:cNvSpPr>
              <p:nvPr/>
            </p:nvSpPr>
            <p:spPr bwMode="auto">
              <a:xfrm>
                <a:off x="5312" y="2120"/>
                <a:ext cx="142" cy="50"/>
              </a:xfrm>
              <a:custGeom>
                <a:avLst/>
                <a:gdLst>
                  <a:gd name="T0" fmla="*/ 44 w 44"/>
                  <a:gd name="T1" fmla="*/ 9 h 15"/>
                  <a:gd name="T2" fmla="*/ 22 w 44"/>
                  <a:gd name="T3" fmla="*/ 0 h 15"/>
                  <a:gd name="T4" fmla="*/ 0 w 44"/>
                  <a:gd name="T5" fmla="*/ 9 h 15"/>
                  <a:gd name="T6" fmla="*/ 5 w 44"/>
                  <a:gd name="T7" fmla="*/ 15 h 15"/>
                  <a:gd name="T8" fmla="*/ 22 w 44"/>
                  <a:gd name="T9" fmla="*/ 8 h 15"/>
                  <a:gd name="T10" fmla="*/ 39 w 44"/>
                  <a:gd name="T11" fmla="*/ 15 h 15"/>
                  <a:gd name="T12" fmla="*/ 44 w 44"/>
                  <a:gd name="T13" fmla="*/ 9 h 15"/>
                </a:gdLst>
                <a:ahLst/>
                <a:cxnLst>
                  <a:cxn ang="0">
                    <a:pos x="T0" y="T1"/>
                  </a:cxn>
                  <a:cxn ang="0">
                    <a:pos x="T2" y="T3"/>
                  </a:cxn>
                  <a:cxn ang="0">
                    <a:pos x="T4" y="T5"/>
                  </a:cxn>
                  <a:cxn ang="0">
                    <a:pos x="T6" y="T7"/>
                  </a:cxn>
                  <a:cxn ang="0">
                    <a:pos x="T8" y="T9"/>
                  </a:cxn>
                  <a:cxn ang="0">
                    <a:pos x="T10" y="T11"/>
                  </a:cxn>
                  <a:cxn ang="0">
                    <a:pos x="T12" y="T13"/>
                  </a:cxn>
                </a:cxnLst>
                <a:rect l="0" t="0" r="r" b="b"/>
                <a:pathLst>
                  <a:path w="44" h="15">
                    <a:moveTo>
                      <a:pt x="44" y="9"/>
                    </a:moveTo>
                    <a:cubicBezTo>
                      <a:pt x="38" y="3"/>
                      <a:pt x="30" y="0"/>
                      <a:pt x="22" y="0"/>
                    </a:cubicBezTo>
                    <a:cubicBezTo>
                      <a:pt x="14" y="0"/>
                      <a:pt x="6" y="3"/>
                      <a:pt x="0" y="9"/>
                    </a:cubicBezTo>
                    <a:cubicBezTo>
                      <a:pt x="5" y="15"/>
                      <a:pt x="5" y="15"/>
                      <a:pt x="5" y="15"/>
                    </a:cubicBezTo>
                    <a:cubicBezTo>
                      <a:pt x="10" y="10"/>
                      <a:pt x="16" y="8"/>
                      <a:pt x="22" y="8"/>
                    </a:cubicBezTo>
                    <a:cubicBezTo>
                      <a:pt x="28" y="8"/>
                      <a:pt x="34" y="10"/>
                      <a:pt x="39" y="15"/>
                    </a:cubicBezTo>
                    <a:lnTo>
                      <a:pt x="44" y="9"/>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defTabSz="914400">
                  <a:defRPr/>
                </a:pPr>
                <a:endParaRPr lang="en-US" kern="0">
                  <a:gradFill>
                    <a:gsLst>
                      <a:gs pos="1250">
                        <a:srgbClr val="505050"/>
                      </a:gs>
                      <a:gs pos="76000">
                        <a:srgbClr val="505050"/>
                      </a:gs>
                    </a:gsLst>
                    <a:lin ang="5400000" scaled="0"/>
                  </a:gradFill>
                </a:endParaRPr>
              </a:p>
            </p:txBody>
          </p:sp>
        </p:grpSp>
      </p:grpSp>
      <p:grpSp>
        <p:nvGrpSpPr>
          <p:cNvPr id="114" name="Group 113"/>
          <p:cNvGrpSpPr/>
          <p:nvPr/>
        </p:nvGrpSpPr>
        <p:grpSpPr>
          <a:xfrm>
            <a:off x="8251706" y="2747334"/>
            <a:ext cx="803730" cy="803730"/>
            <a:chOff x="8255948" y="1246183"/>
            <a:chExt cx="1016000" cy="1016000"/>
          </a:xfrm>
        </p:grpSpPr>
        <p:sp>
          <p:nvSpPr>
            <p:cNvPr id="157" name="Oval 156"/>
            <p:cNvSpPr/>
            <p:nvPr/>
          </p:nvSpPr>
          <p:spPr bwMode="auto">
            <a:xfrm>
              <a:off x="8255948" y="1246183"/>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dirty="0">
                <a:gradFill>
                  <a:gsLst>
                    <a:gs pos="1250">
                      <a:srgbClr val="505050"/>
                    </a:gs>
                    <a:gs pos="76000">
                      <a:srgbClr val="505050"/>
                    </a:gs>
                  </a:gsLst>
                  <a:lin ang="5400000" scaled="0"/>
                </a:gradFill>
              </a:endParaRPr>
            </a:p>
          </p:txBody>
        </p:sp>
        <p:grpSp>
          <p:nvGrpSpPr>
            <p:cNvPr id="158" name="Group 14"/>
            <p:cNvGrpSpPr>
              <a:grpSpLocks noChangeAspect="1"/>
            </p:cNvGrpSpPr>
            <p:nvPr/>
          </p:nvGrpSpPr>
          <p:grpSpPr bwMode="auto">
            <a:xfrm>
              <a:off x="8510745" y="1613690"/>
              <a:ext cx="506413" cy="280987"/>
              <a:chOff x="5338" y="1027"/>
              <a:chExt cx="319" cy="177"/>
            </a:xfrm>
            <a:solidFill>
              <a:srgbClr val="FFFFFF"/>
            </a:solidFill>
          </p:grpSpPr>
          <p:sp>
            <p:nvSpPr>
              <p:cNvPr id="159" name="Rectangle 15"/>
              <p:cNvSpPr>
                <a:spLocks noChangeArrowheads="1"/>
              </p:cNvSpPr>
              <p:nvPr/>
            </p:nvSpPr>
            <p:spPr bwMode="auto">
              <a:xfrm>
                <a:off x="5406" y="1027"/>
                <a:ext cx="251"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60" name="Rectangle 16"/>
              <p:cNvSpPr>
                <a:spLocks noChangeArrowheads="1"/>
              </p:cNvSpPr>
              <p:nvPr/>
            </p:nvSpPr>
            <p:spPr bwMode="auto">
              <a:xfrm>
                <a:off x="5348" y="1106"/>
                <a:ext cx="1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61" name="Rectangle 17"/>
              <p:cNvSpPr>
                <a:spLocks noChangeArrowheads="1"/>
              </p:cNvSpPr>
              <p:nvPr/>
            </p:nvSpPr>
            <p:spPr bwMode="auto">
              <a:xfrm>
                <a:off x="5348" y="1027"/>
                <a:ext cx="1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62" name="Rectangle 18"/>
              <p:cNvSpPr>
                <a:spLocks noChangeArrowheads="1"/>
              </p:cNvSpPr>
              <p:nvPr/>
            </p:nvSpPr>
            <p:spPr bwMode="auto">
              <a:xfrm>
                <a:off x="5406" y="1106"/>
                <a:ext cx="251"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63" name="Rectangle 19"/>
              <p:cNvSpPr>
                <a:spLocks noChangeArrowheads="1"/>
              </p:cNvSpPr>
              <p:nvPr/>
            </p:nvSpPr>
            <p:spPr bwMode="auto">
              <a:xfrm>
                <a:off x="5406" y="1184"/>
                <a:ext cx="251"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64" name="Freeform 20"/>
              <p:cNvSpPr>
                <a:spLocks/>
              </p:cNvSpPr>
              <p:nvPr/>
            </p:nvSpPr>
            <p:spPr bwMode="auto">
              <a:xfrm>
                <a:off x="5338" y="1157"/>
                <a:ext cx="56" cy="47"/>
              </a:xfrm>
              <a:custGeom>
                <a:avLst/>
                <a:gdLst>
                  <a:gd name="T0" fmla="*/ 20 w 56"/>
                  <a:gd name="T1" fmla="*/ 47 h 47"/>
                  <a:gd name="T2" fmla="*/ 0 w 56"/>
                  <a:gd name="T3" fmla="*/ 27 h 47"/>
                  <a:gd name="T4" fmla="*/ 10 w 56"/>
                  <a:gd name="T5" fmla="*/ 18 h 47"/>
                  <a:gd name="T6" fmla="*/ 20 w 56"/>
                  <a:gd name="T7" fmla="*/ 27 h 47"/>
                  <a:gd name="T8" fmla="*/ 44 w 56"/>
                  <a:gd name="T9" fmla="*/ 0 h 47"/>
                  <a:gd name="T10" fmla="*/ 56 w 56"/>
                  <a:gd name="T11" fmla="*/ 13 h 47"/>
                  <a:gd name="T12" fmla="*/ 20 w 56"/>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56" h="47">
                    <a:moveTo>
                      <a:pt x="20" y="47"/>
                    </a:moveTo>
                    <a:lnTo>
                      <a:pt x="0" y="27"/>
                    </a:lnTo>
                    <a:lnTo>
                      <a:pt x="10" y="18"/>
                    </a:lnTo>
                    <a:lnTo>
                      <a:pt x="20" y="27"/>
                    </a:lnTo>
                    <a:lnTo>
                      <a:pt x="44" y="0"/>
                    </a:lnTo>
                    <a:lnTo>
                      <a:pt x="56" y="13"/>
                    </a:lnTo>
                    <a:lnTo>
                      <a:pt x="20"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grpSp>
      </p:grpSp>
      <p:grpSp>
        <p:nvGrpSpPr>
          <p:cNvPr id="115" name="Group 114"/>
          <p:cNvGrpSpPr/>
          <p:nvPr/>
        </p:nvGrpSpPr>
        <p:grpSpPr>
          <a:xfrm>
            <a:off x="8251706" y="5188288"/>
            <a:ext cx="803730" cy="803730"/>
            <a:chOff x="9874008" y="2120048"/>
            <a:chExt cx="1016000" cy="1016000"/>
          </a:xfrm>
        </p:grpSpPr>
        <p:sp>
          <p:nvSpPr>
            <p:cNvPr id="155" name="Oval 154"/>
            <p:cNvSpPr/>
            <p:nvPr/>
          </p:nvSpPr>
          <p:spPr bwMode="auto">
            <a:xfrm>
              <a:off x="9874008" y="2120048"/>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dirty="0">
                <a:gradFill>
                  <a:gsLst>
                    <a:gs pos="1250">
                      <a:srgbClr val="505050"/>
                    </a:gs>
                    <a:gs pos="76000">
                      <a:srgbClr val="505050"/>
                    </a:gs>
                  </a:gsLst>
                  <a:lin ang="5400000" scaled="0"/>
                </a:gradFill>
              </a:endParaRPr>
            </a:p>
          </p:txBody>
        </p:sp>
        <p:sp>
          <p:nvSpPr>
            <p:cNvPr id="156" name="Freeform 24"/>
            <p:cNvSpPr>
              <a:spLocks noEditPoints="1"/>
            </p:cNvSpPr>
            <p:nvPr/>
          </p:nvSpPr>
          <p:spPr bwMode="auto">
            <a:xfrm>
              <a:off x="10212146" y="2416117"/>
              <a:ext cx="339725" cy="423862"/>
            </a:xfrm>
            <a:custGeom>
              <a:avLst/>
              <a:gdLst>
                <a:gd name="T0" fmla="*/ 114 w 214"/>
                <a:gd name="T1" fmla="*/ 53 h 267"/>
                <a:gd name="T2" fmla="*/ 114 w 214"/>
                <a:gd name="T3" fmla="*/ 0 h 267"/>
                <a:gd name="T4" fmla="*/ 95 w 214"/>
                <a:gd name="T5" fmla="*/ 0 h 267"/>
                <a:gd name="T6" fmla="*/ 95 w 214"/>
                <a:gd name="T7" fmla="*/ 53 h 267"/>
                <a:gd name="T8" fmla="*/ 0 w 214"/>
                <a:gd name="T9" fmla="*/ 53 h 267"/>
                <a:gd name="T10" fmla="*/ 0 w 214"/>
                <a:gd name="T11" fmla="*/ 267 h 267"/>
                <a:gd name="T12" fmla="*/ 214 w 214"/>
                <a:gd name="T13" fmla="*/ 267 h 267"/>
                <a:gd name="T14" fmla="*/ 214 w 214"/>
                <a:gd name="T15" fmla="*/ 53 h 267"/>
                <a:gd name="T16" fmla="*/ 114 w 214"/>
                <a:gd name="T17" fmla="*/ 53 h 267"/>
                <a:gd name="T18" fmla="*/ 195 w 214"/>
                <a:gd name="T19" fmla="*/ 247 h 267"/>
                <a:gd name="T20" fmla="*/ 19 w 214"/>
                <a:gd name="T21" fmla="*/ 247 h 267"/>
                <a:gd name="T22" fmla="*/ 19 w 214"/>
                <a:gd name="T23" fmla="*/ 70 h 267"/>
                <a:gd name="T24" fmla="*/ 95 w 214"/>
                <a:gd name="T25" fmla="*/ 70 h 267"/>
                <a:gd name="T26" fmla="*/ 95 w 214"/>
                <a:gd name="T27" fmla="*/ 182 h 267"/>
                <a:gd name="T28" fmla="*/ 63 w 214"/>
                <a:gd name="T29" fmla="*/ 150 h 267"/>
                <a:gd name="T30" fmla="*/ 51 w 214"/>
                <a:gd name="T31" fmla="*/ 165 h 267"/>
                <a:gd name="T32" fmla="*/ 105 w 214"/>
                <a:gd name="T33" fmla="*/ 221 h 267"/>
                <a:gd name="T34" fmla="*/ 161 w 214"/>
                <a:gd name="T35" fmla="*/ 165 h 267"/>
                <a:gd name="T36" fmla="*/ 149 w 214"/>
                <a:gd name="T37" fmla="*/ 150 h 267"/>
                <a:gd name="T38" fmla="*/ 114 w 214"/>
                <a:gd name="T39" fmla="*/ 182 h 267"/>
                <a:gd name="T40" fmla="*/ 114 w 214"/>
                <a:gd name="T41" fmla="*/ 70 h 267"/>
                <a:gd name="T42" fmla="*/ 195 w 214"/>
                <a:gd name="T43" fmla="*/ 70 h 267"/>
                <a:gd name="T44" fmla="*/ 195 w 214"/>
                <a:gd name="T45" fmla="*/ 247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4" h="267">
                  <a:moveTo>
                    <a:pt x="114" y="53"/>
                  </a:moveTo>
                  <a:lnTo>
                    <a:pt x="114" y="0"/>
                  </a:lnTo>
                  <a:lnTo>
                    <a:pt x="95" y="0"/>
                  </a:lnTo>
                  <a:lnTo>
                    <a:pt x="95" y="53"/>
                  </a:lnTo>
                  <a:lnTo>
                    <a:pt x="0" y="53"/>
                  </a:lnTo>
                  <a:lnTo>
                    <a:pt x="0" y="267"/>
                  </a:lnTo>
                  <a:lnTo>
                    <a:pt x="214" y="267"/>
                  </a:lnTo>
                  <a:lnTo>
                    <a:pt x="214" y="53"/>
                  </a:lnTo>
                  <a:lnTo>
                    <a:pt x="114" y="53"/>
                  </a:lnTo>
                  <a:close/>
                  <a:moveTo>
                    <a:pt x="195" y="247"/>
                  </a:moveTo>
                  <a:lnTo>
                    <a:pt x="19" y="247"/>
                  </a:lnTo>
                  <a:lnTo>
                    <a:pt x="19" y="70"/>
                  </a:lnTo>
                  <a:lnTo>
                    <a:pt x="95" y="70"/>
                  </a:lnTo>
                  <a:lnTo>
                    <a:pt x="95" y="182"/>
                  </a:lnTo>
                  <a:lnTo>
                    <a:pt x="63" y="150"/>
                  </a:lnTo>
                  <a:lnTo>
                    <a:pt x="51" y="165"/>
                  </a:lnTo>
                  <a:lnTo>
                    <a:pt x="105" y="221"/>
                  </a:lnTo>
                  <a:lnTo>
                    <a:pt x="161" y="165"/>
                  </a:lnTo>
                  <a:lnTo>
                    <a:pt x="149" y="150"/>
                  </a:lnTo>
                  <a:lnTo>
                    <a:pt x="114" y="182"/>
                  </a:lnTo>
                  <a:lnTo>
                    <a:pt x="114" y="70"/>
                  </a:lnTo>
                  <a:lnTo>
                    <a:pt x="195" y="70"/>
                  </a:lnTo>
                  <a:lnTo>
                    <a:pt x="195" y="24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grpSp>
      <p:grpSp>
        <p:nvGrpSpPr>
          <p:cNvPr id="116" name="Group 115"/>
          <p:cNvGrpSpPr/>
          <p:nvPr/>
        </p:nvGrpSpPr>
        <p:grpSpPr>
          <a:xfrm>
            <a:off x="142486" y="3992792"/>
            <a:ext cx="803730" cy="803730"/>
            <a:chOff x="9101692" y="5077564"/>
            <a:chExt cx="1016000" cy="1016000"/>
          </a:xfrm>
        </p:grpSpPr>
        <p:sp>
          <p:nvSpPr>
            <p:cNvPr id="151" name="Oval 150"/>
            <p:cNvSpPr/>
            <p:nvPr/>
          </p:nvSpPr>
          <p:spPr bwMode="auto">
            <a:xfrm>
              <a:off x="9101692" y="5077564"/>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800" kern="0" dirty="0">
                <a:gradFill>
                  <a:gsLst>
                    <a:gs pos="1250">
                      <a:srgbClr val="505050"/>
                    </a:gs>
                    <a:gs pos="76000">
                      <a:srgbClr val="505050"/>
                    </a:gs>
                  </a:gsLst>
                  <a:lin ang="5400000" scaled="0"/>
                </a:gradFill>
              </a:endParaRPr>
            </a:p>
          </p:txBody>
        </p:sp>
        <p:grpSp>
          <p:nvGrpSpPr>
            <p:cNvPr id="152" name="Group 27"/>
            <p:cNvGrpSpPr>
              <a:grpSpLocks noChangeAspect="1"/>
            </p:cNvGrpSpPr>
            <p:nvPr/>
          </p:nvGrpSpPr>
          <p:grpSpPr bwMode="auto">
            <a:xfrm>
              <a:off x="9429750" y="5395666"/>
              <a:ext cx="359884" cy="379798"/>
              <a:chOff x="5905" y="3448"/>
              <a:chExt cx="253" cy="267"/>
            </a:xfrm>
            <a:solidFill>
              <a:srgbClr val="FFFFFF"/>
            </a:solidFill>
          </p:grpSpPr>
          <p:sp>
            <p:nvSpPr>
              <p:cNvPr id="153" name="Freeform 28"/>
              <p:cNvSpPr>
                <a:spLocks noEditPoints="1"/>
              </p:cNvSpPr>
              <p:nvPr/>
            </p:nvSpPr>
            <p:spPr bwMode="auto">
              <a:xfrm>
                <a:off x="5905" y="3448"/>
                <a:ext cx="253" cy="267"/>
              </a:xfrm>
              <a:custGeom>
                <a:avLst/>
                <a:gdLst>
                  <a:gd name="T0" fmla="*/ 72 w 104"/>
                  <a:gd name="T1" fmla="*/ 78 h 110"/>
                  <a:gd name="T2" fmla="*/ 72 w 104"/>
                  <a:gd name="T3" fmla="*/ 94 h 110"/>
                  <a:gd name="T4" fmla="*/ 64 w 104"/>
                  <a:gd name="T5" fmla="*/ 94 h 110"/>
                  <a:gd name="T6" fmla="*/ 34 w 104"/>
                  <a:gd name="T7" fmla="*/ 63 h 110"/>
                  <a:gd name="T8" fmla="*/ 32 w 104"/>
                  <a:gd name="T9" fmla="*/ 62 h 110"/>
                  <a:gd name="T10" fmla="*/ 30 w 104"/>
                  <a:gd name="T11" fmla="*/ 63 h 110"/>
                  <a:gd name="T12" fmla="*/ 0 w 104"/>
                  <a:gd name="T13" fmla="*/ 94 h 110"/>
                  <a:gd name="T14" fmla="*/ 0 w 104"/>
                  <a:gd name="T15" fmla="*/ 98 h 110"/>
                  <a:gd name="T16" fmla="*/ 8 w 104"/>
                  <a:gd name="T17" fmla="*/ 98 h 110"/>
                  <a:gd name="T18" fmla="*/ 8 w 104"/>
                  <a:gd name="T19" fmla="*/ 94 h 110"/>
                  <a:gd name="T20" fmla="*/ 8 w 104"/>
                  <a:gd name="T21" fmla="*/ 90 h 110"/>
                  <a:gd name="T22" fmla="*/ 32 w 104"/>
                  <a:gd name="T23" fmla="*/ 110 h 110"/>
                  <a:gd name="T24" fmla="*/ 56 w 104"/>
                  <a:gd name="T25" fmla="*/ 90 h 110"/>
                  <a:gd name="T26" fmla="*/ 56 w 104"/>
                  <a:gd name="T27" fmla="*/ 94 h 110"/>
                  <a:gd name="T28" fmla="*/ 56 w 104"/>
                  <a:gd name="T29" fmla="*/ 102 h 110"/>
                  <a:gd name="T30" fmla="*/ 104 w 104"/>
                  <a:gd name="T31" fmla="*/ 102 h 110"/>
                  <a:gd name="T32" fmla="*/ 104 w 104"/>
                  <a:gd name="T33" fmla="*/ 78 h 110"/>
                  <a:gd name="T34" fmla="*/ 100 w 104"/>
                  <a:gd name="T35" fmla="*/ 78 h 110"/>
                  <a:gd name="T36" fmla="*/ 100 w 104"/>
                  <a:gd name="T37" fmla="*/ 70 h 110"/>
                  <a:gd name="T38" fmla="*/ 104 w 104"/>
                  <a:gd name="T39" fmla="*/ 70 h 110"/>
                  <a:gd name="T40" fmla="*/ 104 w 104"/>
                  <a:gd name="T41" fmla="*/ 62 h 110"/>
                  <a:gd name="T42" fmla="*/ 100 w 104"/>
                  <a:gd name="T43" fmla="*/ 62 h 110"/>
                  <a:gd name="T44" fmla="*/ 100 w 104"/>
                  <a:gd name="T45" fmla="*/ 58 h 110"/>
                  <a:gd name="T46" fmla="*/ 88 w 104"/>
                  <a:gd name="T47" fmla="*/ 46 h 110"/>
                  <a:gd name="T48" fmla="*/ 60 w 104"/>
                  <a:gd name="T49" fmla="*/ 46 h 110"/>
                  <a:gd name="T50" fmla="*/ 48 w 104"/>
                  <a:gd name="T51" fmla="*/ 32 h 110"/>
                  <a:gd name="T52" fmla="*/ 75 w 104"/>
                  <a:gd name="T53" fmla="*/ 5 h 110"/>
                  <a:gd name="T54" fmla="*/ 69 w 104"/>
                  <a:gd name="T55" fmla="*/ 0 h 110"/>
                  <a:gd name="T56" fmla="*/ 25 w 104"/>
                  <a:gd name="T57" fmla="*/ 43 h 110"/>
                  <a:gd name="T58" fmla="*/ 11 w 104"/>
                  <a:gd name="T59" fmla="*/ 6 h 110"/>
                  <a:gd name="T60" fmla="*/ 0 w 104"/>
                  <a:gd name="T61" fmla="*/ 6 h 110"/>
                  <a:gd name="T62" fmla="*/ 0 w 104"/>
                  <a:gd name="T63" fmla="*/ 54 h 110"/>
                  <a:gd name="T64" fmla="*/ 88 w 104"/>
                  <a:gd name="T65" fmla="*/ 54 h 110"/>
                  <a:gd name="T66" fmla="*/ 92 w 104"/>
                  <a:gd name="T67" fmla="*/ 58 h 110"/>
                  <a:gd name="T68" fmla="*/ 92 w 104"/>
                  <a:gd name="T69" fmla="*/ 78 h 110"/>
                  <a:gd name="T70" fmla="*/ 72 w 104"/>
                  <a:gd name="T71" fmla="*/ 78 h 110"/>
                  <a:gd name="T72" fmla="*/ 32 w 104"/>
                  <a:gd name="T73" fmla="*/ 102 h 110"/>
                  <a:gd name="T74" fmla="*/ 16 w 104"/>
                  <a:gd name="T75" fmla="*/ 86 h 110"/>
                  <a:gd name="T76" fmla="*/ 32 w 104"/>
                  <a:gd name="T77" fmla="*/ 70 h 110"/>
                  <a:gd name="T78" fmla="*/ 48 w 104"/>
                  <a:gd name="T79" fmla="*/ 86 h 110"/>
                  <a:gd name="T80" fmla="*/ 32 w 104"/>
                  <a:gd name="T81" fmla="*/ 102 h 110"/>
                  <a:gd name="T82" fmla="*/ 51 w 104"/>
                  <a:gd name="T83" fmla="*/ 46 h 110"/>
                  <a:gd name="T84" fmla="*/ 34 w 104"/>
                  <a:gd name="T85" fmla="*/ 46 h 110"/>
                  <a:gd name="T86" fmla="*/ 42 w 104"/>
                  <a:gd name="T87" fmla="*/ 39 h 110"/>
                  <a:gd name="T88" fmla="*/ 51 w 104"/>
                  <a:gd name="T89" fmla="*/ 46 h 110"/>
                  <a:gd name="T90" fmla="*/ 8 w 104"/>
                  <a:gd name="T91" fmla="*/ 46 h 110"/>
                  <a:gd name="T92" fmla="*/ 8 w 104"/>
                  <a:gd name="T93" fmla="*/ 21 h 110"/>
                  <a:gd name="T94" fmla="*/ 18 w 104"/>
                  <a:gd name="T95" fmla="*/ 46 h 110"/>
                  <a:gd name="T96" fmla="*/ 8 w 104"/>
                  <a:gd name="T97" fmla="*/ 46 h 110"/>
                  <a:gd name="T98" fmla="*/ 96 w 104"/>
                  <a:gd name="T99" fmla="*/ 94 h 110"/>
                  <a:gd name="T100" fmla="*/ 80 w 104"/>
                  <a:gd name="T101" fmla="*/ 94 h 110"/>
                  <a:gd name="T102" fmla="*/ 80 w 104"/>
                  <a:gd name="T103" fmla="*/ 86 h 110"/>
                  <a:gd name="T104" fmla="*/ 96 w 104"/>
                  <a:gd name="T105" fmla="*/ 86 h 110"/>
                  <a:gd name="T106" fmla="*/ 96 w 104"/>
                  <a:gd name="T107" fmla="*/ 9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4" h="110">
                    <a:moveTo>
                      <a:pt x="72" y="78"/>
                    </a:moveTo>
                    <a:cubicBezTo>
                      <a:pt x="72" y="94"/>
                      <a:pt x="72" y="94"/>
                      <a:pt x="72" y="94"/>
                    </a:cubicBezTo>
                    <a:cubicBezTo>
                      <a:pt x="64" y="94"/>
                      <a:pt x="64" y="94"/>
                      <a:pt x="64" y="94"/>
                    </a:cubicBezTo>
                    <a:cubicBezTo>
                      <a:pt x="64" y="78"/>
                      <a:pt x="51" y="64"/>
                      <a:pt x="34" y="63"/>
                    </a:cubicBezTo>
                    <a:cubicBezTo>
                      <a:pt x="34" y="62"/>
                      <a:pt x="33" y="62"/>
                      <a:pt x="32" y="62"/>
                    </a:cubicBezTo>
                    <a:cubicBezTo>
                      <a:pt x="31" y="62"/>
                      <a:pt x="30" y="62"/>
                      <a:pt x="30" y="63"/>
                    </a:cubicBezTo>
                    <a:cubicBezTo>
                      <a:pt x="13" y="64"/>
                      <a:pt x="0" y="78"/>
                      <a:pt x="0" y="94"/>
                    </a:cubicBezTo>
                    <a:cubicBezTo>
                      <a:pt x="0" y="98"/>
                      <a:pt x="0" y="98"/>
                      <a:pt x="0" y="98"/>
                    </a:cubicBezTo>
                    <a:cubicBezTo>
                      <a:pt x="8" y="98"/>
                      <a:pt x="8" y="98"/>
                      <a:pt x="8" y="98"/>
                    </a:cubicBezTo>
                    <a:cubicBezTo>
                      <a:pt x="8" y="94"/>
                      <a:pt x="8" y="94"/>
                      <a:pt x="8" y="94"/>
                    </a:cubicBezTo>
                    <a:cubicBezTo>
                      <a:pt x="8" y="93"/>
                      <a:pt x="8" y="92"/>
                      <a:pt x="8" y="90"/>
                    </a:cubicBezTo>
                    <a:cubicBezTo>
                      <a:pt x="10" y="102"/>
                      <a:pt x="20" y="110"/>
                      <a:pt x="32" y="110"/>
                    </a:cubicBezTo>
                    <a:cubicBezTo>
                      <a:pt x="44" y="110"/>
                      <a:pt x="54" y="102"/>
                      <a:pt x="56" y="90"/>
                    </a:cubicBezTo>
                    <a:cubicBezTo>
                      <a:pt x="56" y="92"/>
                      <a:pt x="56" y="93"/>
                      <a:pt x="56" y="94"/>
                    </a:cubicBezTo>
                    <a:cubicBezTo>
                      <a:pt x="56" y="102"/>
                      <a:pt x="56" y="102"/>
                      <a:pt x="56" y="102"/>
                    </a:cubicBezTo>
                    <a:cubicBezTo>
                      <a:pt x="104" y="102"/>
                      <a:pt x="104" y="102"/>
                      <a:pt x="104" y="102"/>
                    </a:cubicBezTo>
                    <a:cubicBezTo>
                      <a:pt x="104" y="78"/>
                      <a:pt x="104" y="78"/>
                      <a:pt x="104" y="78"/>
                    </a:cubicBezTo>
                    <a:cubicBezTo>
                      <a:pt x="100" y="78"/>
                      <a:pt x="100" y="78"/>
                      <a:pt x="100" y="78"/>
                    </a:cubicBezTo>
                    <a:cubicBezTo>
                      <a:pt x="100" y="70"/>
                      <a:pt x="100" y="70"/>
                      <a:pt x="100" y="70"/>
                    </a:cubicBezTo>
                    <a:cubicBezTo>
                      <a:pt x="104" y="70"/>
                      <a:pt x="104" y="70"/>
                      <a:pt x="104" y="70"/>
                    </a:cubicBezTo>
                    <a:cubicBezTo>
                      <a:pt x="104" y="62"/>
                      <a:pt x="104" y="62"/>
                      <a:pt x="104" y="62"/>
                    </a:cubicBezTo>
                    <a:cubicBezTo>
                      <a:pt x="100" y="62"/>
                      <a:pt x="100" y="62"/>
                      <a:pt x="100" y="62"/>
                    </a:cubicBezTo>
                    <a:cubicBezTo>
                      <a:pt x="100" y="58"/>
                      <a:pt x="100" y="58"/>
                      <a:pt x="100" y="58"/>
                    </a:cubicBezTo>
                    <a:cubicBezTo>
                      <a:pt x="100" y="52"/>
                      <a:pt x="95" y="46"/>
                      <a:pt x="88" y="46"/>
                    </a:cubicBezTo>
                    <a:cubicBezTo>
                      <a:pt x="60" y="46"/>
                      <a:pt x="60" y="46"/>
                      <a:pt x="60" y="46"/>
                    </a:cubicBezTo>
                    <a:cubicBezTo>
                      <a:pt x="58" y="40"/>
                      <a:pt x="54" y="35"/>
                      <a:pt x="48" y="32"/>
                    </a:cubicBezTo>
                    <a:cubicBezTo>
                      <a:pt x="75" y="5"/>
                      <a:pt x="75" y="5"/>
                      <a:pt x="75" y="5"/>
                    </a:cubicBezTo>
                    <a:cubicBezTo>
                      <a:pt x="69" y="0"/>
                      <a:pt x="69" y="0"/>
                      <a:pt x="69" y="0"/>
                    </a:cubicBezTo>
                    <a:cubicBezTo>
                      <a:pt x="25" y="43"/>
                      <a:pt x="25" y="43"/>
                      <a:pt x="25" y="43"/>
                    </a:cubicBezTo>
                    <a:cubicBezTo>
                      <a:pt x="11" y="6"/>
                      <a:pt x="11" y="6"/>
                      <a:pt x="11" y="6"/>
                    </a:cubicBezTo>
                    <a:cubicBezTo>
                      <a:pt x="0" y="6"/>
                      <a:pt x="0" y="6"/>
                      <a:pt x="0" y="6"/>
                    </a:cubicBezTo>
                    <a:cubicBezTo>
                      <a:pt x="0" y="54"/>
                      <a:pt x="0" y="54"/>
                      <a:pt x="0" y="54"/>
                    </a:cubicBezTo>
                    <a:cubicBezTo>
                      <a:pt x="88" y="54"/>
                      <a:pt x="88" y="54"/>
                      <a:pt x="88" y="54"/>
                    </a:cubicBezTo>
                    <a:cubicBezTo>
                      <a:pt x="90" y="54"/>
                      <a:pt x="92" y="56"/>
                      <a:pt x="92" y="58"/>
                    </a:cubicBezTo>
                    <a:cubicBezTo>
                      <a:pt x="92" y="78"/>
                      <a:pt x="92" y="78"/>
                      <a:pt x="92" y="78"/>
                    </a:cubicBezTo>
                    <a:lnTo>
                      <a:pt x="72" y="78"/>
                    </a:lnTo>
                    <a:close/>
                    <a:moveTo>
                      <a:pt x="32" y="102"/>
                    </a:moveTo>
                    <a:cubicBezTo>
                      <a:pt x="23" y="102"/>
                      <a:pt x="16" y="95"/>
                      <a:pt x="16" y="86"/>
                    </a:cubicBezTo>
                    <a:cubicBezTo>
                      <a:pt x="16" y="78"/>
                      <a:pt x="23" y="70"/>
                      <a:pt x="32" y="70"/>
                    </a:cubicBezTo>
                    <a:cubicBezTo>
                      <a:pt x="41" y="70"/>
                      <a:pt x="48" y="78"/>
                      <a:pt x="48" y="86"/>
                    </a:cubicBezTo>
                    <a:cubicBezTo>
                      <a:pt x="48" y="95"/>
                      <a:pt x="41" y="102"/>
                      <a:pt x="32" y="102"/>
                    </a:cubicBezTo>
                    <a:close/>
                    <a:moveTo>
                      <a:pt x="51" y="46"/>
                    </a:moveTo>
                    <a:cubicBezTo>
                      <a:pt x="34" y="46"/>
                      <a:pt x="34" y="46"/>
                      <a:pt x="34" y="46"/>
                    </a:cubicBezTo>
                    <a:cubicBezTo>
                      <a:pt x="42" y="39"/>
                      <a:pt x="42" y="39"/>
                      <a:pt x="42" y="39"/>
                    </a:cubicBezTo>
                    <a:cubicBezTo>
                      <a:pt x="46" y="39"/>
                      <a:pt x="50" y="42"/>
                      <a:pt x="51" y="46"/>
                    </a:cubicBezTo>
                    <a:close/>
                    <a:moveTo>
                      <a:pt x="8" y="46"/>
                    </a:moveTo>
                    <a:cubicBezTo>
                      <a:pt x="8" y="21"/>
                      <a:pt x="8" y="21"/>
                      <a:pt x="8" y="21"/>
                    </a:cubicBezTo>
                    <a:cubicBezTo>
                      <a:pt x="18" y="46"/>
                      <a:pt x="18" y="46"/>
                      <a:pt x="18" y="46"/>
                    </a:cubicBezTo>
                    <a:lnTo>
                      <a:pt x="8" y="46"/>
                    </a:lnTo>
                    <a:close/>
                    <a:moveTo>
                      <a:pt x="96" y="94"/>
                    </a:moveTo>
                    <a:cubicBezTo>
                      <a:pt x="80" y="94"/>
                      <a:pt x="80" y="94"/>
                      <a:pt x="80" y="94"/>
                    </a:cubicBezTo>
                    <a:cubicBezTo>
                      <a:pt x="80" y="86"/>
                      <a:pt x="80" y="86"/>
                      <a:pt x="80" y="86"/>
                    </a:cubicBezTo>
                    <a:cubicBezTo>
                      <a:pt x="96" y="86"/>
                      <a:pt x="96" y="86"/>
                      <a:pt x="96" y="86"/>
                    </a:cubicBezTo>
                    <a:lnTo>
                      <a:pt x="96"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54" name="Oval 29"/>
              <p:cNvSpPr>
                <a:spLocks noChangeArrowheads="1"/>
              </p:cNvSpPr>
              <p:nvPr/>
            </p:nvSpPr>
            <p:spPr bwMode="auto">
              <a:xfrm>
                <a:off x="5974" y="3647"/>
                <a:ext cx="19"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grpSp>
      </p:grpSp>
      <p:grpSp>
        <p:nvGrpSpPr>
          <p:cNvPr id="117" name="Group 116"/>
          <p:cNvGrpSpPr/>
          <p:nvPr/>
        </p:nvGrpSpPr>
        <p:grpSpPr>
          <a:xfrm>
            <a:off x="3897468" y="3992792"/>
            <a:ext cx="803730" cy="803730"/>
            <a:chOff x="10191578" y="3747236"/>
            <a:chExt cx="1016000" cy="1016000"/>
          </a:xfrm>
        </p:grpSpPr>
        <p:sp>
          <p:nvSpPr>
            <p:cNvPr id="136" name="Oval 135"/>
            <p:cNvSpPr/>
            <p:nvPr/>
          </p:nvSpPr>
          <p:spPr bwMode="auto">
            <a:xfrm>
              <a:off x="10191578" y="3747236"/>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dirty="0">
                <a:gradFill>
                  <a:gsLst>
                    <a:gs pos="1250">
                      <a:srgbClr val="505050"/>
                    </a:gs>
                    <a:gs pos="76000">
                      <a:srgbClr val="505050"/>
                    </a:gs>
                  </a:gsLst>
                  <a:lin ang="5400000" scaled="0"/>
                </a:gradFill>
              </a:endParaRPr>
            </a:p>
          </p:txBody>
        </p:sp>
        <p:grpSp>
          <p:nvGrpSpPr>
            <p:cNvPr id="137" name="Group 136"/>
            <p:cNvGrpSpPr/>
            <p:nvPr/>
          </p:nvGrpSpPr>
          <p:grpSpPr>
            <a:xfrm>
              <a:off x="10432874" y="4043364"/>
              <a:ext cx="533408" cy="423746"/>
              <a:chOff x="10432072" y="4001501"/>
              <a:chExt cx="598248" cy="475257"/>
            </a:xfrm>
          </p:grpSpPr>
          <p:grpSp>
            <p:nvGrpSpPr>
              <p:cNvPr id="138" name="Group 32"/>
              <p:cNvGrpSpPr>
                <a:grpSpLocks noChangeAspect="1"/>
              </p:cNvGrpSpPr>
              <p:nvPr/>
            </p:nvGrpSpPr>
            <p:grpSpPr bwMode="auto">
              <a:xfrm>
                <a:off x="10486721" y="4165607"/>
                <a:ext cx="488950" cy="311151"/>
                <a:chOff x="6627" y="2624"/>
                <a:chExt cx="308" cy="196"/>
              </a:xfrm>
              <a:solidFill>
                <a:srgbClr val="FFFFFF"/>
              </a:solidFill>
            </p:grpSpPr>
            <p:sp>
              <p:nvSpPr>
                <p:cNvPr id="148" name="Freeform 33"/>
                <p:cNvSpPr>
                  <a:spLocks noEditPoints="1"/>
                </p:cNvSpPr>
                <p:nvPr/>
              </p:nvSpPr>
              <p:spPr bwMode="auto">
                <a:xfrm>
                  <a:off x="6627" y="2624"/>
                  <a:ext cx="308" cy="196"/>
                </a:xfrm>
                <a:custGeom>
                  <a:avLst/>
                  <a:gdLst>
                    <a:gd name="T0" fmla="*/ 280 w 308"/>
                    <a:gd name="T1" fmla="*/ 58 h 196"/>
                    <a:gd name="T2" fmla="*/ 251 w 308"/>
                    <a:gd name="T3" fmla="*/ 0 h 196"/>
                    <a:gd name="T4" fmla="*/ 38 w 308"/>
                    <a:gd name="T5" fmla="*/ 58 h 196"/>
                    <a:gd name="T6" fmla="*/ 9 w 308"/>
                    <a:gd name="T7" fmla="*/ 58 h 196"/>
                    <a:gd name="T8" fmla="*/ 0 w 308"/>
                    <a:gd name="T9" fmla="*/ 117 h 196"/>
                    <a:gd name="T10" fmla="*/ 0 w 308"/>
                    <a:gd name="T11" fmla="*/ 137 h 196"/>
                    <a:gd name="T12" fmla="*/ 0 w 308"/>
                    <a:gd name="T13" fmla="*/ 166 h 196"/>
                    <a:gd name="T14" fmla="*/ 9 w 308"/>
                    <a:gd name="T15" fmla="*/ 176 h 196"/>
                    <a:gd name="T16" fmla="*/ 48 w 308"/>
                    <a:gd name="T17" fmla="*/ 196 h 196"/>
                    <a:gd name="T18" fmla="*/ 260 w 308"/>
                    <a:gd name="T19" fmla="*/ 176 h 196"/>
                    <a:gd name="T20" fmla="*/ 299 w 308"/>
                    <a:gd name="T21" fmla="*/ 196 h 196"/>
                    <a:gd name="T22" fmla="*/ 308 w 308"/>
                    <a:gd name="T23" fmla="*/ 176 h 196"/>
                    <a:gd name="T24" fmla="*/ 308 w 308"/>
                    <a:gd name="T25" fmla="*/ 156 h 196"/>
                    <a:gd name="T26" fmla="*/ 308 w 308"/>
                    <a:gd name="T27" fmla="*/ 127 h 196"/>
                    <a:gd name="T28" fmla="*/ 299 w 308"/>
                    <a:gd name="T29" fmla="*/ 117 h 196"/>
                    <a:gd name="T30" fmla="*/ 280 w 308"/>
                    <a:gd name="T31" fmla="*/ 78 h 196"/>
                    <a:gd name="T32" fmla="*/ 222 w 308"/>
                    <a:gd name="T33" fmla="*/ 117 h 196"/>
                    <a:gd name="T34" fmla="*/ 270 w 308"/>
                    <a:gd name="T35" fmla="*/ 78 h 196"/>
                    <a:gd name="T36" fmla="*/ 125 w 308"/>
                    <a:gd name="T37" fmla="*/ 78 h 196"/>
                    <a:gd name="T38" fmla="*/ 106 w 308"/>
                    <a:gd name="T39" fmla="*/ 117 h 196"/>
                    <a:gd name="T40" fmla="*/ 125 w 308"/>
                    <a:gd name="T41" fmla="*/ 78 h 196"/>
                    <a:gd name="T42" fmla="*/ 164 w 308"/>
                    <a:gd name="T43" fmla="*/ 78 h 196"/>
                    <a:gd name="T44" fmla="*/ 144 w 308"/>
                    <a:gd name="T45" fmla="*/ 117 h 196"/>
                    <a:gd name="T46" fmla="*/ 183 w 308"/>
                    <a:gd name="T47" fmla="*/ 78 h 196"/>
                    <a:gd name="T48" fmla="*/ 202 w 308"/>
                    <a:gd name="T49" fmla="*/ 117 h 196"/>
                    <a:gd name="T50" fmla="*/ 183 w 308"/>
                    <a:gd name="T51" fmla="*/ 78 h 196"/>
                    <a:gd name="T52" fmla="*/ 236 w 308"/>
                    <a:gd name="T53" fmla="*/ 19 h 196"/>
                    <a:gd name="T54" fmla="*/ 57 w 308"/>
                    <a:gd name="T55" fmla="*/ 58 h 196"/>
                    <a:gd name="T56" fmla="*/ 28 w 308"/>
                    <a:gd name="T57" fmla="*/ 78 h 196"/>
                    <a:gd name="T58" fmla="*/ 86 w 308"/>
                    <a:gd name="T59" fmla="*/ 78 h 196"/>
                    <a:gd name="T60" fmla="*/ 28 w 308"/>
                    <a:gd name="T61" fmla="*/ 117 h 196"/>
                    <a:gd name="T62" fmla="*/ 289 w 308"/>
                    <a:gd name="T63" fmla="*/ 156 h 196"/>
                    <a:gd name="T64" fmla="*/ 19 w 308"/>
                    <a:gd name="T65" fmla="*/ 137 h 196"/>
                    <a:gd name="T66" fmla="*/ 289 w 308"/>
                    <a:gd name="T67" fmla="*/ 15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8" h="196">
                      <a:moveTo>
                        <a:pt x="299" y="58"/>
                      </a:moveTo>
                      <a:lnTo>
                        <a:pt x="280" y="58"/>
                      </a:lnTo>
                      <a:lnTo>
                        <a:pt x="270" y="58"/>
                      </a:lnTo>
                      <a:lnTo>
                        <a:pt x="251" y="0"/>
                      </a:lnTo>
                      <a:lnTo>
                        <a:pt x="57" y="0"/>
                      </a:lnTo>
                      <a:lnTo>
                        <a:pt x="38" y="58"/>
                      </a:lnTo>
                      <a:lnTo>
                        <a:pt x="28" y="58"/>
                      </a:lnTo>
                      <a:lnTo>
                        <a:pt x="9" y="58"/>
                      </a:lnTo>
                      <a:lnTo>
                        <a:pt x="9" y="117"/>
                      </a:lnTo>
                      <a:lnTo>
                        <a:pt x="0" y="117"/>
                      </a:lnTo>
                      <a:lnTo>
                        <a:pt x="0" y="127"/>
                      </a:lnTo>
                      <a:lnTo>
                        <a:pt x="0" y="137"/>
                      </a:lnTo>
                      <a:lnTo>
                        <a:pt x="0" y="156"/>
                      </a:lnTo>
                      <a:lnTo>
                        <a:pt x="0" y="166"/>
                      </a:lnTo>
                      <a:lnTo>
                        <a:pt x="0" y="176"/>
                      </a:lnTo>
                      <a:lnTo>
                        <a:pt x="9" y="176"/>
                      </a:lnTo>
                      <a:lnTo>
                        <a:pt x="9" y="196"/>
                      </a:lnTo>
                      <a:lnTo>
                        <a:pt x="48" y="196"/>
                      </a:lnTo>
                      <a:lnTo>
                        <a:pt x="48" y="176"/>
                      </a:lnTo>
                      <a:lnTo>
                        <a:pt x="260" y="176"/>
                      </a:lnTo>
                      <a:lnTo>
                        <a:pt x="260" y="196"/>
                      </a:lnTo>
                      <a:lnTo>
                        <a:pt x="299" y="196"/>
                      </a:lnTo>
                      <a:lnTo>
                        <a:pt x="299" y="176"/>
                      </a:lnTo>
                      <a:lnTo>
                        <a:pt x="308" y="176"/>
                      </a:lnTo>
                      <a:lnTo>
                        <a:pt x="308" y="166"/>
                      </a:lnTo>
                      <a:lnTo>
                        <a:pt x="308" y="156"/>
                      </a:lnTo>
                      <a:lnTo>
                        <a:pt x="308" y="137"/>
                      </a:lnTo>
                      <a:lnTo>
                        <a:pt x="308" y="127"/>
                      </a:lnTo>
                      <a:lnTo>
                        <a:pt x="308" y="117"/>
                      </a:lnTo>
                      <a:lnTo>
                        <a:pt x="299" y="117"/>
                      </a:lnTo>
                      <a:lnTo>
                        <a:pt x="299" y="58"/>
                      </a:lnTo>
                      <a:close/>
                      <a:moveTo>
                        <a:pt x="280" y="78"/>
                      </a:moveTo>
                      <a:lnTo>
                        <a:pt x="280" y="117"/>
                      </a:lnTo>
                      <a:lnTo>
                        <a:pt x="222" y="117"/>
                      </a:lnTo>
                      <a:lnTo>
                        <a:pt x="222" y="78"/>
                      </a:lnTo>
                      <a:lnTo>
                        <a:pt x="270" y="78"/>
                      </a:lnTo>
                      <a:lnTo>
                        <a:pt x="280" y="78"/>
                      </a:lnTo>
                      <a:close/>
                      <a:moveTo>
                        <a:pt x="125" y="78"/>
                      </a:moveTo>
                      <a:lnTo>
                        <a:pt x="125" y="117"/>
                      </a:lnTo>
                      <a:lnTo>
                        <a:pt x="106" y="117"/>
                      </a:lnTo>
                      <a:lnTo>
                        <a:pt x="106" y="78"/>
                      </a:lnTo>
                      <a:lnTo>
                        <a:pt x="125" y="78"/>
                      </a:lnTo>
                      <a:close/>
                      <a:moveTo>
                        <a:pt x="144" y="78"/>
                      </a:moveTo>
                      <a:lnTo>
                        <a:pt x="164" y="78"/>
                      </a:lnTo>
                      <a:lnTo>
                        <a:pt x="164" y="117"/>
                      </a:lnTo>
                      <a:lnTo>
                        <a:pt x="144" y="117"/>
                      </a:lnTo>
                      <a:lnTo>
                        <a:pt x="144" y="78"/>
                      </a:lnTo>
                      <a:close/>
                      <a:moveTo>
                        <a:pt x="183" y="78"/>
                      </a:moveTo>
                      <a:lnTo>
                        <a:pt x="202" y="78"/>
                      </a:lnTo>
                      <a:lnTo>
                        <a:pt x="202" y="117"/>
                      </a:lnTo>
                      <a:lnTo>
                        <a:pt x="183" y="117"/>
                      </a:lnTo>
                      <a:lnTo>
                        <a:pt x="183" y="78"/>
                      </a:lnTo>
                      <a:close/>
                      <a:moveTo>
                        <a:pt x="72" y="19"/>
                      </a:moveTo>
                      <a:lnTo>
                        <a:pt x="236" y="19"/>
                      </a:lnTo>
                      <a:lnTo>
                        <a:pt x="251" y="58"/>
                      </a:lnTo>
                      <a:lnTo>
                        <a:pt x="57" y="58"/>
                      </a:lnTo>
                      <a:lnTo>
                        <a:pt x="72" y="19"/>
                      </a:lnTo>
                      <a:close/>
                      <a:moveTo>
                        <a:pt x="28" y="78"/>
                      </a:moveTo>
                      <a:lnTo>
                        <a:pt x="38" y="78"/>
                      </a:lnTo>
                      <a:lnTo>
                        <a:pt x="86" y="78"/>
                      </a:lnTo>
                      <a:lnTo>
                        <a:pt x="86" y="117"/>
                      </a:lnTo>
                      <a:lnTo>
                        <a:pt x="28" y="117"/>
                      </a:lnTo>
                      <a:lnTo>
                        <a:pt x="28" y="78"/>
                      </a:lnTo>
                      <a:close/>
                      <a:moveTo>
                        <a:pt x="289" y="156"/>
                      </a:moveTo>
                      <a:lnTo>
                        <a:pt x="19" y="156"/>
                      </a:lnTo>
                      <a:lnTo>
                        <a:pt x="19" y="137"/>
                      </a:lnTo>
                      <a:lnTo>
                        <a:pt x="289" y="137"/>
                      </a:lnTo>
                      <a:lnTo>
                        <a:pt x="289"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49" name="Oval 34"/>
                <p:cNvSpPr>
                  <a:spLocks noChangeArrowheads="1"/>
                </p:cNvSpPr>
                <p:nvPr/>
              </p:nvSpPr>
              <p:spPr bwMode="auto">
                <a:xfrm>
                  <a:off x="6675" y="2712"/>
                  <a:ext cx="19"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50" name="Oval 35"/>
                <p:cNvSpPr>
                  <a:spLocks noChangeArrowheads="1"/>
                </p:cNvSpPr>
                <p:nvPr/>
              </p:nvSpPr>
              <p:spPr bwMode="auto">
                <a:xfrm>
                  <a:off x="6868" y="2712"/>
                  <a:ext cx="19"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grpSp>
          <p:grpSp>
            <p:nvGrpSpPr>
              <p:cNvPr id="139" name="Group 138"/>
              <p:cNvGrpSpPr/>
              <p:nvPr/>
            </p:nvGrpSpPr>
            <p:grpSpPr>
              <a:xfrm>
                <a:off x="10432072" y="4001501"/>
                <a:ext cx="598248" cy="123717"/>
                <a:chOff x="10432072" y="4001501"/>
                <a:chExt cx="598248" cy="123717"/>
              </a:xfrm>
            </p:grpSpPr>
            <p:grpSp>
              <p:nvGrpSpPr>
                <p:cNvPr id="140" name="Group 32"/>
                <p:cNvGrpSpPr>
                  <a:grpSpLocks noChangeAspect="1"/>
                </p:cNvGrpSpPr>
                <p:nvPr/>
              </p:nvGrpSpPr>
              <p:grpSpPr bwMode="auto">
                <a:xfrm>
                  <a:off x="10432072" y="4001501"/>
                  <a:ext cx="194412" cy="123717"/>
                  <a:chOff x="6627" y="2624"/>
                  <a:chExt cx="308" cy="196"/>
                </a:xfrm>
                <a:solidFill>
                  <a:srgbClr val="FFFFFF"/>
                </a:solidFill>
              </p:grpSpPr>
              <p:sp>
                <p:nvSpPr>
                  <p:cNvPr id="145" name="Freeform 33"/>
                  <p:cNvSpPr>
                    <a:spLocks noEditPoints="1"/>
                  </p:cNvSpPr>
                  <p:nvPr/>
                </p:nvSpPr>
                <p:spPr bwMode="auto">
                  <a:xfrm>
                    <a:off x="6627" y="2624"/>
                    <a:ext cx="308" cy="196"/>
                  </a:xfrm>
                  <a:custGeom>
                    <a:avLst/>
                    <a:gdLst>
                      <a:gd name="T0" fmla="*/ 280 w 308"/>
                      <a:gd name="T1" fmla="*/ 58 h 196"/>
                      <a:gd name="T2" fmla="*/ 251 w 308"/>
                      <a:gd name="T3" fmla="*/ 0 h 196"/>
                      <a:gd name="T4" fmla="*/ 38 w 308"/>
                      <a:gd name="T5" fmla="*/ 58 h 196"/>
                      <a:gd name="T6" fmla="*/ 9 w 308"/>
                      <a:gd name="T7" fmla="*/ 58 h 196"/>
                      <a:gd name="T8" fmla="*/ 0 w 308"/>
                      <a:gd name="T9" fmla="*/ 117 h 196"/>
                      <a:gd name="T10" fmla="*/ 0 w 308"/>
                      <a:gd name="T11" fmla="*/ 137 h 196"/>
                      <a:gd name="T12" fmla="*/ 0 w 308"/>
                      <a:gd name="T13" fmla="*/ 166 h 196"/>
                      <a:gd name="T14" fmla="*/ 9 w 308"/>
                      <a:gd name="T15" fmla="*/ 176 h 196"/>
                      <a:gd name="T16" fmla="*/ 48 w 308"/>
                      <a:gd name="T17" fmla="*/ 196 h 196"/>
                      <a:gd name="T18" fmla="*/ 260 w 308"/>
                      <a:gd name="T19" fmla="*/ 176 h 196"/>
                      <a:gd name="T20" fmla="*/ 299 w 308"/>
                      <a:gd name="T21" fmla="*/ 196 h 196"/>
                      <a:gd name="T22" fmla="*/ 308 w 308"/>
                      <a:gd name="T23" fmla="*/ 176 h 196"/>
                      <a:gd name="T24" fmla="*/ 308 w 308"/>
                      <a:gd name="T25" fmla="*/ 156 h 196"/>
                      <a:gd name="T26" fmla="*/ 308 w 308"/>
                      <a:gd name="T27" fmla="*/ 127 h 196"/>
                      <a:gd name="T28" fmla="*/ 299 w 308"/>
                      <a:gd name="T29" fmla="*/ 117 h 196"/>
                      <a:gd name="T30" fmla="*/ 280 w 308"/>
                      <a:gd name="T31" fmla="*/ 78 h 196"/>
                      <a:gd name="T32" fmla="*/ 222 w 308"/>
                      <a:gd name="T33" fmla="*/ 117 h 196"/>
                      <a:gd name="T34" fmla="*/ 270 w 308"/>
                      <a:gd name="T35" fmla="*/ 78 h 196"/>
                      <a:gd name="T36" fmla="*/ 125 w 308"/>
                      <a:gd name="T37" fmla="*/ 78 h 196"/>
                      <a:gd name="T38" fmla="*/ 106 w 308"/>
                      <a:gd name="T39" fmla="*/ 117 h 196"/>
                      <a:gd name="T40" fmla="*/ 125 w 308"/>
                      <a:gd name="T41" fmla="*/ 78 h 196"/>
                      <a:gd name="T42" fmla="*/ 164 w 308"/>
                      <a:gd name="T43" fmla="*/ 78 h 196"/>
                      <a:gd name="T44" fmla="*/ 144 w 308"/>
                      <a:gd name="T45" fmla="*/ 117 h 196"/>
                      <a:gd name="T46" fmla="*/ 183 w 308"/>
                      <a:gd name="T47" fmla="*/ 78 h 196"/>
                      <a:gd name="T48" fmla="*/ 202 w 308"/>
                      <a:gd name="T49" fmla="*/ 117 h 196"/>
                      <a:gd name="T50" fmla="*/ 183 w 308"/>
                      <a:gd name="T51" fmla="*/ 78 h 196"/>
                      <a:gd name="T52" fmla="*/ 236 w 308"/>
                      <a:gd name="T53" fmla="*/ 19 h 196"/>
                      <a:gd name="T54" fmla="*/ 57 w 308"/>
                      <a:gd name="T55" fmla="*/ 58 h 196"/>
                      <a:gd name="T56" fmla="*/ 28 w 308"/>
                      <a:gd name="T57" fmla="*/ 78 h 196"/>
                      <a:gd name="T58" fmla="*/ 86 w 308"/>
                      <a:gd name="T59" fmla="*/ 78 h 196"/>
                      <a:gd name="T60" fmla="*/ 28 w 308"/>
                      <a:gd name="T61" fmla="*/ 117 h 196"/>
                      <a:gd name="T62" fmla="*/ 289 w 308"/>
                      <a:gd name="T63" fmla="*/ 156 h 196"/>
                      <a:gd name="T64" fmla="*/ 19 w 308"/>
                      <a:gd name="T65" fmla="*/ 137 h 196"/>
                      <a:gd name="T66" fmla="*/ 289 w 308"/>
                      <a:gd name="T67" fmla="*/ 15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8" h="196">
                        <a:moveTo>
                          <a:pt x="299" y="58"/>
                        </a:moveTo>
                        <a:lnTo>
                          <a:pt x="280" y="58"/>
                        </a:lnTo>
                        <a:lnTo>
                          <a:pt x="270" y="58"/>
                        </a:lnTo>
                        <a:lnTo>
                          <a:pt x="251" y="0"/>
                        </a:lnTo>
                        <a:lnTo>
                          <a:pt x="57" y="0"/>
                        </a:lnTo>
                        <a:lnTo>
                          <a:pt x="38" y="58"/>
                        </a:lnTo>
                        <a:lnTo>
                          <a:pt x="28" y="58"/>
                        </a:lnTo>
                        <a:lnTo>
                          <a:pt x="9" y="58"/>
                        </a:lnTo>
                        <a:lnTo>
                          <a:pt x="9" y="117"/>
                        </a:lnTo>
                        <a:lnTo>
                          <a:pt x="0" y="117"/>
                        </a:lnTo>
                        <a:lnTo>
                          <a:pt x="0" y="127"/>
                        </a:lnTo>
                        <a:lnTo>
                          <a:pt x="0" y="137"/>
                        </a:lnTo>
                        <a:lnTo>
                          <a:pt x="0" y="156"/>
                        </a:lnTo>
                        <a:lnTo>
                          <a:pt x="0" y="166"/>
                        </a:lnTo>
                        <a:lnTo>
                          <a:pt x="0" y="176"/>
                        </a:lnTo>
                        <a:lnTo>
                          <a:pt x="9" y="176"/>
                        </a:lnTo>
                        <a:lnTo>
                          <a:pt x="9" y="196"/>
                        </a:lnTo>
                        <a:lnTo>
                          <a:pt x="48" y="196"/>
                        </a:lnTo>
                        <a:lnTo>
                          <a:pt x="48" y="176"/>
                        </a:lnTo>
                        <a:lnTo>
                          <a:pt x="260" y="176"/>
                        </a:lnTo>
                        <a:lnTo>
                          <a:pt x="260" y="196"/>
                        </a:lnTo>
                        <a:lnTo>
                          <a:pt x="299" y="196"/>
                        </a:lnTo>
                        <a:lnTo>
                          <a:pt x="299" y="176"/>
                        </a:lnTo>
                        <a:lnTo>
                          <a:pt x="308" y="176"/>
                        </a:lnTo>
                        <a:lnTo>
                          <a:pt x="308" y="166"/>
                        </a:lnTo>
                        <a:lnTo>
                          <a:pt x="308" y="156"/>
                        </a:lnTo>
                        <a:lnTo>
                          <a:pt x="308" y="137"/>
                        </a:lnTo>
                        <a:lnTo>
                          <a:pt x="308" y="127"/>
                        </a:lnTo>
                        <a:lnTo>
                          <a:pt x="308" y="117"/>
                        </a:lnTo>
                        <a:lnTo>
                          <a:pt x="299" y="117"/>
                        </a:lnTo>
                        <a:lnTo>
                          <a:pt x="299" y="58"/>
                        </a:lnTo>
                        <a:close/>
                        <a:moveTo>
                          <a:pt x="280" y="78"/>
                        </a:moveTo>
                        <a:lnTo>
                          <a:pt x="280" y="117"/>
                        </a:lnTo>
                        <a:lnTo>
                          <a:pt x="222" y="117"/>
                        </a:lnTo>
                        <a:lnTo>
                          <a:pt x="222" y="78"/>
                        </a:lnTo>
                        <a:lnTo>
                          <a:pt x="270" y="78"/>
                        </a:lnTo>
                        <a:lnTo>
                          <a:pt x="280" y="78"/>
                        </a:lnTo>
                        <a:close/>
                        <a:moveTo>
                          <a:pt x="125" y="78"/>
                        </a:moveTo>
                        <a:lnTo>
                          <a:pt x="125" y="117"/>
                        </a:lnTo>
                        <a:lnTo>
                          <a:pt x="106" y="117"/>
                        </a:lnTo>
                        <a:lnTo>
                          <a:pt x="106" y="78"/>
                        </a:lnTo>
                        <a:lnTo>
                          <a:pt x="125" y="78"/>
                        </a:lnTo>
                        <a:close/>
                        <a:moveTo>
                          <a:pt x="144" y="78"/>
                        </a:moveTo>
                        <a:lnTo>
                          <a:pt x="164" y="78"/>
                        </a:lnTo>
                        <a:lnTo>
                          <a:pt x="164" y="117"/>
                        </a:lnTo>
                        <a:lnTo>
                          <a:pt x="144" y="117"/>
                        </a:lnTo>
                        <a:lnTo>
                          <a:pt x="144" y="78"/>
                        </a:lnTo>
                        <a:close/>
                        <a:moveTo>
                          <a:pt x="183" y="78"/>
                        </a:moveTo>
                        <a:lnTo>
                          <a:pt x="202" y="78"/>
                        </a:lnTo>
                        <a:lnTo>
                          <a:pt x="202" y="117"/>
                        </a:lnTo>
                        <a:lnTo>
                          <a:pt x="183" y="117"/>
                        </a:lnTo>
                        <a:lnTo>
                          <a:pt x="183" y="78"/>
                        </a:lnTo>
                        <a:close/>
                        <a:moveTo>
                          <a:pt x="72" y="19"/>
                        </a:moveTo>
                        <a:lnTo>
                          <a:pt x="236" y="19"/>
                        </a:lnTo>
                        <a:lnTo>
                          <a:pt x="251" y="58"/>
                        </a:lnTo>
                        <a:lnTo>
                          <a:pt x="57" y="58"/>
                        </a:lnTo>
                        <a:lnTo>
                          <a:pt x="72" y="19"/>
                        </a:lnTo>
                        <a:close/>
                        <a:moveTo>
                          <a:pt x="28" y="78"/>
                        </a:moveTo>
                        <a:lnTo>
                          <a:pt x="38" y="78"/>
                        </a:lnTo>
                        <a:lnTo>
                          <a:pt x="86" y="78"/>
                        </a:lnTo>
                        <a:lnTo>
                          <a:pt x="86" y="117"/>
                        </a:lnTo>
                        <a:lnTo>
                          <a:pt x="28" y="117"/>
                        </a:lnTo>
                        <a:lnTo>
                          <a:pt x="28" y="78"/>
                        </a:lnTo>
                        <a:close/>
                        <a:moveTo>
                          <a:pt x="289" y="156"/>
                        </a:moveTo>
                        <a:lnTo>
                          <a:pt x="19" y="156"/>
                        </a:lnTo>
                        <a:lnTo>
                          <a:pt x="19" y="137"/>
                        </a:lnTo>
                        <a:lnTo>
                          <a:pt x="289" y="137"/>
                        </a:lnTo>
                        <a:lnTo>
                          <a:pt x="289"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46" name="Oval 34"/>
                  <p:cNvSpPr>
                    <a:spLocks noChangeArrowheads="1"/>
                  </p:cNvSpPr>
                  <p:nvPr/>
                </p:nvSpPr>
                <p:spPr bwMode="auto">
                  <a:xfrm>
                    <a:off x="6675" y="2712"/>
                    <a:ext cx="19"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47" name="Oval 35"/>
                  <p:cNvSpPr>
                    <a:spLocks noChangeArrowheads="1"/>
                  </p:cNvSpPr>
                  <p:nvPr/>
                </p:nvSpPr>
                <p:spPr bwMode="auto">
                  <a:xfrm>
                    <a:off x="6868" y="2712"/>
                    <a:ext cx="19"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grpSp>
            <p:grpSp>
              <p:nvGrpSpPr>
                <p:cNvPr id="141" name="Group 32"/>
                <p:cNvGrpSpPr>
                  <a:grpSpLocks noChangeAspect="1"/>
                </p:cNvGrpSpPr>
                <p:nvPr/>
              </p:nvGrpSpPr>
              <p:grpSpPr bwMode="auto">
                <a:xfrm>
                  <a:off x="10835908" y="4001501"/>
                  <a:ext cx="194412" cy="123717"/>
                  <a:chOff x="6627" y="2624"/>
                  <a:chExt cx="308" cy="196"/>
                </a:xfrm>
                <a:solidFill>
                  <a:srgbClr val="FFFFFF"/>
                </a:solidFill>
              </p:grpSpPr>
              <p:sp>
                <p:nvSpPr>
                  <p:cNvPr id="142" name="Freeform 33"/>
                  <p:cNvSpPr>
                    <a:spLocks noEditPoints="1"/>
                  </p:cNvSpPr>
                  <p:nvPr/>
                </p:nvSpPr>
                <p:spPr bwMode="auto">
                  <a:xfrm>
                    <a:off x="6627" y="2624"/>
                    <a:ext cx="308" cy="196"/>
                  </a:xfrm>
                  <a:custGeom>
                    <a:avLst/>
                    <a:gdLst>
                      <a:gd name="T0" fmla="*/ 280 w 308"/>
                      <a:gd name="T1" fmla="*/ 58 h 196"/>
                      <a:gd name="T2" fmla="*/ 251 w 308"/>
                      <a:gd name="T3" fmla="*/ 0 h 196"/>
                      <a:gd name="T4" fmla="*/ 38 w 308"/>
                      <a:gd name="T5" fmla="*/ 58 h 196"/>
                      <a:gd name="T6" fmla="*/ 9 w 308"/>
                      <a:gd name="T7" fmla="*/ 58 h 196"/>
                      <a:gd name="T8" fmla="*/ 0 w 308"/>
                      <a:gd name="T9" fmla="*/ 117 h 196"/>
                      <a:gd name="T10" fmla="*/ 0 w 308"/>
                      <a:gd name="T11" fmla="*/ 137 h 196"/>
                      <a:gd name="T12" fmla="*/ 0 w 308"/>
                      <a:gd name="T13" fmla="*/ 166 h 196"/>
                      <a:gd name="T14" fmla="*/ 9 w 308"/>
                      <a:gd name="T15" fmla="*/ 176 h 196"/>
                      <a:gd name="T16" fmla="*/ 48 w 308"/>
                      <a:gd name="T17" fmla="*/ 196 h 196"/>
                      <a:gd name="T18" fmla="*/ 260 w 308"/>
                      <a:gd name="T19" fmla="*/ 176 h 196"/>
                      <a:gd name="T20" fmla="*/ 299 w 308"/>
                      <a:gd name="T21" fmla="*/ 196 h 196"/>
                      <a:gd name="T22" fmla="*/ 308 w 308"/>
                      <a:gd name="T23" fmla="*/ 176 h 196"/>
                      <a:gd name="T24" fmla="*/ 308 w 308"/>
                      <a:gd name="T25" fmla="*/ 156 h 196"/>
                      <a:gd name="T26" fmla="*/ 308 w 308"/>
                      <a:gd name="T27" fmla="*/ 127 h 196"/>
                      <a:gd name="T28" fmla="*/ 299 w 308"/>
                      <a:gd name="T29" fmla="*/ 117 h 196"/>
                      <a:gd name="T30" fmla="*/ 280 w 308"/>
                      <a:gd name="T31" fmla="*/ 78 h 196"/>
                      <a:gd name="T32" fmla="*/ 222 w 308"/>
                      <a:gd name="T33" fmla="*/ 117 h 196"/>
                      <a:gd name="T34" fmla="*/ 270 w 308"/>
                      <a:gd name="T35" fmla="*/ 78 h 196"/>
                      <a:gd name="T36" fmla="*/ 125 w 308"/>
                      <a:gd name="T37" fmla="*/ 78 h 196"/>
                      <a:gd name="T38" fmla="*/ 106 w 308"/>
                      <a:gd name="T39" fmla="*/ 117 h 196"/>
                      <a:gd name="T40" fmla="*/ 125 w 308"/>
                      <a:gd name="T41" fmla="*/ 78 h 196"/>
                      <a:gd name="T42" fmla="*/ 164 w 308"/>
                      <a:gd name="T43" fmla="*/ 78 h 196"/>
                      <a:gd name="T44" fmla="*/ 144 w 308"/>
                      <a:gd name="T45" fmla="*/ 117 h 196"/>
                      <a:gd name="T46" fmla="*/ 183 w 308"/>
                      <a:gd name="T47" fmla="*/ 78 h 196"/>
                      <a:gd name="T48" fmla="*/ 202 w 308"/>
                      <a:gd name="T49" fmla="*/ 117 h 196"/>
                      <a:gd name="T50" fmla="*/ 183 w 308"/>
                      <a:gd name="T51" fmla="*/ 78 h 196"/>
                      <a:gd name="T52" fmla="*/ 236 w 308"/>
                      <a:gd name="T53" fmla="*/ 19 h 196"/>
                      <a:gd name="T54" fmla="*/ 57 w 308"/>
                      <a:gd name="T55" fmla="*/ 58 h 196"/>
                      <a:gd name="T56" fmla="*/ 28 w 308"/>
                      <a:gd name="T57" fmla="*/ 78 h 196"/>
                      <a:gd name="T58" fmla="*/ 86 w 308"/>
                      <a:gd name="T59" fmla="*/ 78 h 196"/>
                      <a:gd name="T60" fmla="*/ 28 w 308"/>
                      <a:gd name="T61" fmla="*/ 117 h 196"/>
                      <a:gd name="T62" fmla="*/ 289 w 308"/>
                      <a:gd name="T63" fmla="*/ 156 h 196"/>
                      <a:gd name="T64" fmla="*/ 19 w 308"/>
                      <a:gd name="T65" fmla="*/ 137 h 196"/>
                      <a:gd name="T66" fmla="*/ 289 w 308"/>
                      <a:gd name="T67" fmla="*/ 15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8" h="196">
                        <a:moveTo>
                          <a:pt x="299" y="58"/>
                        </a:moveTo>
                        <a:lnTo>
                          <a:pt x="280" y="58"/>
                        </a:lnTo>
                        <a:lnTo>
                          <a:pt x="270" y="58"/>
                        </a:lnTo>
                        <a:lnTo>
                          <a:pt x="251" y="0"/>
                        </a:lnTo>
                        <a:lnTo>
                          <a:pt x="57" y="0"/>
                        </a:lnTo>
                        <a:lnTo>
                          <a:pt x="38" y="58"/>
                        </a:lnTo>
                        <a:lnTo>
                          <a:pt x="28" y="58"/>
                        </a:lnTo>
                        <a:lnTo>
                          <a:pt x="9" y="58"/>
                        </a:lnTo>
                        <a:lnTo>
                          <a:pt x="9" y="117"/>
                        </a:lnTo>
                        <a:lnTo>
                          <a:pt x="0" y="117"/>
                        </a:lnTo>
                        <a:lnTo>
                          <a:pt x="0" y="127"/>
                        </a:lnTo>
                        <a:lnTo>
                          <a:pt x="0" y="137"/>
                        </a:lnTo>
                        <a:lnTo>
                          <a:pt x="0" y="156"/>
                        </a:lnTo>
                        <a:lnTo>
                          <a:pt x="0" y="166"/>
                        </a:lnTo>
                        <a:lnTo>
                          <a:pt x="0" y="176"/>
                        </a:lnTo>
                        <a:lnTo>
                          <a:pt x="9" y="176"/>
                        </a:lnTo>
                        <a:lnTo>
                          <a:pt x="9" y="196"/>
                        </a:lnTo>
                        <a:lnTo>
                          <a:pt x="48" y="196"/>
                        </a:lnTo>
                        <a:lnTo>
                          <a:pt x="48" y="176"/>
                        </a:lnTo>
                        <a:lnTo>
                          <a:pt x="260" y="176"/>
                        </a:lnTo>
                        <a:lnTo>
                          <a:pt x="260" y="196"/>
                        </a:lnTo>
                        <a:lnTo>
                          <a:pt x="299" y="196"/>
                        </a:lnTo>
                        <a:lnTo>
                          <a:pt x="299" y="176"/>
                        </a:lnTo>
                        <a:lnTo>
                          <a:pt x="308" y="176"/>
                        </a:lnTo>
                        <a:lnTo>
                          <a:pt x="308" y="166"/>
                        </a:lnTo>
                        <a:lnTo>
                          <a:pt x="308" y="156"/>
                        </a:lnTo>
                        <a:lnTo>
                          <a:pt x="308" y="137"/>
                        </a:lnTo>
                        <a:lnTo>
                          <a:pt x="308" y="127"/>
                        </a:lnTo>
                        <a:lnTo>
                          <a:pt x="308" y="117"/>
                        </a:lnTo>
                        <a:lnTo>
                          <a:pt x="299" y="117"/>
                        </a:lnTo>
                        <a:lnTo>
                          <a:pt x="299" y="58"/>
                        </a:lnTo>
                        <a:close/>
                        <a:moveTo>
                          <a:pt x="280" y="78"/>
                        </a:moveTo>
                        <a:lnTo>
                          <a:pt x="280" y="117"/>
                        </a:lnTo>
                        <a:lnTo>
                          <a:pt x="222" y="117"/>
                        </a:lnTo>
                        <a:lnTo>
                          <a:pt x="222" y="78"/>
                        </a:lnTo>
                        <a:lnTo>
                          <a:pt x="270" y="78"/>
                        </a:lnTo>
                        <a:lnTo>
                          <a:pt x="280" y="78"/>
                        </a:lnTo>
                        <a:close/>
                        <a:moveTo>
                          <a:pt x="125" y="78"/>
                        </a:moveTo>
                        <a:lnTo>
                          <a:pt x="125" y="117"/>
                        </a:lnTo>
                        <a:lnTo>
                          <a:pt x="106" y="117"/>
                        </a:lnTo>
                        <a:lnTo>
                          <a:pt x="106" y="78"/>
                        </a:lnTo>
                        <a:lnTo>
                          <a:pt x="125" y="78"/>
                        </a:lnTo>
                        <a:close/>
                        <a:moveTo>
                          <a:pt x="144" y="78"/>
                        </a:moveTo>
                        <a:lnTo>
                          <a:pt x="164" y="78"/>
                        </a:lnTo>
                        <a:lnTo>
                          <a:pt x="164" y="117"/>
                        </a:lnTo>
                        <a:lnTo>
                          <a:pt x="144" y="117"/>
                        </a:lnTo>
                        <a:lnTo>
                          <a:pt x="144" y="78"/>
                        </a:lnTo>
                        <a:close/>
                        <a:moveTo>
                          <a:pt x="183" y="78"/>
                        </a:moveTo>
                        <a:lnTo>
                          <a:pt x="202" y="78"/>
                        </a:lnTo>
                        <a:lnTo>
                          <a:pt x="202" y="117"/>
                        </a:lnTo>
                        <a:lnTo>
                          <a:pt x="183" y="117"/>
                        </a:lnTo>
                        <a:lnTo>
                          <a:pt x="183" y="78"/>
                        </a:lnTo>
                        <a:close/>
                        <a:moveTo>
                          <a:pt x="72" y="19"/>
                        </a:moveTo>
                        <a:lnTo>
                          <a:pt x="236" y="19"/>
                        </a:lnTo>
                        <a:lnTo>
                          <a:pt x="251" y="58"/>
                        </a:lnTo>
                        <a:lnTo>
                          <a:pt x="57" y="58"/>
                        </a:lnTo>
                        <a:lnTo>
                          <a:pt x="72" y="19"/>
                        </a:lnTo>
                        <a:close/>
                        <a:moveTo>
                          <a:pt x="28" y="78"/>
                        </a:moveTo>
                        <a:lnTo>
                          <a:pt x="38" y="78"/>
                        </a:lnTo>
                        <a:lnTo>
                          <a:pt x="86" y="78"/>
                        </a:lnTo>
                        <a:lnTo>
                          <a:pt x="86" y="117"/>
                        </a:lnTo>
                        <a:lnTo>
                          <a:pt x="28" y="117"/>
                        </a:lnTo>
                        <a:lnTo>
                          <a:pt x="28" y="78"/>
                        </a:lnTo>
                        <a:close/>
                        <a:moveTo>
                          <a:pt x="289" y="156"/>
                        </a:moveTo>
                        <a:lnTo>
                          <a:pt x="19" y="156"/>
                        </a:lnTo>
                        <a:lnTo>
                          <a:pt x="19" y="137"/>
                        </a:lnTo>
                        <a:lnTo>
                          <a:pt x="289" y="137"/>
                        </a:lnTo>
                        <a:lnTo>
                          <a:pt x="289"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43" name="Oval 34"/>
                  <p:cNvSpPr>
                    <a:spLocks noChangeArrowheads="1"/>
                  </p:cNvSpPr>
                  <p:nvPr/>
                </p:nvSpPr>
                <p:spPr bwMode="auto">
                  <a:xfrm>
                    <a:off x="6675" y="2712"/>
                    <a:ext cx="19"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44" name="Oval 35"/>
                  <p:cNvSpPr>
                    <a:spLocks noChangeArrowheads="1"/>
                  </p:cNvSpPr>
                  <p:nvPr/>
                </p:nvSpPr>
                <p:spPr bwMode="auto">
                  <a:xfrm>
                    <a:off x="6868" y="2712"/>
                    <a:ext cx="19"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grpSp>
          </p:grpSp>
        </p:grpSp>
      </p:grpSp>
      <p:grpSp>
        <p:nvGrpSpPr>
          <p:cNvPr id="122" name="Group 121"/>
          <p:cNvGrpSpPr/>
          <p:nvPr/>
        </p:nvGrpSpPr>
        <p:grpSpPr>
          <a:xfrm>
            <a:off x="142486" y="5188288"/>
            <a:ext cx="803730" cy="803730"/>
            <a:chOff x="7410211" y="5077564"/>
            <a:chExt cx="1016000" cy="1016000"/>
          </a:xfrm>
        </p:grpSpPr>
        <p:sp>
          <p:nvSpPr>
            <p:cNvPr id="134" name="Oval 133"/>
            <p:cNvSpPr/>
            <p:nvPr/>
          </p:nvSpPr>
          <p:spPr bwMode="auto">
            <a:xfrm>
              <a:off x="7410211" y="5077564"/>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800" kern="0" dirty="0">
                <a:gradFill>
                  <a:gsLst>
                    <a:gs pos="1250">
                      <a:srgbClr val="505050"/>
                    </a:gs>
                    <a:gs pos="76000">
                      <a:srgbClr val="505050"/>
                    </a:gs>
                  </a:gsLst>
                  <a:lin ang="5400000" scaled="0"/>
                </a:gradFill>
              </a:endParaRPr>
            </a:p>
          </p:txBody>
        </p:sp>
        <p:sp>
          <p:nvSpPr>
            <p:cNvPr id="135" name="Freeform 39"/>
            <p:cNvSpPr>
              <a:spLocks noEditPoints="1"/>
            </p:cNvSpPr>
            <p:nvPr/>
          </p:nvSpPr>
          <p:spPr bwMode="auto">
            <a:xfrm>
              <a:off x="7704085" y="5383952"/>
              <a:ext cx="428252" cy="403224"/>
            </a:xfrm>
            <a:custGeom>
              <a:avLst/>
              <a:gdLst>
                <a:gd name="T0" fmla="*/ 88 w 128"/>
                <a:gd name="T1" fmla="*/ 0 h 120"/>
                <a:gd name="T2" fmla="*/ 64 w 128"/>
                <a:gd name="T3" fmla="*/ 8 h 120"/>
                <a:gd name="T4" fmla="*/ 40 w 128"/>
                <a:gd name="T5" fmla="*/ 0 h 120"/>
                <a:gd name="T6" fmla="*/ 12 w 128"/>
                <a:gd name="T7" fmla="*/ 12 h 120"/>
                <a:gd name="T8" fmla="*/ 0 w 128"/>
                <a:gd name="T9" fmla="*/ 40 h 120"/>
                <a:gd name="T10" fmla="*/ 12 w 128"/>
                <a:gd name="T11" fmla="*/ 68 h 120"/>
                <a:gd name="T12" fmla="*/ 64 w 128"/>
                <a:gd name="T13" fmla="*/ 120 h 120"/>
                <a:gd name="T14" fmla="*/ 116 w 128"/>
                <a:gd name="T15" fmla="*/ 68 h 120"/>
                <a:gd name="T16" fmla="*/ 128 w 128"/>
                <a:gd name="T17" fmla="*/ 40 h 120"/>
                <a:gd name="T18" fmla="*/ 116 w 128"/>
                <a:gd name="T19" fmla="*/ 12 h 120"/>
                <a:gd name="T20" fmla="*/ 88 w 128"/>
                <a:gd name="T21" fmla="*/ 0 h 120"/>
                <a:gd name="T22" fmla="*/ 19 w 128"/>
                <a:gd name="T23" fmla="*/ 64 h 120"/>
                <a:gd name="T24" fmla="*/ 30 w 128"/>
                <a:gd name="T25" fmla="*/ 64 h 120"/>
                <a:gd name="T26" fmla="*/ 36 w 128"/>
                <a:gd name="T27" fmla="*/ 58 h 120"/>
                <a:gd name="T28" fmla="*/ 64 w 128"/>
                <a:gd name="T29" fmla="*/ 86 h 120"/>
                <a:gd name="T30" fmla="*/ 96 w 128"/>
                <a:gd name="T31" fmla="*/ 54 h 120"/>
                <a:gd name="T32" fmla="*/ 106 w 128"/>
                <a:gd name="T33" fmla="*/ 64 h 120"/>
                <a:gd name="T34" fmla="*/ 109 w 128"/>
                <a:gd name="T35" fmla="*/ 64 h 120"/>
                <a:gd name="T36" fmla="*/ 64 w 128"/>
                <a:gd name="T37" fmla="*/ 109 h 120"/>
                <a:gd name="T38" fmla="*/ 19 w 128"/>
                <a:gd name="T39" fmla="*/ 64 h 120"/>
                <a:gd name="T40" fmla="*/ 116 w 128"/>
                <a:gd name="T41" fmla="*/ 56 h 120"/>
                <a:gd name="T42" fmla="*/ 110 w 128"/>
                <a:gd name="T43" fmla="*/ 56 h 120"/>
                <a:gd name="T44" fmla="*/ 96 w 128"/>
                <a:gd name="T45" fmla="*/ 43 h 120"/>
                <a:gd name="T46" fmla="*/ 64 w 128"/>
                <a:gd name="T47" fmla="*/ 75 h 120"/>
                <a:gd name="T48" fmla="*/ 36 w 128"/>
                <a:gd name="T49" fmla="*/ 47 h 120"/>
                <a:gd name="T50" fmla="*/ 26 w 128"/>
                <a:gd name="T51" fmla="*/ 56 h 120"/>
                <a:gd name="T52" fmla="*/ 12 w 128"/>
                <a:gd name="T53" fmla="*/ 56 h 120"/>
                <a:gd name="T54" fmla="*/ 8 w 128"/>
                <a:gd name="T55" fmla="*/ 40 h 120"/>
                <a:gd name="T56" fmla="*/ 17 w 128"/>
                <a:gd name="T57" fmla="*/ 18 h 120"/>
                <a:gd name="T58" fmla="*/ 40 w 128"/>
                <a:gd name="T59" fmla="*/ 8 h 120"/>
                <a:gd name="T60" fmla="*/ 61 w 128"/>
                <a:gd name="T61" fmla="*/ 16 h 120"/>
                <a:gd name="T62" fmla="*/ 64 w 128"/>
                <a:gd name="T63" fmla="*/ 19 h 120"/>
                <a:gd name="T64" fmla="*/ 67 w 128"/>
                <a:gd name="T65" fmla="*/ 16 h 120"/>
                <a:gd name="T66" fmla="*/ 88 w 128"/>
                <a:gd name="T67" fmla="*/ 8 h 120"/>
                <a:gd name="T68" fmla="*/ 111 w 128"/>
                <a:gd name="T69" fmla="*/ 18 h 120"/>
                <a:gd name="T70" fmla="*/ 120 w 128"/>
                <a:gd name="T71" fmla="*/ 40 h 120"/>
                <a:gd name="T72" fmla="*/ 116 w 128"/>
                <a:gd name="T73" fmla="*/ 5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0">
                  <a:moveTo>
                    <a:pt x="88" y="0"/>
                  </a:moveTo>
                  <a:cubicBezTo>
                    <a:pt x="79" y="0"/>
                    <a:pt x="71" y="3"/>
                    <a:pt x="64" y="8"/>
                  </a:cubicBezTo>
                  <a:cubicBezTo>
                    <a:pt x="57" y="3"/>
                    <a:pt x="49" y="0"/>
                    <a:pt x="40" y="0"/>
                  </a:cubicBezTo>
                  <a:cubicBezTo>
                    <a:pt x="29" y="0"/>
                    <a:pt x="19" y="4"/>
                    <a:pt x="12" y="12"/>
                  </a:cubicBezTo>
                  <a:cubicBezTo>
                    <a:pt x="4" y="19"/>
                    <a:pt x="0" y="30"/>
                    <a:pt x="0" y="40"/>
                  </a:cubicBezTo>
                  <a:cubicBezTo>
                    <a:pt x="0" y="51"/>
                    <a:pt x="4" y="61"/>
                    <a:pt x="12" y="68"/>
                  </a:cubicBezTo>
                  <a:cubicBezTo>
                    <a:pt x="64" y="120"/>
                    <a:pt x="64" y="120"/>
                    <a:pt x="64" y="120"/>
                  </a:cubicBezTo>
                  <a:cubicBezTo>
                    <a:pt x="116" y="68"/>
                    <a:pt x="116" y="68"/>
                    <a:pt x="116" y="68"/>
                  </a:cubicBezTo>
                  <a:cubicBezTo>
                    <a:pt x="124" y="61"/>
                    <a:pt x="128" y="51"/>
                    <a:pt x="128" y="40"/>
                  </a:cubicBezTo>
                  <a:cubicBezTo>
                    <a:pt x="128" y="30"/>
                    <a:pt x="124" y="19"/>
                    <a:pt x="116" y="12"/>
                  </a:cubicBezTo>
                  <a:cubicBezTo>
                    <a:pt x="109" y="4"/>
                    <a:pt x="99" y="0"/>
                    <a:pt x="88" y="0"/>
                  </a:cubicBezTo>
                  <a:moveTo>
                    <a:pt x="19" y="64"/>
                  </a:moveTo>
                  <a:cubicBezTo>
                    <a:pt x="30" y="64"/>
                    <a:pt x="30" y="64"/>
                    <a:pt x="30" y="64"/>
                  </a:cubicBezTo>
                  <a:cubicBezTo>
                    <a:pt x="36" y="58"/>
                    <a:pt x="36" y="58"/>
                    <a:pt x="36" y="58"/>
                  </a:cubicBezTo>
                  <a:cubicBezTo>
                    <a:pt x="64" y="86"/>
                    <a:pt x="64" y="86"/>
                    <a:pt x="64" y="86"/>
                  </a:cubicBezTo>
                  <a:cubicBezTo>
                    <a:pt x="96" y="54"/>
                    <a:pt x="96" y="54"/>
                    <a:pt x="96" y="54"/>
                  </a:cubicBezTo>
                  <a:cubicBezTo>
                    <a:pt x="106" y="64"/>
                    <a:pt x="106" y="64"/>
                    <a:pt x="106" y="64"/>
                  </a:cubicBezTo>
                  <a:cubicBezTo>
                    <a:pt x="109" y="64"/>
                    <a:pt x="109" y="64"/>
                    <a:pt x="109" y="64"/>
                  </a:cubicBezTo>
                  <a:cubicBezTo>
                    <a:pt x="64" y="109"/>
                    <a:pt x="64" y="109"/>
                    <a:pt x="64" y="109"/>
                  </a:cubicBezTo>
                  <a:lnTo>
                    <a:pt x="19" y="64"/>
                  </a:lnTo>
                  <a:close/>
                  <a:moveTo>
                    <a:pt x="116" y="56"/>
                  </a:moveTo>
                  <a:cubicBezTo>
                    <a:pt x="110" y="56"/>
                    <a:pt x="110" y="56"/>
                    <a:pt x="110" y="56"/>
                  </a:cubicBezTo>
                  <a:cubicBezTo>
                    <a:pt x="96" y="43"/>
                    <a:pt x="96" y="43"/>
                    <a:pt x="96" y="43"/>
                  </a:cubicBezTo>
                  <a:cubicBezTo>
                    <a:pt x="64" y="75"/>
                    <a:pt x="64" y="75"/>
                    <a:pt x="64" y="75"/>
                  </a:cubicBezTo>
                  <a:cubicBezTo>
                    <a:pt x="36" y="47"/>
                    <a:pt x="36" y="47"/>
                    <a:pt x="36" y="47"/>
                  </a:cubicBezTo>
                  <a:cubicBezTo>
                    <a:pt x="26" y="56"/>
                    <a:pt x="26" y="56"/>
                    <a:pt x="26" y="56"/>
                  </a:cubicBezTo>
                  <a:cubicBezTo>
                    <a:pt x="12" y="56"/>
                    <a:pt x="12" y="56"/>
                    <a:pt x="12" y="56"/>
                  </a:cubicBezTo>
                  <a:cubicBezTo>
                    <a:pt x="10" y="51"/>
                    <a:pt x="8" y="46"/>
                    <a:pt x="8" y="40"/>
                  </a:cubicBezTo>
                  <a:cubicBezTo>
                    <a:pt x="8" y="32"/>
                    <a:pt x="11" y="24"/>
                    <a:pt x="17" y="18"/>
                  </a:cubicBezTo>
                  <a:cubicBezTo>
                    <a:pt x="23" y="12"/>
                    <a:pt x="31" y="8"/>
                    <a:pt x="40" y="8"/>
                  </a:cubicBezTo>
                  <a:cubicBezTo>
                    <a:pt x="48" y="8"/>
                    <a:pt x="55" y="11"/>
                    <a:pt x="61" y="16"/>
                  </a:cubicBezTo>
                  <a:cubicBezTo>
                    <a:pt x="64" y="19"/>
                    <a:pt x="64" y="19"/>
                    <a:pt x="64" y="19"/>
                  </a:cubicBezTo>
                  <a:cubicBezTo>
                    <a:pt x="67" y="16"/>
                    <a:pt x="67" y="16"/>
                    <a:pt x="67" y="16"/>
                  </a:cubicBezTo>
                  <a:cubicBezTo>
                    <a:pt x="73" y="11"/>
                    <a:pt x="80" y="8"/>
                    <a:pt x="88" y="8"/>
                  </a:cubicBezTo>
                  <a:cubicBezTo>
                    <a:pt x="97" y="8"/>
                    <a:pt x="105" y="12"/>
                    <a:pt x="111" y="18"/>
                  </a:cubicBezTo>
                  <a:cubicBezTo>
                    <a:pt x="117" y="24"/>
                    <a:pt x="120" y="32"/>
                    <a:pt x="120" y="40"/>
                  </a:cubicBezTo>
                  <a:cubicBezTo>
                    <a:pt x="120" y="46"/>
                    <a:pt x="118" y="51"/>
                    <a:pt x="116" y="56"/>
                  </a:cubicBez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grpSp>
      <p:grpSp>
        <p:nvGrpSpPr>
          <p:cNvPr id="123" name="Group 122"/>
          <p:cNvGrpSpPr/>
          <p:nvPr/>
        </p:nvGrpSpPr>
        <p:grpSpPr>
          <a:xfrm>
            <a:off x="3897468" y="5188288"/>
            <a:ext cx="803730" cy="803730"/>
            <a:chOff x="6320325" y="3747236"/>
            <a:chExt cx="1016000" cy="1016000"/>
          </a:xfrm>
        </p:grpSpPr>
        <p:sp>
          <p:nvSpPr>
            <p:cNvPr id="130" name="Oval 129"/>
            <p:cNvSpPr/>
            <p:nvPr/>
          </p:nvSpPr>
          <p:spPr bwMode="auto">
            <a:xfrm>
              <a:off x="6320325" y="3747236"/>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dirty="0">
                <a:gradFill>
                  <a:gsLst>
                    <a:gs pos="1250">
                      <a:srgbClr val="505050"/>
                    </a:gs>
                    <a:gs pos="76000">
                      <a:srgbClr val="505050"/>
                    </a:gs>
                  </a:gsLst>
                  <a:lin ang="5400000" scaled="0"/>
                </a:gradFill>
              </a:endParaRPr>
            </a:p>
          </p:txBody>
        </p:sp>
        <p:grpSp>
          <p:nvGrpSpPr>
            <p:cNvPr id="131" name="Group 42"/>
            <p:cNvGrpSpPr>
              <a:grpSpLocks noChangeAspect="1"/>
            </p:cNvGrpSpPr>
            <p:nvPr/>
          </p:nvGrpSpPr>
          <p:grpSpPr bwMode="auto">
            <a:xfrm>
              <a:off x="6634650" y="4061561"/>
              <a:ext cx="387350" cy="387350"/>
              <a:chOff x="4176" y="2543"/>
              <a:chExt cx="244" cy="244"/>
            </a:xfrm>
            <a:solidFill>
              <a:srgbClr val="FFFFFF"/>
            </a:solidFill>
          </p:grpSpPr>
          <p:sp>
            <p:nvSpPr>
              <p:cNvPr id="132" name="Freeform 43"/>
              <p:cNvSpPr>
                <a:spLocks/>
              </p:cNvSpPr>
              <p:nvPr/>
            </p:nvSpPr>
            <p:spPr bwMode="auto">
              <a:xfrm>
                <a:off x="4179" y="2546"/>
                <a:ext cx="197" cy="197"/>
              </a:xfrm>
              <a:custGeom>
                <a:avLst/>
                <a:gdLst>
                  <a:gd name="T0" fmla="*/ 62 w 81"/>
                  <a:gd name="T1" fmla="*/ 38 h 81"/>
                  <a:gd name="T2" fmla="*/ 81 w 81"/>
                  <a:gd name="T3" fmla="*/ 19 h 81"/>
                  <a:gd name="T4" fmla="*/ 62 w 81"/>
                  <a:gd name="T5" fmla="*/ 0 h 81"/>
                  <a:gd name="T6" fmla="*/ 56 w 81"/>
                  <a:gd name="T7" fmla="*/ 6 h 81"/>
                  <a:gd name="T8" fmla="*/ 65 w 81"/>
                  <a:gd name="T9" fmla="*/ 15 h 81"/>
                  <a:gd name="T10" fmla="*/ 51 w 81"/>
                  <a:gd name="T11" fmla="*/ 15 h 81"/>
                  <a:gd name="T12" fmla="*/ 15 w 81"/>
                  <a:gd name="T13" fmla="*/ 51 h 81"/>
                  <a:gd name="T14" fmla="*/ 15 w 81"/>
                  <a:gd name="T15" fmla="*/ 65 h 81"/>
                  <a:gd name="T16" fmla="*/ 6 w 81"/>
                  <a:gd name="T17" fmla="*/ 56 h 81"/>
                  <a:gd name="T18" fmla="*/ 0 w 81"/>
                  <a:gd name="T19" fmla="*/ 62 h 81"/>
                  <a:gd name="T20" fmla="*/ 19 w 81"/>
                  <a:gd name="T21" fmla="*/ 81 h 81"/>
                  <a:gd name="T22" fmla="*/ 38 w 81"/>
                  <a:gd name="T23" fmla="*/ 62 h 81"/>
                  <a:gd name="T24" fmla="*/ 32 w 81"/>
                  <a:gd name="T25" fmla="*/ 56 h 81"/>
                  <a:gd name="T26" fmla="*/ 23 w 81"/>
                  <a:gd name="T27" fmla="*/ 65 h 81"/>
                  <a:gd name="T28" fmla="*/ 23 w 81"/>
                  <a:gd name="T29" fmla="*/ 51 h 81"/>
                  <a:gd name="T30" fmla="*/ 51 w 81"/>
                  <a:gd name="T31" fmla="*/ 23 h 81"/>
                  <a:gd name="T32" fmla="*/ 65 w 81"/>
                  <a:gd name="T33" fmla="*/ 23 h 81"/>
                  <a:gd name="T34" fmla="*/ 56 w 81"/>
                  <a:gd name="T35" fmla="*/ 32 h 81"/>
                  <a:gd name="T36" fmla="*/ 62 w 81"/>
                  <a:gd name="T37" fmla="*/ 3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1" h="81">
                    <a:moveTo>
                      <a:pt x="62" y="38"/>
                    </a:moveTo>
                    <a:cubicBezTo>
                      <a:pt x="81" y="19"/>
                      <a:pt x="81" y="19"/>
                      <a:pt x="81" y="19"/>
                    </a:cubicBezTo>
                    <a:cubicBezTo>
                      <a:pt x="62" y="0"/>
                      <a:pt x="62" y="0"/>
                      <a:pt x="62" y="0"/>
                    </a:cubicBezTo>
                    <a:cubicBezTo>
                      <a:pt x="56" y="6"/>
                      <a:pt x="56" y="6"/>
                      <a:pt x="56" y="6"/>
                    </a:cubicBezTo>
                    <a:cubicBezTo>
                      <a:pt x="65" y="15"/>
                      <a:pt x="65" y="15"/>
                      <a:pt x="65" y="15"/>
                    </a:cubicBezTo>
                    <a:cubicBezTo>
                      <a:pt x="51" y="15"/>
                      <a:pt x="51" y="15"/>
                      <a:pt x="51" y="15"/>
                    </a:cubicBezTo>
                    <a:cubicBezTo>
                      <a:pt x="31" y="15"/>
                      <a:pt x="15" y="31"/>
                      <a:pt x="15" y="51"/>
                    </a:cubicBezTo>
                    <a:cubicBezTo>
                      <a:pt x="15" y="65"/>
                      <a:pt x="15" y="65"/>
                      <a:pt x="15" y="65"/>
                    </a:cubicBezTo>
                    <a:cubicBezTo>
                      <a:pt x="6" y="56"/>
                      <a:pt x="6" y="56"/>
                      <a:pt x="6" y="56"/>
                    </a:cubicBezTo>
                    <a:cubicBezTo>
                      <a:pt x="0" y="62"/>
                      <a:pt x="0" y="62"/>
                      <a:pt x="0" y="62"/>
                    </a:cubicBezTo>
                    <a:cubicBezTo>
                      <a:pt x="19" y="81"/>
                      <a:pt x="19" y="81"/>
                      <a:pt x="19" y="81"/>
                    </a:cubicBezTo>
                    <a:cubicBezTo>
                      <a:pt x="38" y="62"/>
                      <a:pt x="38" y="62"/>
                      <a:pt x="38" y="62"/>
                    </a:cubicBezTo>
                    <a:cubicBezTo>
                      <a:pt x="32" y="56"/>
                      <a:pt x="32" y="56"/>
                      <a:pt x="32" y="56"/>
                    </a:cubicBezTo>
                    <a:cubicBezTo>
                      <a:pt x="23" y="65"/>
                      <a:pt x="23" y="65"/>
                      <a:pt x="23" y="65"/>
                    </a:cubicBezTo>
                    <a:cubicBezTo>
                      <a:pt x="23" y="51"/>
                      <a:pt x="23" y="51"/>
                      <a:pt x="23" y="51"/>
                    </a:cubicBezTo>
                    <a:cubicBezTo>
                      <a:pt x="23" y="36"/>
                      <a:pt x="36" y="23"/>
                      <a:pt x="51" y="23"/>
                    </a:cubicBezTo>
                    <a:cubicBezTo>
                      <a:pt x="65" y="23"/>
                      <a:pt x="65" y="23"/>
                      <a:pt x="65" y="23"/>
                    </a:cubicBezTo>
                    <a:cubicBezTo>
                      <a:pt x="56" y="32"/>
                      <a:pt x="56" y="32"/>
                      <a:pt x="56" y="32"/>
                    </a:cubicBezTo>
                    <a:lnTo>
                      <a:pt x="62"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33" name="Freeform 44"/>
              <p:cNvSpPr>
                <a:spLocks noEditPoints="1"/>
              </p:cNvSpPr>
              <p:nvPr/>
            </p:nvSpPr>
            <p:spPr bwMode="auto">
              <a:xfrm>
                <a:off x="4176" y="2543"/>
                <a:ext cx="244" cy="244"/>
              </a:xfrm>
              <a:custGeom>
                <a:avLst/>
                <a:gdLst>
                  <a:gd name="T0" fmla="*/ 244 w 244"/>
                  <a:gd name="T1" fmla="*/ 0 h 244"/>
                  <a:gd name="T2" fmla="*/ 224 w 244"/>
                  <a:gd name="T3" fmla="*/ 0 h 244"/>
                  <a:gd name="T4" fmla="*/ 224 w 244"/>
                  <a:gd name="T5" fmla="*/ 166 h 244"/>
                  <a:gd name="T6" fmla="*/ 166 w 244"/>
                  <a:gd name="T7" fmla="*/ 166 h 244"/>
                  <a:gd name="T8" fmla="*/ 166 w 244"/>
                  <a:gd name="T9" fmla="*/ 224 h 244"/>
                  <a:gd name="T10" fmla="*/ 0 w 244"/>
                  <a:gd name="T11" fmla="*/ 224 h 244"/>
                  <a:gd name="T12" fmla="*/ 0 w 244"/>
                  <a:gd name="T13" fmla="*/ 244 h 244"/>
                  <a:gd name="T14" fmla="*/ 244 w 244"/>
                  <a:gd name="T15" fmla="*/ 244 h 244"/>
                  <a:gd name="T16" fmla="*/ 244 w 244"/>
                  <a:gd name="T17" fmla="*/ 0 h 244"/>
                  <a:gd name="T18" fmla="*/ 185 w 244"/>
                  <a:gd name="T19" fmla="*/ 224 h 244"/>
                  <a:gd name="T20" fmla="*/ 185 w 244"/>
                  <a:gd name="T21" fmla="*/ 185 h 244"/>
                  <a:gd name="T22" fmla="*/ 224 w 244"/>
                  <a:gd name="T23" fmla="*/ 185 h 244"/>
                  <a:gd name="T24" fmla="*/ 224 w 244"/>
                  <a:gd name="T25" fmla="*/ 224 h 244"/>
                  <a:gd name="T26" fmla="*/ 185 w 244"/>
                  <a:gd name="T27" fmla="*/ 22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4" h="244">
                    <a:moveTo>
                      <a:pt x="244" y="0"/>
                    </a:moveTo>
                    <a:lnTo>
                      <a:pt x="224" y="0"/>
                    </a:lnTo>
                    <a:lnTo>
                      <a:pt x="224" y="166"/>
                    </a:lnTo>
                    <a:lnTo>
                      <a:pt x="166" y="166"/>
                    </a:lnTo>
                    <a:lnTo>
                      <a:pt x="166" y="224"/>
                    </a:lnTo>
                    <a:lnTo>
                      <a:pt x="0" y="224"/>
                    </a:lnTo>
                    <a:lnTo>
                      <a:pt x="0" y="244"/>
                    </a:lnTo>
                    <a:lnTo>
                      <a:pt x="244" y="244"/>
                    </a:lnTo>
                    <a:lnTo>
                      <a:pt x="244" y="0"/>
                    </a:lnTo>
                    <a:close/>
                    <a:moveTo>
                      <a:pt x="185" y="224"/>
                    </a:moveTo>
                    <a:lnTo>
                      <a:pt x="185" y="185"/>
                    </a:lnTo>
                    <a:lnTo>
                      <a:pt x="224" y="185"/>
                    </a:lnTo>
                    <a:lnTo>
                      <a:pt x="224" y="224"/>
                    </a:lnTo>
                    <a:lnTo>
                      <a:pt x="185"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grpSp>
      </p:grpSp>
      <p:grpSp>
        <p:nvGrpSpPr>
          <p:cNvPr id="124" name="Group 123"/>
          <p:cNvGrpSpPr/>
          <p:nvPr/>
        </p:nvGrpSpPr>
        <p:grpSpPr>
          <a:xfrm>
            <a:off x="8251706" y="3992792"/>
            <a:ext cx="803730" cy="803730"/>
            <a:chOff x="6637894" y="2120048"/>
            <a:chExt cx="1016000" cy="1016000"/>
          </a:xfrm>
        </p:grpSpPr>
        <p:sp>
          <p:nvSpPr>
            <p:cNvPr id="125" name="Oval 124"/>
            <p:cNvSpPr/>
            <p:nvPr/>
          </p:nvSpPr>
          <p:spPr bwMode="auto">
            <a:xfrm>
              <a:off x="6637894" y="2120048"/>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dirty="0">
                <a:gradFill>
                  <a:gsLst>
                    <a:gs pos="1250">
                      <a:srgbClr val="505050"/>
                    </a:gs>
                    <a:gs pos="76000">
                      <a:srgbClr val="505050"/>
                    </a:gs>
                  </a:gsLst>
                  <a:lin ang="5400000" scaled="0"/>
                </a:gradFill>
              </a:endParaRPr>
            </a:p>
          </p:txBody>
        </p:sp>
        <p:grpSp>
          <p:nvGrpSpPr>
            <p:cNvPr id="126" name="Group 47"/>
            <p:cNvGrpSpPr>
              <a:grpSpLocks noChangeAspect="1"/>
            </p:cNvGrpSpPr>
            <p:nvPr/>
          </p:nvGrpSpPr>
          <p:grpSpPr bwMode="auto">
            <a:xfrm>
              <a:off x="6921898" y="2447928"/>
              <a:ext cx="447992" cy="360240"/>
              <a:chOff x="4379" y="1525"/>
              <a:chExt cx="291" cy="234"/>
            </a:xfrm>
            <a:solidFill>
              <a:srgbClr val="FFFFFF"/>
            </a:solidFill>
          </p:grpSpPr>
          <p:sp>
            <p:nvSpPr>
              <p:cNvPr id="127" name="Freeform 48"/>
              <p:cNvSpPr>
                <a:spLocks noEditPoints="1"/>
              </p:cNvSpPr>
              <p:nvPr/>
            </p:nvSpPr>
            <p:spPr bwMode="auto">
              <a:xfrm>
                <a:off x="4379" y="1525"/>
                <a:ext cx="97" cy="234"/>
              </a:xfrm>
              <a:custGeom>
                <a:avLst/>
                <a:gdLst>
                  <a:gd name="T0" fmla="*/ 19 w 97"/>
                  <a:gd name="T1" fmla="*/ 234 h 234"/>
                  <a:gd name="T2" fmla="*/ 78 w 97"/>
                  <a:gd name="T3" fmla="*/ 234 h 234"/>
                  <a:gd name="T4" fmla="*/ 78 w 97"/>
                  <a:gd name="T5" fmla="*/ 195 h 234"/>
                  <a:gd name="T6" fmla="*/ 97 w 97"/>
                  <a:gd name="T7" fmla="*/ 195 h 234"/>
                  <a:gd name="T8" fmla="*/ 97 w 97"/>
                  <a:gd name="T9" fmla="*/ 176 h 234"/>
                  <a:gd name="T10" fmla="*/ 78 w 97"/>
                  <a:gd name="T11" fmla="*/ 176 h 234"/>
                  <a:gd name="T12" fmla="*/ 78 w 97"/>
                  <a:gd name="T13" fmla="*/ 0 h 234"/>
                  <a:gd name="T14" fmla="*/ 19 w 97"/>
                  <a:gd name="T15" fmla="*/ 0 h 234"/>
                  <a:gd name="T16" fmla="*/ 19 w 97"/>
                  <a:gd name="T17" fmla="*/ 176 h 234"/>
                  <a:gd name="T18" fmla="*/ 0 w 97"/>
                  <a:gd name="T19" fmla="*/ 176 h 234"/>
                  <a:gd name="T20" fmla="*/ 0 w 97"/>
                  <a:gd name="T21" fmla="*/ 195 h 234"/>
                  <a:gd name="T22" fmla="*/ 19 w 97"/>
                  <a:gd name="T23" fmla="*/ 195 h 234"/>
                  <a:gd name="T24" fmla="*/ 19 w 97"/>
                  <a:gd name="T25" fmla="*/ 234 h 234"/>
                  <a:gd name="T26" fmla="*/ 39 w 97"/>
                  <a:gd name="T27" fmla="*/ 20 h 234"/>
                  <a:gd name="T28" fmla="*/ 58 w 97"/>
                  <a:gd name="T29" fmla="*/ 20 h 234"/>
                  <a:gd name="T30" fmla="*/ 58 w 97"/>
                  <a:gd name="T31" fmla="*/ 176 h 234"/>
                  <a:gd name="T32" fmla="*/ 39 w 97"/>
                  <a:gd name="T33" fmla="*/ 176 h 234"/>
                  <a:gd name="T34" fmla="*/ 39 w 97"/>
                  <a:gd name="T35" fmla="*/ 20 h 234"/>
                  <a:gd name="T36" fmla="*/ 58 w 97"/>
                  <a:gd name="T37" fmla="*/ 195 h 234"/>
                  <a:gd name="T38" fmla="*/ 58 w 97"/>
                  <a:gd name="T39" fmla="*/ 215 h 234"/>
                  <a:gd name="T40" fmla="*/ 39 w 97"/>
                  <a:gd name="T41" fmla="*/ 215 h 234"/>
                  <a:gd name="T42" fmla="*/ 39 w 97"/>
                  <a:gd name="T43" fmla="*/ 195 h 234"/>
                  <a:gd name="T44" fmla="*/ 58 w 97"/>
                  <a:gd name="T45" fmla="*/ 19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 h="234">
                    <a:moveTo>
                      <a:pt x="19" y="234"/>
                    </a:moveTo>
                    <a:lnTo>
                      <a:pt x="78" y="234"/>
                    </a:lnTo>
                    <a:lnTo>
                      <a:pt x="78" y="195"/>
                    </a:lnTo>
                    <a:lnTo>
                      <a:pt x="97" y="195"/>
                    </a:lnTo>
                    <a:lnTo>
                      <a:pt x="97" y="176"/>
                    </a:lnTo>
                    <a:lnTo>
                      <a:pt x="78" y="176"/>
                    </a:lnTo>
                    <a:lnTo>
                      <a:pt x="78" y="0"/>
                    </a:lnTo>
                    <a:lnTo>
                      <a:pt x="19" y="0"/>
                    </a:lnTo>
                    <a:lnTo>
                      <a:pt x="19" y="176"/>
                    </a:lnTo>
                    <a:lnTo>
                      <a:pt x="0" y="176"/>
                    </a:lnTo>
                    <a:lnTo>
                      <a:pt x="0" y="195"/>
                    </a:lnTo>
                    <a:lnTo>
                      <a:pt x="19" y="195"/>
                    </a:lnTo>
                    <a:lnTo>
                      <a:pt x="19" y="234"/>
                    </a:lnTo>
                    <a:close/>
                    <a:moveTo>
                      <a:pt x="39" y="20"/>
                    </a:moveTo>
                    <a:lnTo>
                      <a:pt x="58" y="20"/>
                    </a:lnTo>
                    <a:lnTo>
                      <a:pt x="58" y="176"/>
                    </a:lnTo>
                    <a:lnTo>
                      <a:pt x="39" y="176"/>
                    </a:lnTo>
                    <a:lnTo>
                      <a:pt x="39" y="20"/>
                    </a:lnTo>
                    <a:close/>
                    <a:moveTo>
                      <a:pt x="58" y="195"/>
                    </a:moveTo>
                    <a:lnTo>
                      <a:pt x="58" y="215"/>
                    </a:lnTo>
                    <a:lnTo>
                      <a:pt x="39" y="215"/>
                    </a:lnTo>
                    <a:lnTo>
                      <a:pt x="39" y="195"/>
                    </a:lnTo>
                    <a:lnTo>
                      <a:pt x="58"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28" name="Freeform 49"/>
              <p:cNvSpPr>
                <a:spLocks noEditPoints="1"/>
              </p:cNvSpPr>
              <p:nvPr/>
            </p:nvSpPr>
            <p:spPr bwMode="auto">
              <a:xfrm>
                <a:off x="4476" y="1525"/>
                <a:ext cx="97" cy="234"/>
              </a:xfrm>
              <a:custGeom>
                <a:avLst/>
                <a:gdLst>
                  <a:gd name="T0" fmla="*/ 19 w 97"/>
                  <a:gd name="T1" fmla="*/ 234 h 234"/>
                  <a:gd name="T2" fmla="*/ 78 w 97"/>
                  <a:gd name="T3" fmla="*/ 234 h 234"/>
                  <a:gd name="T4" fmla="*/ 78 w 97"/>
                  <a:gd name="T5" fmla="*/ 127 h 234"/>
                  <a:gd name="T6" fmla="*/ 97 w 97"/>
                  <a:gd name="T7" fmla="*/ 127 h 234"/>
                  <a:gd name="T8" fmla="*/ 97 w 97"/>
                  <a:gd name="T9" fmla="*/ 107 h 234"/>
                  <a:gd name="T10" fmla="*/ 78 w 97"/>
                  <a:gd name="T11" fmla="*/ 107 h 234"/>
                  <a:gd name="T12" fmla="*/ 78 w 97"/>
                  <a:gd name="T13" fmla="*/ 0 h 234"/>
                  <a:gd name="T14" fmla="*/ 19 w 97"/>
                  <a:gd name="T15" fmla="*/ 0 h 234"/>
                  <a:gd name="T16" fmla="*/ 19 w 97"/>
                  <a:gd name="T17" fmla="*/ 107 h 234"/>
                  <a:gd name="T18" fmla="*/ 0 w 97"/>
                  <a:gd name="T19" fmla="*/ 107 h 234"/>
                  <a:gd name="T20" fmla="*/ 0 w 97"/>
                  <a:gd name="T21" fmla="*/ 127 h 234"/>
                  <a:gd name="T22" fmla="*/ 19 w 97"/>
                  <a:gd name="T23" fmla="*/ 127 h 234"/>
                  <a:gd name="T24" fmla="*/ 19 w 97"/>
                  <a:gd name="T25" fmla="*/ 234 h 234"/>
                  <a:gd name="T26" fmla="*/ 58 w 97"/>
                  <a:gd name="T27" fmla="*/ 215 h 234"/>
                  <a:gd name="T28" fmla="*/ 39 w 97"/>
                  <a:gd name="T29" fmla="*/ 215 h 234"/>
                  <a:gd name="T30" fmla="*/ 39 w 97"/>
                  <a:gd name="T31" fmla="*/ 127 h 234"/>
                  <a:gd name="T32" fmla="*/ 58 w 97"/>
                  <a:gd name="T33" fmla="*/ 127 h 234"/>
                  <a:gd name="T34" fmla="*/ 58 w 97"/>
                  <a:gd name="T35" fmla="*/ 215 h 234"/>
                  <a:gd name="T36" fmla="*/ 39 w 97"/>
                  <a:gd name="T37" fmla="*/ 20 h 234"/>
                  <a:gd name="T38" fmla="*/ 58 w 97"/>
                  <a:gd name="T39" fmla="*/ 20 h 234"/>
                  <a:gd name="T40" fmla="*/ 58 w 97"/>
                  <a:gd name="T41" fmla="*/ 107 h 234"/>
                  <a:gd name="T42" fmla="*/ 39 w 97"/>
                  <a:gd name="T43" fmla="*/ 107 h 234"/>
                  <a:gd name="T44" fmla="*/ 39 w 97"/>
                  <a:gd name="T45" fmla="*/ 2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 h="234">
                    <a:moveTo>
                      <a:pt x="19" y="234"/>
                    </a:moveTo>
                    <a:lnTo>
                      <a:pt x="78" y="234"/>
                    </a:lnTo>
                    <a:lnTo>
                      <a:pt x="78" y="127"/>
                    </a:lnTo>
                    <a:lnTo>
                      <a:pt x="97" y="127"/>
                    </a:lnTo>
                    <a:lnTo>
                      <a:pt x="97" y="107"/>
                    </a:lnTo>
                    <a:lnTo>
                      <a:pt x="78" y="107"/>
                    </a:lnTo>
                    <a:lnTo>
                      <a:pt x="78" y="0"/>
                    </a:lnTo>
                    <a:lnTo>
                      <a:pt x="19" y="0"/>
                    </a:lnTo>
                    <a:lnTo>
                      <a:pt x="19" y="107"/>
                    </a:lnTo>
                    <a:lnTo>
                      <a:pt x="0" y="107"/>
                    </a:lnTo>
                    <a:lnTo>
                      <a:pt x="0" y="127"/>
                    </a:lnTo>
                    <a:lnTo>
                      <a:pt x="19" y="127"/>
                    </a:lnTo>
                    <a:lnTo>
                      <a:pt x="19" y="234"/>
                    </a:lnTo>
                    <a:close/>
                    <a:moveTo>
                      <a:pt x="58" y="215"/>
                    </a:moveTo>
                    <a:lnTo>
                      <a:pt x="39" y="215"/>
                    </a:lnTo>
                    <a:lnTo>
                      <a:pt x="39" y="127"/>
                    </a:lnTo>
                    <a:lnTo>
                      <a:pt x="58" y="127"/>
                    </a:lnTo>
                    <a:lnTo>
                      <a:pt x="58" y="215"/>
                    </a:lnTo>
                    <a:close/>
                    <a:moveTo>
                      <a:pt x="39" y="20"/>
                    </a:moveTo>
                    <a:lnTo>
                      <a:pt x="58" y="20"/>
                    </a:lnTo>
                    <a:lnTo>
                      <a:pt x="58" y="107"/>
                    </a:lnTo>
                    <a:lnTo>
                      <a:pt x="39" y="107"/>
                    </a:lnTo>
                    <a:lnTo>
                      <a:pt x="39"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29" name="Freeform 50"/>
              <p:cNvSpPr>
                <a:spLocks noEditPoints="1"/>
              </p:cNvSpPr>
              <p:nvPr/>
            </p:nvSpPr>
            <p:spPr bwMode="auto">
              <a:xfrm>
                <a:off x="4573" y="1525"/>
                <a:ext cx="97" cy="234"/>
              </a:xfrm>
              <a:custGeom>
                <a:avLst/>
                <a:gdLst>
                  <a:gd name="T0" fmla="*/ 97 w 97"/>
                  <a:gd name="T1" fmla="*/ 39 h 234"/>
                  <a:gd name="T2" fmla="*/ 78 w 97"/>
                  <a:gd name="T3" fmla="*/ 39 h 234"/>
                  <a:gd name="T4" fmla="*/ 78 w 97"/>
                  <a:gd name="T5" fmla="*/ 0 h 234"/>
                  <a:gd name="T6" fmla="*/ 19 w 97"/>
                  <a:gd name="T7" fmla="*/ 0 h 234"/>
                  <a:gd name="T8" fmla="*/ 19 w 97"/>
                  <a:gd name="T9" fmla="*/ 39 h 234"/>
                  <a:gd name="T10" fmla="*/ 0 w 97"/>
                  <a:gd name="T11" fmla="*/ 39 h 234"/>
                  <a:gd name="T12" fmla="*/ 0 w 97"/>
                  <a:gd name="T13" fmla="*/ 59 h 234"/>
                  <a:gd name="T14" fmla="*/ 19 w 97"/>
                  <a:gd name="T15" fmla="*/ 59 h 234"/>
                  <a:gd name="T16" fmla="*/ 19 w 97"/>
                  <a:gd name="T17" fmla="*/ 234 h 234"/>
                  <a:gd name="T18" fmla="*/ 78 w 97"/>
                  <a:gd name="T19" fmla="*/ 234 h 234"/>
                  <a:gd name="T20" fmla="*/ 78 w 97"/>
                  <a:gd name="T21" fmla="*/ 59 h 234"/>
                  <a:gd name="T22" fmla="*/ 97 w 97"/>
                  <a:gd name="T23" fmla="*/ 59 h 234"/>
                  <a:gd name="T24" fmla="*/ 97 w 97"/>
                  <a:gd name="T25" fmla="*/ 39 h 234"/>
                  <a:gd name="T26" fmla="*/ 39 w 97"/>
                  <a:gd name="T27" fmla="*/ 20 h 234"/>
                  <a:gd name="T28" fmla="*/ 58 w 97"/>
                  <a:gd name="T29" fmla="*/ 20 h 234"/>
                  <a:gd name="T30" fmla="*/ 58 w 97"/>
                  <a:gd name="T31" fmla="*/ 39 h 234"/>
                  <a:gd name="T32" fmla="*/ 39 w 97"/>
                  <a:gd name="T33" fmla="*/ 39 h 234"/>
                  <a:gd name="T34" fmla="*/ 39 w 97"/>
                  <a:gd name="T35" fmla="*/ 20 h 234"/>
                  <a:gd name="T36" fmla="*/ 58 w 97"/>
                  <a:gd name="T37" fmla="*/ 215 h 234"/>
                  <a:gd name="T38" fmla="*/ 39 w 97"/>
                  <a:gd name="T39" fmla="*/ 215 h 234"/>
                  <a:gd name="T40" fmla="*/ 39 w 97"/>
                  <a:gd name="T41" fmla="*/ 59 h 234"/>
                  <a:gd name="T42" fmla="*/ 58 w 97"/>
                  <a:gd name="T43" fmla="*/ 59 h 234"/>
                  <a:gd name="T44" fmla="*/ 58 w 97"/>
                  <a:gd name="T45"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 h="234">
                    <a:moveTo>
                      <a:pt x="97" y="39"/>
                    </a:moveTo>
                    <a:lnTo>
                      <a:pt x="78" y="39"/>
                    </a:lnTo>
                    <a:lnTo>
                      <a:pt x="78" y="0"/>
                    </a:lnTo>
                    <a:lnTo>
                      <a:pt x="19" y="0"/>
                    </a:lnTo>
                    <a:lnTo>
                      <a:pt x="19" y="39"/>
                    </a:lnTo>
                    <a:lnTo>
                      <a:pt x="0" y="39"/>
                    </a:lnTo>
                    <a:lnTo>
                      <a:pt x="0" y="59"/>
                    </a:lnTo>
                    <a:lnTo>
                      <a:pt x="19" y="59"/>
                    </a:lnTo>
                    <a:lnTo>
                      <a:pt x="19" y="234"/>
                    </a:lnTo>
                    <a:lnTo>
                      <a:pt x="78" y="234"/>
                    </a:lnTo>
                    <a:lnTo>
                      <a:pt x="78" y="59"/>
                    </a:lnTo>
                    <a:lnTo>
                      <a:pt x="97" y="59"/>
                    </a:lnTo>
                    <a:lnTo>
                      <a:pt x="97" y="39"/>
                    </a:lnTo>
                    <a:close/>
                    <a:moveTo>
                      <a:pt x="39" y="20"/>
                    </a:moveTo>
                    <a:lnTo>
                      <a:pt x="58" y="20"/>
                    </a:lnTo>
                    <a:lnTo>
                      <a:pt x="58" y="39"/>
                    </a:lnTo>
                    <a:lnTo>
                      <a:pt x="39" y="39"/>
                    </a:lnTo>
                    <a:lnTo>
                      <a:pt x="39" y="20"/>
                    </a:lnTo>
                    <a:close/>
                    <a:moveTo>
                      <a:pt x="58" y="215"/>
                    </a:moveTo>
                    <a:lnTo>
                      <a:pt x="39" y="215"/>
                    </a:lnTo>
                    <a:lnTo>
                      <a:pt x="39" y="59"/>
                    </a:lnTo>
                    <a:lnTo>
                      <a:pt x="58" y="59"/>
                    </a:lnTo>
                    <a:lnTo>
                      <a:pt x="58" y="2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grpSp>
      </p:grpSp>
      <p:grpSp>
        <p:nvGrpSpPr>
          <p:cNvPr id="106" name="Group 105"/>
          <p:cNvGrpSpPr/>
          <p:nvPr/>
        </p:nvGrpSpPr>
        <p:grpSpPr>
          <a:xfrm>
            <a:off x="274639" y="1332144"/>
            <a:ext cx="5083718" cy="1559462"/>
            <a:chOff x="2673185" y="1454808"/>
            <a:chExt cx="4978426" cy="1451100"/>
          </a:xfrm>
        </p:grpSpPr>
        <p:sp>
          <p:nvSpPr>
            <p:cNvPr id="107" name="Rectangle 106"/>
            <p:cNvSpPr/>
            <p:nvPr/>
          </p:nvSpPr>
          <p:spPr>
            <a:xfrm>
              <a:off x="2673185" y="1454808"/>
              <a:ext cx="2406282" cy="1365184"/>
            </a:xfrm>
            <a:prstGeom prst="rect">
              <a:avLst/>
            </a:prstGeom>
          </p:spPr>
          <p:txBody>
            <a:bodyPr wrap="square">
              <a:spAutoFit/>
            </a:bodyPr>
            <a:lstStyle/>
            <a:p>
              <a:pPr defTabSz="914400">
                <a:lnSpc>
                  <a:spcPct val="90000"/>
                </a:lnSpc>
                <a:defRPr/>
              </a:pPr>
              <a:r>
                <a:rPr lang="en-US" sz="8000" kern="0" dirty="0">
                  <a:gradFill>
                    <a:gsLst>
                      <a:gs pos="1250">
                        <a:srgbClr val="0078D7"/>
                      </a:gs>
                      <a:gs pos="76000">
                        <a:srgbClr val="0078D7"/>
                      </a:gs>
                    </a:gsLst>
                    <a:lin ang="5400000" scaled="0"/>
                  </a:gradFill>
                  <a:latin typeface="Segoe UI Light"/>
                </a:rPr>
                <a:t>75%</a:t>
              </a:r>
              <a:endParaRPr lang="en-US" sz="3200" kern="0" dirty="0">
                <a:gradFill>
                  <a:gsLst>
                    <a:gs pos="1250">
                      <a:srgbClr val="0078D7"/>
                    </a:gs>
                    <a:gs pos="76000">
                      <a:srgbClr val="0078D7"/>
                    </a:gs>
                  </a:gsLst>
                  <a:lin ang="5400000" scaled="0"/>
                </a:gradFill>
                <a:cs typeface="Segoe UI" panose="020B0502040204020203" pitchFamily="34" charset="0"/>
              </a:endParaRPr>
            </a:p>
          </p:txBody>
        </p:sp>
        <p:sp>
          <p:nvSpPr>
            <p:cNvPr id="108" name="Rectangle 107"/>
            <p:cNvSpPr/>
            <p:nvPr/>
          </p:nvSpPr>
          <p:spPr>
            <a:xfrm>
              <a:off x="4666335" y="1540724"/>
              <a:ext cx="2985276" cy="1365184"/>
            </a:xfrm>
            <a:prstGeom prst="rect">
              <a:avLst/>
            </a:prstGeom>
          </p:spPr>
          <p:txBody>
            <a:bodyPr wrap="square">
              <a:spAutoFit/>
            </a:bodyPr>
            <a:lstStyle/>
            <a:p>
              <a:pPr defTabSz="914400">
                <a:lnSpc>
                  <a:spcPct val="90000"/>
                </a:lnSpc>
                <a:defRPr/>
              </a:pPr>
              <a:r>
                <a:rPr lang="en-US" sz="1600" kern="0" dirty="0">
                  <a:gradFill>
                    <a:gsLst>
                      <a:gs pos="1250">
                        <a:srgbClr val="505050"/>
                      </a:gs>
                      <a:gs pos="76000">
                        <a:srgbClr val="505050"/>
                      </a:gs>
                    </a:gsLst>
                    <a:lin ang="5400000" scaled="0"/>
                  </a:gradFill>
                </a:rPr>
                <a:t>of the cars shipped globally by </a:t>
              </a:r>
              <a:r>
                <a:rPr lang="en-US" sz="1600" b="1" kern="0" dirty="0">
                  <a:gradFill>
                    <a:gsLst>
                      <a:gs pos="1250">
                        <a:srgbClr val="505050"/>
                      </a:gs>
                      <a:gs pos="76000">
                        <a:srgbClr val="505050"/>
                      </a:gs>
                    </a:gsLst>
                    <a:lin ang="5400000" scaled="0"/>
                  </a:gradFill>
                </a:rPr>
                <a:t>2020</a:t>
              </a:r>
              <a:r>
                <a:rPr lang="en-US" sz="1600" kern="0" dirty="0">
                  <a:gradFill>
                    <a:gsLst>
                      <a:gs pos="1250">
                        <a:srgbClr val="505050"/>
                      </a:gs>
                      <a:gs pos="76000">
                        <a:srgbClr val="505050"/>
                      </a:gs>
                    </a:gsLst>
                    <a:lin ang="5400000" scaled="0"/>
                  </a:gradFill>
                </a:rPr>
                <a:t> will be built with the necessary hardware to connect to the Internet</a:t>
              </a:r>
            </a:p>
          </p:txBody>
        </p:sp>
      </p:grpSp>
      <p:sp>
        <p:nvSpPr>
          <p:cNvPr id="2" name="TextBox 1"/>
          <p:cNvSpPr txBox="1"/>
          <p:nvPr/>
        </p:nvSpPr>
        <p:spPr>
          <a:xfrm>
            <a:off x="258983" y="2773916"/>
            <a:ext cx="6582187" cy="738664"/>
          </a:xfrm>
          <a:prstGeom prst="rect">
            <a:avLst/>
          </a:prstGeom>
          <a:noFill/>
        </p:spPr>
        <p:txBody>
          <a:bodyPr wrap="none" lIns="182880" tIns="146304" rIns="182880" bIns="146304" rtlCol="0">
            <a:spAutoFit/>
          </a:bodyPr>
          <a:lstStyle/>
          <a:p>
            <a:pPr>
              <a:lnSpc>
                <a:spcPct val="90000"/>
              </a:lnSpc>
              <a:spcAft>
                <a:spcPts val="600"/>
              </a:spcAft>
            </a:pPr>
            <a:r>
              <a:rPr lang="en-US" sz="3200" dirty="0">
                <a:gradFill>
                  <a:gsLst>
                    <a:gs pos="2917">
                      <a:srgbClr val="505050"/>
                    </a:gs>
                    <a:gs pos="30000">
                      <a:srgbClr val="505050"/>
                    </a:gs>
                  </a:gsLst>
                  <a:lin ang="5400000" scaled="0"/>
                </a:gradFill>
              </a:rPr>
              <a:t>So what can we do with that data?</a:t>
            </a:r>
          </a:p>
        </p:txBody>
      </p:sp>
      <p:sp>
        <p:nvSpPr>
          <p:cNvPr id="71" name="TextBox 70"/>
          <p:cNvSpPr txBox="1"/>
          <p:nvPr/>
        </p:nvSpPr>
        <p:spPr>
          <a:xfrm>
            <a:off x="9011823" y="2692077"/>
            <a:ext cx="3094565" cy="1064907"/>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rgbClr val="505050"/>
                    </a:gs>
                    <a:gs pos="30000">
                      <a:srgbClr val="505050"/>
                    </a:gs>
                  </a:gsLst>
                  <a:lin ang="5400000" scaled="0"/>
                </a:gradFill>
              </a:rPr>
              <a:t>Vehicle diagnostic</a:t>
            </a:r>
          </a:p>
          <a:p>
            <a:pPr>
              <a:lnSpc>
                <a:spcPct val="90000"/>
              </a:lnSpc>
              <a:spcAft>
                <a:spcPts val="600"/>
              </a:spcAft>
            </a:pPr>
            <a:r>
              <a:rPr lang="en-US" sz="1600" i="1" dirty="0">
                <a:solidFill>
                  <a:schemeClr val="accent1"/>
                </a:solidFill>
              </a:rPr>
              <a:t>What parts need maintenance </a:t>
            </a:r>
            <a:br>
              <a:rPr lang="en-US" sz="1600" i="1" dirty="0">
                <a:solidFill>
                  <a:schemeClr val="accent1"/>
                </a:solidFill>
              </a:rPr>
            </a:br>
            <a:r>
              <a:rPr lang="en-US" sz="1600" i="1" dirty="0">
                <a:solidFill>
                  <a:schemeClr val="accent1"/>
                </a:solidFill>
              </a:rPr>
              <a:t>first on all Ford F-150’s sold?</a:t>
            </a:r>
          </a:p>
        </p:txBody>
      </p:sp>
      <p:sp>
        <p:nvSpPr>
          <p:cNvPr id="72" name="TextBox 71"/>
          <p:cNvSpPr txBox="1"/>
          <p:nvPr/>
        </p:nvSpPr>
        <p:spPr>
          <a:xfrm>
            <a:off x="9011823" y="5089168"/>
            <a:ext cx="3266792" cy="1064907"/>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rgbClr val="505050"/>
                    </a:gs>
                    <a:gs pos="30000">
                      <a:srgbClr val="505050"/>
                    </a:gs>
                  </a:gsLst>
                  <a:lin ang="5400000" scaled="0"/>
                </a:gradFill>
              </a:rPr>
              <a:t>Usage-based insurance</a:t>
            </a:r>
          </a:p>
          <a:p>
            <a:pPr>
              <a:lnSpc>
                <a:spcPct val="90000"/>
              </a:lnSpc>
              <a:spcAft>
                <a:spcPts val="600"/>
              </a:spcAft>
            </a:pPr>
            <a:r>
              <a:rPr lang="en-US" sz="1600" i="1" dirty="0">
                <a:solidFill>
                  <a:schemeClr val="accent1"/>
                </a:solidFill>
              </a:rPr>
              <a:t>Are there any vehicles below the </a:t>
            </a:r>
            <a:br>
              <a:rPr lang="en-US" sz="1600" i="1" dirty="0">
                <a:solidFill>
                  <a:schemeClr val="accent1"/>
                </a:solidFill>
              </a:rPr>
            </a:br>
            <a:r>
              <a:rPr lang="en-US" sz="1600" i="1" dirty="0">
                <a:solidFill>
                  <a:schemeClr val="accent1"/>
                </a:solidFill>
              </a:rPr>
              <a:t>insurance price break threshold?</a:t>
            </a:r>
          </a:p>
        </p:txBody>
      </p:sp>
      <p:sp>
        <p:nvSpPr>
          <p:cNvPr id="74" name="TextBox 73"/>
          <p:cNvSpPr txBox="1"/>
          <p:nvPr/>
        </p:nvSpPr>
        <p:spPr>
          <a:xfrm>
            <a:off x="4582972" y="3862204"/>
            <a:ext cx="3485891" cy="1064907"/>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rgbClr val="505050"/>
                    </a:gs>
                    <a:gs pos="30000">
                      <a:srgbClr val="505050"/>
                    </a:gs>
                  </a:gsLst>
                  <a:lin ang="5400000" scaled="0"/>
                </a:gradFill>
              </a:rPr>
              <a:t>Fleet management</a:t>
            </a:r>
          </a:p>
          <a:p>
            <a:pPr>
              <a:lnSpc>
                <a:spcPct val="90000"/>
              </a:lnSpc>
              <a:spcAft>
                <a:spcPts val="600"/>
              </a:spcAft>
            </a:pPr>
            <a:r>
              <a:rPr lang="en-US" sz="1600" i="1" dirty="0">
                <a:solidFill>
                  <a:schemeClr val="accent1"/>
                </a:solidFill>
              </a:rPr>
              <a:t>Show me the location of all </a:t>
            </a:r>
            <a:br>
              <a:rPr lang="en-US" sz="1600" i="1" dirty="0">
                <a:solidFill>
                  <a:schemeClr val="accent1"/>
                </a:solidFill>
              </a:rPr>
            </a:br>
            <a:r>
              <a:rPr lang="en-US" sz="1600" i="1" dirty="0">
                <a:solidFill>
                  <a:schemeClr val="accent1"/>
                </a:solidFill>
              </a:rPr>
              <a:t>vehicles within 50mi of my location</a:t>
            </a:r>
          </a:p>
        </p:txBody>
      </p:sp>
      <p:sp>
        <p:nvSpPr>
          <p:cNvPr id="75" name="TextBox 74"/>
          <p:cNvSpPr txBox="1"/>
          <p:nvPr/>
        </p:nvSpPr>
        <p:spPr>
          <a:xfrm>
            <a:off x="902989" y="3959153"/>
            <a:ext cx="1388842" cy="871008"/>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rgbClr val="505050"/>
                    </a:gs>
                    <a:gs pos="30000">
                      <a:srgbClr val="505050"/>
                    </a:gs>
                  </a:gsLst>
                  <a:lin ang="5400000" scaled="0"/>
                </a:gradFill>
              </a:rPr>
              <a:t>Roadside </a:t>
            </a:r>
          </a:p>
          <a:p>
            <a:pPr>
              <a:lnSpc>
                <a:spcPct val="90000"/>
              </a:lnSpc>
              <a:spcAft>
                <a:spcPts val="600"/>
              </a:spcAft>
            </a:pPr>
            <a:r>
              <a:rPr lang="en-US" dirty="0">
                <a:gradFill>
                  <a:gsLst>
                    <a:gs pos="2917">
                      <a:srgbClr val="505050"/>
                    </a:gs>
                    <a:gs pos="30000">
                      <a:srgbClr val="505050"/>
                    </a:gs>
                  </a:gsLst>
                  <a:lin ang="5400000" scaled="0"/>
                </a:gradFill>
              </a:rPr>
              <a:t>assistance</a:t>
            </a:r>
          </a:p>
        </p:txBody>
      </p:sp>
      <p:sp>
        <p:nvSpPr>
          <p:cNvPr id="76" name="TextBox 75"/>
          <p:cNvSpPr txBox="1"/>
          <p:nvPr/>
        </p:nvSpPr>
        <p:spPr>
          <a:xfrm>
            <a:off x="902989" y="5089168"/>
            <a:ext cx="3083216" cy="1064907"/>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rgbClr val="505050"/>
                    </a:gs>
                    <a:gs pos="30000">
                      <a:srgbClr val="505050"/>
                    </a:gs>
                  </a:gsLst>
                  <a:lin ang="5400000" scaled="0"/>
                </a:gradFill>
              </a:rPr>
              <a:t>Eco-driving</a:t>
            </a:r>
          </a:p>
          <a:p>
            <a:pPr>
              <a:lnSpc>
                <a:spcPct val="90000"/>
              </a:lnSpc>
              <a:spcAft>
                <a:spcPts val="600"/>
              </a:spcAft>
            </a:pPr>
            <a:r>
              <a:rPr lang="en-US" sz="1600" i="1" dirty="0">
                <a:solidFill>
                  <a:schemeClr val="accent1"/>
                </a:solidFill>
              </a:rPr>
              <a:t>How does the reported </a:t>
            </a:r>
            <a:br>
              <a:rPr lang="en-US" sz="1600" i="1" dirty="0">
                <a:solidFill>
                  <a:schemeClr val="accent1"/>
                </a:solidFill>
              </a:rPr>
            </a:br>
            <a:r>
              <a:rPr lang="en-US" sz="1600" i="1" dirty="0">
                <a:solidFill>
                  <a:schemeClr val="accent1"/>
                </a:solidFill>
              </a:rPr>
              <a:t>MPG compare to actual MPG? </a:t>
            </a:r>
          </a:p>
        </p:txBody>
      </p:sp>
      <p:sp>
        <p:nvSpPr>
          <p:cNvPr id="77" name="TextBox 76"/>
          <p:cNvSpPr txBox="1"/>
          <p:nvPr/>
        </p:nvSpPr>
        <p:spPr>
          <a:xfrm>
            <a:off x="4644425" y="5089168"/>
            <a:ext cx="3685304" cy="1064907"/>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rgbClr val="505050"/>
                    </a:gs>
                    <a:gs pos="30000">
                      <a:srgbClr val="505050"/>
                    </a:gs>
                  </a:gsLst>
                  <a:lin ang="5400000" scaled="0"/>
                </a:gradFill>
              </a:rPr>
              <a:t>Engine performance remapping</a:t>
            </a:r>
          </a:p>
          <a:p>
            <a:pPr>
              <a:lnSpc>
                <a:spcPct val="90000"/>
              </a:lnSpc>
              <a:spcAft>
                <a:spcPts val="600"/>
              </a:spcAft>
            </a:pPr>
            <a:r>
              <a:rPr lang="en-US" sz="1600" i="1" dirty="0">
                <a:solidFill>
                  <a:schemeClr val="accent1"/>
                </a:solidFill>
              </a:rPr>
              <a:t>What parts of the engine are </a:t>
            </a:r>
            <a:br>
              <a:rPr lang="en-US" sz="1600" i="1" dirty="0">
                <a:solidFill>
                  <a:schemeClr val="accent1"/>
                </a:solidFill>
              </a:rPr>
            </a:br>
            <a:r>
              <a:rPr lang="en-US" sz="1600" i="1" dirty="0">
                <a:solidFill>
                  <a:schemeClr val="accent1"/>
                </a:solidFill>
              </a:rPr>
              <a:t>not meeting requirements?</a:t>
            </a:r>
          </a:p>
        </p:txBody>
      </p:sp>
      <p:sp>
        <p:nvSpPr>
          <p:cNvPr id="78" name="TextBox 77"/>
          <p:cNvSpPr txBox="1"/>
          <p:nvPr/>
        </p:nvSpPr>
        <p:spPr>
          <a:xfrm>
            <a:off x="8974059" y="3862204"/>
            <a:ext cx="2915478" cy="1064907"/>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rgbClr val="505050"/>
                    </a:gs>
                    <a:gs pos="30000">
                      <a:srgbClr val="505050"/>
                    </a:gs>
                  </a:gsLst>
                  <a:lin ang="5400000" scaled="0"/>
                </a:gradFill>
              </a:rPr>
              <a:t>Engine emission control</a:t>
            </a:r>
          </a:p>
          <a:p>
            <a:pPr>
              <a:lnSpc>
                <a:spcPct val="90000"/>
              </a:lnSpc>
              <a:spcAft>
                <a:spcPts val="600"/>
              </a:spcAft>
            </a:pPr>
            <a:r>
              <a:rPr lang="en-US" sz="1600" i="1" dirty="0">
                <a:solidFill>
                  <a:schemeClr val="accent1"/>
                </a:solidFill>
              </a:rPr>
              <a:t>What is the emissions status </a:t>
            </a:r>
            <a:br>
              <a:rPr lang="en-US" sz="1600" i="1" dirty="0">
                <a:solidFill>
                  <a:schemeClr val="accent1"/>
                </a:solidFill>
              </a:rPr>
            </a:br>
            <a:r>
              <a:rPr lang="en-US" sz="1600" i="1" dirty="0">
                <a:solidFill>
                  <a:schemeClr val="accent1"/>
                </a:solidFill>
              </a:rPr>
              <a:t>of vehicle B204?</a:t>
            </a:r>
          </a:p>
        </p:txBody>
      </p:sp>
    </p:spTree>
    <p:extLst>
      <p:ext uri="{BB962C8B-B14F-4D97-AF65-F5344CB8AC3E}">
        <p14:creationId xmlns:p14="http://schemas.microsoft.com/office/powerpoint/2010/main" val="3944965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Cortana Intelligence Suite in action</a:t>
            </a:r>
          </a:p>
        </p:txBody>
      </p:sp>
      <p:sp>
        <p:nvSpPr>
          <p:cNvPr id="6" name="Rectangle 5"/>
          <p:cNvSpPr/>
          <p:nvPr/>
        </p:nvSpPr>
        <p:spPr bwMode="auto">
          <a:xfrm>
            <a:off x="457201" y="1028409"/>
            <a:ext cx="11277600" cy="5303837"/>
          </a:xfrm>
          <a:prstGeom prst="rect">
            <a:avLst/>
          </a:prstGeom>
          <a:solidFill>
            <a:srgbClr val="0072C6"/>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550165" y="1546357"/>
            <a:ext cx="11091672" cy="4694289"/>
          </a:xfrm>
          <a:prstGeom prst="rect">
            <a:avLst/>
          </a:prstGeom>
          <a:solidFill>
            <a:schemeClr val="tx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Box 7"/>
          <p:cNvSpPr txBox="1"/>
          <p:nvPr/>
        </p:nvSpPr>
        <p:spPr>
          <a:xfrm>
            <a:off x="531250" y="1140346"/>
            <a:ext cx="1365310" cy="276999"/>
          </a:xfrm>
          <a:prstGeom prst="rect">
            <a:avLst/>
          </a:prstGeom>
          <a:noFill/>
        </p:spPr>
        <p:txBody>
          <a:bodyPr wrap="none" lIns="0" tIns="0" rIns="0" bIns="0" rtlCol="0">
            <a:spAutoFit/>
          </a:bodyPr>
          <a:lstStyle/>
          <a:p>
            <a:pPr algn="ctr"/>
            <a:r>
              <a:rPr lang="en-US" dirty="0">
                <a:latin typeface="Segoe UI Semibold" panose="020B0702040204020203" pitchFamily="34" charset="0"/>
                <a:cs typeface="Segoe UI Semibold" panose="020B0702040204020203" pitchFamily="34" charset="0"/>
              </a:rPr>
              <a:t>Data Sources</a:t>
            </a:r>
          </a:p>
        </p:txBody>
      </p:sp>
      <p:sp>
        <p:nvSpPr>
          <p:cNvPr id="9" name="TextBox 8"/>
          <p:cNvSpPr txBox="1"/>
          <p:nvPr/>
        </p:nvSpPr>
        <p:spPr>
          <a:xfrm>
            <a:off x="2416376" y="1140346"/>
            <a:ext cx="623569" cy="276999"/>
          </a:xfrm>
          <a:prstGeom prst="rect">
            <a:avLst/>
          </a:prstGeom>
          <a:noFill/>
        </p:spPr>
        <p:txBody>
          <a:bodyPr wrap="none" lIns="0" tIns="0" rIns="0" bIns="0" rtlCol="0">
            <a:spAutoFit/>
          </a:bodyPr>
          <a:lstStyle/>
          <a:p>
            <a:pPr algn="ctr"/>
            <a:r>
              <a:rPr lang="en-US" dirty="0"/>
              <a:t>Ingest</a:t>
            </a:r>
          </a:p>
        </p:txBody>
      </p:sp>
      <p:sp>
        <p:nvSpPr>
          <p:cNvPr id="10" name="TextBox 9"/>
          <p:cNvSpPr txBox="1"/>
          <p:nvPr/>
        </p:nvSpPr>
        <p:spPr>
          <a:xfrm>
            <a:off x="4350049" y="1140346"/>
            <a:ext cx="774829" cy="276999"/>
          </a:xfrm>
          <a:prstGeom prst="rect">
            <a:avLst/>
          </a:prstGeom>
          <a:noFill/>
        </p:spPr>
        <p:txBody>
          <a:bodyPr wrap="none" lIns="0" tIns="0" rIns="0" bIns="0" rtlCol="0">
            <a:spAutoFit/>
          </a:bodyPr>
          <a:lstStyle/>
          <a:p>
            <a:pPr algn="ctr"/>
            <a:r>
              <a:rPr lang="en-US" dirty="0"/>
              <a:t>Prepare</a:t>
            </a:r>
          </a:p>
        </p:txBody>
      </p:sp>
      <p:sp>
        <p:nvSpPr>
          <p:cNvPr id="11" name="TextBox 10"/>
          <p:cNvSpPr txBox="1"/>
          <p:nvPr/>
        </p:nvSpPr>
        <p:spPr>
          <a:xfrm>
            <a:off x="6310827" y="1140346"/>
            <a:ext cx="788678" cy="276999"/>
          </a:xfrm>
          <a:prstGeom prst="rect">
            <a:avLst/>
          </a:prstGeom>
          <a:noFill/>
        </p:spPr>
        <p:txBody>
          <a:bodyPr wrap="none" lIns="0" tIns="0" rIns="0" bIns="0" rtlCol="0">
            <a:spAutoFit/>
          </a:bodyPr>
          <a:lstStyle/>
          <a:p>
            <a:pPr algn="ctr"/>
            <a:r>
              <a:rPr lang="en-US" dirty="0"/>
              <a:t>Analyze</a:t>
            </a:r>
          </a:p>
        </p:txBody>
      </p:sp>
      <p:sp>
        <p:nvSpPr>
          <p:cNvPr id="12" name="TextBox 11"/>
          <p:cNvSpPr txBox="1"/>
          <p:nvPr/>
        </p:nvSpPr>
        <p:spPr>
          <a:xfrm>
            <a:off x="8224192" y="1140346"/>
            <a:ext cx="735779" cy="276999"/>
          </a:xfrm>
          <a:prstGeom prst="rect">
            <a:avLst/>
          </a:prstGeom>
          <a:noFill/>
        </p:spPr>
        <p:txBody>
          <a:bodyPr wrap="none" lIns="0" tIns="0" rIns="0" bIns="0" rtlCol="0">
            <a:spAutoFit/>
          </a:bodyPr>
          <a:lstStyle/>
          <a:p>
            <a:pPr algn="ctr"/>
            <a:r>
              <a:rPr lang="en-US" dirty="0"/>
              <a:t>Publish</a:t>
            </a:r>
          </a:p>
        </p:txBody>
      </p:sp>
      <p:sp>
        <p:nvSpPr>
          <p:cNvPr id="13" name="TextBox 12"/>
          <p:cNvSpPr txBox="1"/>
          <p:nvPr/>
        </p:nvSpPr>
        <p:spPr>
          <a:xfrm>
            <a:off x="10167922" y="1140346"/>
            <a:ext cx="953787" cy="276999"/>
          </a:xfrm>
          <a:prstGeom prst="rect">
            <a:avLst/>
          </a:prstGeom>
          <a:noFill/>
        </p:spPr>
        <p:txBody>
          <a:bodyPr wrap="none" lIns="0" tIns="0" rIns="0" bIns="0" rtlCol="0">
            <a:spAutoFit/>
          </a:bodyPr>
          <a:lstStyle/>
          <a:p>
            <a:pPr algn="ctr"/>
            <a:r>
              <a:rPr lang="en-US" dirty="0"/>
              <a:t>Consume</a:t>
            </a:r>
          </a:p>
        </p:txBody>
      </p:sp>
      <p:sp>
        <p:nvSpPr>
          <p:cNvPr id="14" name="Isosceles Triangle 13"/>
          <p:cNvSpPr/>
          <p:nvPr/>
        </p:nvSpPr>
        <p:spPr bwMode="auto">
          <a:xfrm rot="5400000">
            <a:off x="2209630" y="1226312"/>
            <a:ext cx="164264" cy="14160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Isosceles Triangle 14"/>
          <p:cNvSpPr/>
          <p:nvPr/>
        </p:nvSpPr>
        <p:spPr bwMode="auto">
          <a:xfrm rot="5400000">
            <a:off x="4145372" y="1226313"/>
            <a:ext cx="164264" cy="14160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Isosceles Triangle 15"/>
          <p:cNvSpPr/>
          <p:nvPr/>
        </p:nvSpPr>
        <p:spPr bwMode="auto">
          <a:xfrm rot="5400000">
            <a:off x="6084672" y="1226314"/>
            <a:ext cx="164264" cy="14160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Isosceles Triangle 16"/>
          <p:cNvSpPr/>
          <p:nvPr/>
        </p:nvSpPr>
        <p:spPr bwMode="auto">
          <a:xfrm rot="5400000">
            <a:off x="8017471" y="1226315"/>
            <a:ext cx="164264" cy="14160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Isosceles Triangle 17"/>
          <p:cNvSpPr/>
          <p:nvPr/>
        </p:nvSpPr>
        <p:spPr bwMode="auto">
          <a:xfrm rot="5400000">
            <a:off x="9951429" y="1226317"/>
            <a:ext cx="164264" cy="14160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Freeform 18"/>
          <p:cNvSpPr/>
          <p:nvPr/>
        </p:nvSpPr>
        <p:spPr bwMode="auto">
          <a:xfrm>
            <a:off x="652313" y="1917156"/>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p:cNvSpPr txBox="1"/>
          <p:nvPr/>
        </p:nvSpPr>
        <p:spPr>
          <a:xfrm>
            <a:off x="706659" y="2658541"/>
            <a:ext cx="796693" cy="369332"/>
          </a:xfrm>
          <a:prstGeom prst="rect">
            <a:avLst/>
          </a:prstGeom>
          <a:noFill/>
        </p:spPr>
        <p:txBody>
          <a:bodyPr wrap="none" lIns="0" tIns="0" rIns="0" bIns="0" rtlCol="0">
            <a:spAutoFit/>
          </a:bodyPr>
          <a:lstStyle/>
          <a:p>
            <a:r>
              <a:rPr lang="en-US" sz="1200" dirty="0">
                <a:solidFill>
                  <a:schemeClr val="bg1"/>
                </a:solidFill>
              </a:rPr>
              <a:t>Sensors </a:t>
            </a:r>
            <a:br>
              <a:rPr lang="en-US" sz="1200" dirty="0">
                <a:solidFill>
                  <a:schemeClr val="bg1"/>
                </a:solidFill>
              </a:rPr>
            </a:br>
            <a:r>
              <a:rPr lang="en-US" sz="1200" dirty="0">
                <a:solidFill>
                  <a:schemeClr val="bg1"/>
                </a:solidFill>
              </a:rPr>
              <a:t>and devices</a:t>
            </a:r>
          </a:p>
        </p:txBody>
      </p:sp>
      <p:sp>
        <p:nvSpPr>
          <p:cNvPr id="22" name="TextBox 21"/>
          <p:cNvSpPr txBox="1"/>
          <p:nvPr/>
        </p:nvSpPr>
        <p:spPr>
          <a:xfrm>
            <a:off x="3568389" y="3228507"/>
            <a:ext cx="601575" cy="369332"/>
          </a:xfrm>
          <a:prstGeom prst="rect">
            <a:avLst/>
          </a:prstGeom>
          <a:noFill/>
        </p:spPr>
        <p:txBody>
          <a:bodyPr wrap="none" lIns="0" tIns="0" rIns="0" bIns="0" rtlCol="0">
            <a:spAutoFit/>
          </a:bodyPr>
          <a:lstStyle/>
          <a:p>
            <a:r>
              <a:rPr lang="en-US" sz="1200" dirty="0">
                <a:solidFill>
                  <a:schemeClr val="bg1"/>
                </a:solidFill>
              </a:rPr>
              <a:t>Stream</a:t>
            </a:r>
            <a:br>
              <a:rPr lang="en-US" sz="1200" dirty="0">
                <a:solidFill>
                  <a:schemeClr val="bg1"/>
                </a:solidFill>
              </a:rPr>
            </a:br>
            <a:r>
              <a:rPr lang="en-US" sz="1200" dirty="0">
                <a:solidFill>
                  <a:schemeClr val="bg1"/>
                </a:solidFill>
              </a:rPr>
              <a:t>Analytics</a:t>
            </a:r>
          </a:p>
        </p:txBody>
      </p:sp>
      <p:sp>
        <p:nvSpPr>
          <p:cNvPr id="25" name="TextBox 24"/>
          <p:cNvSpPr txBox="1"/>
          <p:nvPr/>
        </p:nvSpPr>
        <p:spPr>
          <a:xfrm>
            <a:off x="6210839" y="3482023"/>
            <a:ext cx="584775" cy="369332"/>
          </a:xfrm>
          <a:prstGeom prst="rect">
            <a:avLst/>
          </a:prstGeom>
          <a:noFill/>
        </p:spPr>
        <p:txBody>
          <a:bodyPr wrap="none" lIns="0" tIns="0" rIns="0" bIns="0" rtlCol="0">
            <a:spAutoFit/>
          </a:bodyPr>
          <a:lstStyle/>
          <a:p>
            <a:r>
              <a:rPr lang="en-US" sz="1200" dirty="0">
                <a:solidFill>
                  <a:schemeClr val="bg1"/>
                </a:solidFill>
              </a:rPr>
              <a:t>Machine</a:t>
            </a:r>
            <a:br>
              <a:rPr lang="en-US" sz="1200" dirty="0">
                <a:solidFill>
                  <a:schemeClr val="bg1"/>
                </a:solidFill>
              </a:rPr>
            </a:br>
            <a:r>
              <a:rPr lang="en-US" sz="1200" dirty="0">
                <a:solidFill>
                  <a:schemeClr val="bg1"/>
                </a:solidFill>
              </a:rPr>
              <a:t>Learning</a:t>
            </a:r>
          </a:p>
        </p:txBody>
      </p:sp>
      <p:sp>
        <p:nvSpPr>
          <p:cNvPr id="26" name="TextBox 25"/>
          <p:cNvSpPr txBox="1"/>
          <p:nvPr/>
        </p:nvSpPr>
        <p:spPr>
          <a:xfrm>
            <a:off x="10551893" y="3836842"/>
            <a:ext cx="538224" cy="184666"/>
          </a:xfrm>
          <a:prstGeom prst="rect">
            <a:avLst/>
          </a:prstGeom>
          <a:noFill/>
        </p:spPr>
        <p:txBody>
          <a:bodyPr wrap="none" lIns="0" tIns="0" rIns="0" bIns="0" rtlCol="0">
            <a:spAutoFit/>
          </a:bodyPr>
          <a:lstStyle/>
          <a:p>
            <a:pPr algn="ctr"/>
            <a:r>
              <a:rPr lang="en-US" sz="1200" dirty="0">
                <a:solidFill>
                  <a:schemeClr val="bg1"/>
                </a:solidFill>
              </a:rPr>
              <a:t>Cortana</a:t>
            </a:r>
          </a:p>
        </p:txBody>
      </p:sp>
      <p:sp>
        <p:nvSpPr>
          <p:cNvPr id="27" name="TextBox 26"/>
          <p:cNvSpPr txBox="1"/>
          <p:nvPr/>
        </p:nvSpPr>
        <p:spPr>
          <a:xfrm>
            <a:off x="1423445" y="4818661"/>
            <a:ext cx="575479" cy="369332"/>
          </a:xfrm>
          <a:prstGeom prst="rect">
            <a:avLst/>
          </a:prstGeom>
          <a:noFill/>
        </p:spPr>
        <p:txBody>
          <a:bodyPr wrap="none" lIns="0" tIns="0" rIns="0" bIns="0" rtlCol="0">
            <a:spAutoFit/>
          </a:bodyPr>
          <a:lstStyle/>
          <a:p>
            <a:r>
              <a:rPr lang="en-US" sz="1200" dirty="0">
                <a:solidFill>
                  <a:schemeClr val="bg1"/>
                </a:solidFill>
              </a:rPr>
              <a:t>Business</a:t>
            </a:r>
            <a:br>
              <a:rPr lang="en-US" sz="1200" dirty="0">
                <a:solidFill>
                  <a:schemeClr val="bg1"/>
                </a:solidFill>
              </a:rPr>
            </a:br>
            <a:r>
              <a:rPr lang="en-US" sz="1200" dirty="0">
                <a:solidFill>
                  <a:schemeClr val="bg1"/>
                </a:solidFill>
              </a:rPr>
              <a:t>apps</a:t>
            </a:r>
          </a:p>
        </p:txBody>
      </p:sp>
      <p:sp>
        <p:nvSpPr>
          <p:cNvPr id="28" name="TextBox 27"/>
          <p:cNvSpPr txBox="1"/>
          <p:nvPr/>
        </p:nvSpPr>
        <p:spPr>
          <a:xfrm>
            <a:off x="9169723" y="4190355"/>
            <a:ext cx="756874" cy="369332"/>
          </a:xfrm>
          <a:prstGeom prst="rect">
            <a:avLst/>
          </a:prstGeom>
          <a:noFill/>
        </p:spPr>
        <p:txBody>
          <a:bodyPr wrap="none" lIns="0" tIns="0" rIns="0" bIns="0" rtlCol="0">
            <a:spAutoFit/>
          </a:bodyPr>
          <a:lstStyle/>
          <a:p>
            <a:pPr algn="ctr"/>
            <a:r>
              <a:rPr lang="en-US" sz="1200" dirty="0">
                <a:solidFill>
                  <a:schemeClr val="bg1"/>
                </a:solidFill>
              </a:rPr>
              <a:t>SQL Data </a:t>
            </a:r>
          </a:p>
          <a:p>
            <a:pPr algn="ctr"/>
            <a:r>
              <a:rPr lang="en-US" sz="1200" dirty="0">
                <a:solidFill>
                  <a:schemeClr val="bg1"/>
                </a:solidFill>
              </a:rPr>
              <a:t>Warehouse</a:t>
            </a:r>
          </a:p>
        </p:txBody>
      </p:sp>
      <p:sp>
        <p:nvSpPr>
          <p:cNvPr id="29" name="Freeform 28"/>
          <p:cNvSpPr/>
          <p:nvPr/>
        </p:nvSpPr>
        <p:spPr bwMode="auto">
          <a:xfrm>
            <a:off x="2849211" y="1917156"/>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30"/>
          <p:cNvSpPr/>
          <p:nvPr/>
        </p:nvSpPr>
        <p:spPr bwMode="auto">
          <a:xfrm>
            <a:off x="10469319" y="1917156"/>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Freeform 31"/>
          <p:cNvSpPr/>
          <p:nvPr/>
        </p:nvSpPr>
        <p:spPr bwMode="auto">
          <a:xfrm>
            <a:off x="2849211" y="3065784"/>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670223" y="4658836"/>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p:nvPr/>
        </p:nvSpPr>
        <p:spPr bwMode="auto">
          <a:xfrm>
            <a:off x="680849" y="5449741"/>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6" name="Straight Connector 35"/>
          <p:cNvCxnSpPr/>
          <p:nvPr/>
        </p:nvCxnSpPr>
        <p:spPr>
          <a:xfrm>
            <a:off x="2229244" y="1631507"/>
            <a:ext cx="0" cy="4514011"/>
          </a:xfrm>
          <a:prstGeom prst="line">
            <a:avLst/>
          </a:prstGeom>
          <a:ln w="6350">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4162623" y="1631507"/>
            <a:ext cx="0" cy="4514011"/>
          </a:xfrm>
          <a:prstGeom prst="line">
            <a:avLst/>
          </a:prstGeom>
          <a:ln w="6350">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6096001" y="1631507"/>
            <a:ext cx="0" cy="4514011"/>
          </a:xfrm>
          <a:prstGeom prst="line">
            <a:avLst/>
          </a:prstGeom>
          <a:ln w="6350">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8029379" y="1631507"/>
            <a:ext cx="0" cy="4514011"/>
          </a:xfrm>
          <a:prstGeom prst="line">
            <a:avLst/>
          </a:prstGeom>
          <a:ln w="6350">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9962758" y="1631507"/>
            <a:ext cx="0" cy="4514011"/>
          </a:xfrm>
          <a:prstGeom prst="line">
            <a:avLst/>
          </a:prstGeom>
          <a:ln w="6350">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1" name="Freeform 40"/>
          <p:cNvSpPr/>
          <p:nvPr/>
        </p:nvSpPr>
        <p:spPr bwMode="auto">
          <a:xfrm>
            <a:off x="10469319" y="3065784"/>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TextBox 41"/>
          <p:cNvSpPr txBox="1"/>
          <p:nvPr/>
        </p:nvSpPr>
        <p:spPr>
          <a:xfrm>
            <a:off x="1465252" y="1872842"/>
            <a:ext cx="716542" cy="369332"/>
          </a:xfrm>
          <a:prstGeom prst="rect">
            <a:avLst/>
          </a:prstGeom>
          <a:noFill/>
        </p:spPr>
        <p:txBody>
          <a:bodyPr wrap="none" lIns="0" tIns="0" rIns="0" bIns="0" rtlCol="0">
            <a:spAutoFit/>
          </a:bodyPr>
          <a:lstStyle/>
          <a:p>
            <a:r>
              <a:rPr lang="en-US" sz="1200" dirty="0">
                <a:solidFill>
                  <a:schemeClr val="bg1"/>
                </a:solidFill>
              </a:rPr>
              <a:t>Diagnostic</a:t>
            </a:r>
            <a:br>
              <a:rPr lang="en-US" sz="1200" dirty="0">
                <a:solidFill>
                  <a:schemeClr val="bg1"/>
                </a:solidFill>
              </a:rPr>
            </a:br>
            <a:r>
              <a:rPr lang="en-US" sz="1200" dirty="0">
                <a:solidFill>
                  <a:schemeClr val="bg1"/>
                </a:solidFill>
              </a:rPr>
              <a:t>Streaming</a:t>
            </a:r>
          </a:p>
        </p:txBody>
      </p:sp>
      <p:sp>
        <p:nvSpPr>
          <p:cNvPr id="43" name="TextBox 42"/>
          <p:cNvSpPr txBox="1"/>
          <p:nvPr/>
        </p:nvSpPr>
        <p:spPr>
          <a:xfrm>
            <a:off x="10525304" y="1640764"/>
            <a:ext cx="585032" cy="184666"/>
          </a:xfrm>
          <a:prstGeom prst="rect">
            <a:avLst/>
          </a:prstGeom>
          <a:noFill/>
        </p:spPr>
        <p:txBody>
          <a:bodyPr wrap="none" lIns="0" tIns="0" rIns="0" bIns="0" rtlCol="0">
            <a:spAutoFit/>
          </a:bodyPr>
          <a:lstStyle/>
          <a:p>
            <a:pPr algn="ctr"/>
            <a:r>
              <a:rPr lang="en-US" sz="1200" dirty="0">
                <a:solidFill>
                  <a:schemeClr val="bg1"/>
                </a:solidFill>
              </a:rPr>
              <a:t>Power BI</a:t>
            </a:r>
          </a:p>
        </p:txBody>
      </p:sp>
      <p:sp>
        <p:nvSpPr>
          <p:cNvPr id="44" name="TextBox 43"/>
          <p:cNvSpPr txBox="1"/>
          <p:nvPr/>
        </p:nvSpPr>
        <p:spPr>
          <a:xfrm>
            <a:off x="1387480" y="5596899"/>
            <a:ext cx="1573992" cy="369332"/>
          </a:xfrm>
          <a:prstGeom prst="rect">
            <a:avLst/>
          </a:prstGeom>
          <a:noFill/>
        </p:spPr>
        <p:txBody>
          <a:bodyPr wrap="square" lIns="0" tIns="0" rIns="0" bIns="0" rtlCol="0">
            <a:spAutoFit/>
          </a:bodyPr>
          <a:lstStyle/>
          <a:p>
            <a:r>
              <a:rPr lang="en-US" sz="1200" dirty="0">
                <a:solidFill>
                  <a:schemeClr val="bg1"/>
                </a:solidFill>
              </a:rPr>
              <a:t>Enterprise </a:t>
            </a:r>
          </a:p>
          <a:p>
            <a:r>
              <a:rPr lang="en-US" sz="1200" dirty="0">
                <a:solidFill>
                  <a:schemeClr val="bg1"/>
                </a:solidFill>
              </a:rPr>
              <a:t>data sources</a:t>
            </a:r>
          </a:p>
        </p:txBody>
      </p:sp>
      <p:grpSp>
        <p:nvGrpSpPr>
          <p:cNvPr id="45" name="Group 44"/>
          <p:cNvGrpSpPr/>
          <p:nvPr/>
        </p:nvGrpSpPr>
        <p:grpSpPr>
          <a:xfrm>
            <a:off x="2220958" y="4861240"/>
            <a:ext cx="5807841" cy="204181"/>
            <a:chOff x="2220958" y="5044094"/>
            <a:chExt cx="5807841" cy="204181"/>
          </a:xfrm>
          <a:solidFill>
            <a:schemeClr val="tx1"/>
          </a:solidFill>
        </p:grpSpPr>
        <p:cxnSp>
          <p:nvCxnSpPr>
            <p:cNvPr id="46" name="Straight Connector 45"/>
            <p:cNvCxnSpPr/>
            <p:nvPr/>
          </p:nvCxnSpPr>
          <p:spPr>
            <a:xfrm>
              <a:off x="2229244"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2220958" y="5146185"/>
              <a:ext cx="5807841" cy="0"/>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8028799"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9" name="Group 48"/>
          <p:cNvGrpSpPr/>
          <p:nvPr/>
        </p:nvGrpSpPr>
        <p:grpSpPr>
          <a:xfrm>
            <a:off x="2220958" y="5243877"/>
            <a:ext cx="7741799" cy="204181"/>
            <a:chOff x="2220958" y="5044094"/>
            <a:chExt cx="5807841" cy="204181"/>
          </a:xfrm>
          <a:solidFill>
            <a:schemeClr val="tx1"/>
          </a:solidFill>
        </p:grpSpPr>
        <p:cxnSp>
          <p:nvCxnSpPr>
            <p:cNvPr id="50" name="Straight Connector 49"/>
            <p:cNvCxnSpPr/>
            <p:nvPr/>
          </p:nvCxnSpPr>
          <p:spPr>
            <a:xfrm>
              <a:off x="2229244"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2220958" y="5146185"/>
              <a:ext cx="5807841" cy="0"/>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8028799"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3" name="Group 52"/>
          <p:cNvGrpSpPr/>
          <p:nvPr/>
        </p:nvGrpSpPr>
        <p:grpSpPr>
          <a:xfrm>
            <a:off x="2220958" y="5626513"/>
            <a:ext cx="9285242" cy="204181"/>
            <a:chOff x="2220958" y="5044094"/>
            <a:chExt cx="5807841" cy="204181"/>
          </a:xfrm>
          <a:solidFill>
            <a:schemeClr val="tx1"/>
          </a:solidFill>
        </p:grpSpPr>
        <p:cxnSp>
          <p:nvCxnSpPr>
            <p:cNvPr id="54" name="Straight Connector 53"/>
            <p:cNvCxnSpPr/>
            <p:nvPr/>
          </p:nvCxnSpPr>
          <p:spPr>
            <a:xfrm>
              <a:off x="2229244"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2220958" y="5146185"/>
              <a:ext cx="5807841" cy="0"/>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8028799"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58" name="TextBox 57"/>
          <p:cNvSpPr txBox="1"/>
          <p:nvPr/>
        </p:nvSpPr>
        <p:spPr>
          <a:xfrm>
            <a:off x="4023701" y="4826721"/>
            <a:ext cx="3291840" cy="276999"/>
          </a:xfrm>
          <a:prstGeom prst="rect">
            <a:avLst/>
          </a:prstGeom>
          <a:solidFill>
            <a:srgbClr val="F2F2F2"/>
          </a:solidFill>
          <a:ln w="28575">
            <a:solidFill>
              <a:schemeClr val="accent1"/>
            </a:solidFill>
          </a:ln>
        </p:spPr>
        <p:txBody>
          <a:bodyPr wrap="square" lIns="45720" tIns="45720" rIns="45720" bIns="45720" rtlCol="0">
            <a:spAutoFit/>
          </a:bodyPr>
          <a:lstStyle/>
          <a:p>
            <a:pPr algn="ctr"/>
            <a:r>
              <a:rPr lang="en-US" sz="1200" dirty="0">
                <a:solidFill>
                  <a:schemeClr val="accent1"/>
                </a:solidFill>
              </a:rPr>
              <a:t>Azure Blob storage</a:t>
            </a:r>
          </a:p>
        </p:txBody>
      </p:sp>
      <p:sp>
        <p:nvSpPr>
          <p:cNvPr id="59" name="TextBox 58"/>
          <p:cNvSpPr txBox="1"/>
          <p:nvPr/>
        </p:nvSpPr>
        <p:spPr>
          <a:xfrm>
            <a:off x="3292137" y="5207467"/>
            <a:ext cx="4754880" cy="276999"/>
          </a:xfrm>
          <a:prstGeom prst="rect">
            <a:avLst/>
          </a:prstGeom>
          <a:solidFill>
            <a:srgbClr val="F2F2F2"/>
          </a:solidFill>
          <a:ln w="28575">
            <a:solidFill>
              <a:schemeClr val="accent1"/>
            </a:solidFill>
          </a:ln>
        </p:spPr>
        <p:txBody>
          <a:bodyPr wrap="square" lIns="45720" tIns="45720" rIns="45720" bIns="45720" rtlCol="0">
            <a:spAutoFit/>
          </a:bodyPr>
          <a:lstStyle>
            <a:defPPr>
              <a:defRPr lang="en-US"/>
            </a:defPPr>
            <a:lvl1pPr algn="ctr">
              <a:defRPr sz="1200">
                <a:solidFill>
                  <a:schemeClr val="accent1"/>
                </a:solidFill>
              </a:defRPr>
            </a:lvl1pPr>
          </a:lstStyle>
          <a:p>
            <a:r>
              <a:rPr lang="en-US" dirty="0"/>
              <a:t> Data Factory: Move data, orchestrate, schedule and monitor</a:t>
            </a:r>
          </a:p>
        </p:txBody>
      </p:sp>
      <p:sp>
        <p:nvSpPr>
          <p:cNvPr id="60" name="TextBox 59"/>
          <p:cNvSpPr txBox="1"/>
          <p:nvPr/>
        </p:nvSpPr>
        <p:spPr>
          <a:xfrm>
            <a:off x="4026989" y="5592584"/>
            <a:ext cx="5935768" cy="276999"/>
          </a:xfrm>
          <a:prstGeom prst="rect">
            <a:avLst/>
          </a:prstGeom>
          <a:solidFill>
            <a:srgbClr val="F2F2F2"/>
          </a:solidFill>
          <a:ln w="28575">
            <a:solidFill>
              <a:schemeClr val="accent1"/>
            </a:solidFill>
          </a:ln>
        </p:spPr>
        <p:txBody>
          <a:bodyPr wrap="square" lIns="45720" tIns="45720" rIns="45720" bIns="45720" rtlCol="0">
            <a:spAutoFit/>
          </a:bodyPr>
          <a:lstStyle>
            <a:defPPr>
              <a:defRPr lang="en-US"/>
            </a:defPPr>
            <a:lvl1pPr algn="ctr">
              <a:defRPr sz="1200">
                <a:solidFill>
                  <a:schemeClr val="accent1"/>
                </a:solidFill>
              </a:defRPr>
            </a:lvl1pPr>
          </a:lstStyle>
          <a:p>
            <a:r>
              <a:rPr lang="en-US" dirty="0"/>
              <a:t>Data Catalog: Register, annotate, understand, discover data sets</a:t>
            </a:r>
          </a:p>
        </p:txBody>
      </p:sp>
      <p:sp>
        <p:nvSpPr>
          <p:cNvPr id="65" name="TextBox 64"/>
          <p:cNvSpPr txBox="1"/>
          <p:nvPr/>
        </p:nvSpPr>
        <p:spPr>
          <a:xfrm>
            <a:off x="5014522" y="4039511"/>
            <a:ext cx="678071" cy="184666"/>
          </a:xfrm>
          <a:prstGeom prst="rect">
            <a:avLst/>
          </a:prstGeom>
          <a:noFill/>
        </p:spPr>
        <p:txBody>
          <a:bodyPr wrap="none" lIns="0" tIns="0" rIns="0" bIns="0" rtlCol="0">
            <a:spAutoFit/>
          </a:bodyPr>
          <a:lstStyle/>
          <a:p>
            <a:r>
              <a:rPr lang="en-US" sz="1200" dirty="0">
                <a:solidFill>
                  <a:schemeClr val="bg1"/>
                </a:solidFill>
              </a:rPr>
              <a:t>HDInsight</a:t>
            </a:r>
          </a:p>
        </p:txBody>
      </p:sp>
      <p:cxnSp>
        <p:nvCxnSpPr>
          <p:cNvPr id="66" name="Straight Arrow Connector 65"/>
          <p:cNvCxnSpPr/>
          <p:nvPr/>
        </p:nvCxnSpPr>
        <p:spPr>
          <a:xfrm flipH="1">
            <a:off x="4553732" y="4511260"/>
            <a:ext cx="0" cy="279294"/>
          </a:xfrm>
          <a:prstGeom prst="straightConnector1">
            <a:avLst/>
          </a:prstGeom>
          <a:ln w="19050">
            <a:solidFill>
              <a:srgbClr val="0072C6"/>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flipH="1">
            <a:off x="6994873" y="4539367"/>
            <a:ext cx="0" cy="279294"/>
          </a:xfrm>
          <a:prstGeom prst="straightConnector1">
            <a:avLst/>
          </a:prstGeom>
          <a:ln w="19050">
            <a:solidFill>
              <a:srgbClr val="0072C6"/>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a:stCxn id="58" idx="3"/>
          </p:cNvCxnSpPr>
          <p:nvPr/>
        </p:nvCxnSpPr>
        <p:spPr>
          <a:xfrm flipV="1">
            <a:off x="7315541" y="4518054"/>
            <a:ext cx="1070134" cy="447167"/>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flipV="1">
            <a:off x="9067720" y="2545108"/>
            <a:ext cx="1484173" cy="1508115"/>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10816041" y="2697920"/>
            <a:ext cx="0" cy="280544"/>
          </a:xfrm>
          <a:prstGeom prst="straightConnector1">
            <a:avLst/>
          </a:prstGeom>
          <a:ln w="19050">
            <a:solidFill>
              <a:srgbClr val="0072C6"/>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a:stCxn id="19" idx="6"/>
          </p:cNvCxnSpPr>
          <p:nvPr/>
        </p:nvCxnSpPr>
        <p:spPr>
          <a:xfrm flipV="1">
            <a:off x="1345757" y="2254839"/>
            <a:ext cx="1468244" cy="9039"/>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a:stCxn id="29" idx="6"/>
          </p:cNvCxnSpPr>
          <p:nvPr/>
        </p:nvCxnSpPr>
        <p:spPr>
          <a:xfrm>
            <a:off x="3542655" y="2263878"/>
            <a:ext cx="3120083" cy="0"/>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nvCxnSpPr>
        <p:spPr>
          <a:xfrm flipV="1">
            <a:off x="7397443" y="2260754"/>
            <a:ext cx="3025394" cy="3124"/>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a:stCxn id="29" idx="7"/>
          </p:cNvCxnSpPr>
          <p:nvPr/>
        </p:nvCxnSpPr>
        <p:spPr>
          <a:xfrm>
            <a:off x="3195933" y="2610600"/>
            <a:ext cx="0" cy="438218"/>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a:stCxn id="32" idx="7"/>
          </p:cNvCxnSpPr>
          <p:nvPr/>
        </p:nvCxnSpPr>
        <p:spPr>
          <a:xfrm>
            <a:off x="3195933" y="3759228"/>
            <a:ext cx="3037" cy="1188720"/>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7415570" y="2279261"/>
            <a:ext cx="1121650" cy="1762993"/>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83" name="Freeform 82"/>
          <p:cNvSpPr/>
          <p:nvPr/>
        </p:nvSpPr>
        <p:spPr bwMode="auto">
          <a:xfrm>
            <a:off x="797541" y="2143409"/>
            <a:ext cx="402988" cy="240938"/>
          </a:xfrm>
          <a:custGeom>
            <a:avLst/>
            <a:gdLst>
              <a:gd name="connsiteX0" fmla="*/ 420975 w 841949"/>
              <a:gd name="connsiteY0" fmla="*/ 392795 h 503385"/>
              <a:gd name="connsiteX1" fmla="*/ 443835 w 841949"/>
              <a:gd name="connsiteY1" fmla="*/ 415655 h 503385"/>
              <a:gd name="connsiteX2" fmla="*/ 420975 w 841949"/>
              <a:gd name="connsiteY2" fmla="*/ 438515 h 503385"/>
              <a:gd name="connsiteX3" fmla="*/ 398115 w 841949"/>
              <a:gd name="connsiteY3" fmla="*/ 415655 h 503385"/>
              <a:gd name="connsiteX4" fmla="*/ 420975 w 841949"/>
              <a:gd name="connsiteY4" fmla="*/ 392795 h 503385"/>
              <a:gd name="connsiteX5" fmla="*/ 44058 w 841949"/>
              <a:gd name="connsiteY5" fmla="*/ 39656 h 503385"/>
              <a:gd name="connsiteX6" fmla="*/ 44058 w 841949"/>
              <a:gd name="connsiteY6" fmla="*/ 463729 h 503385"/>
              <a:gd name="connsiteX7" fmla="*/ 797891 w 841949"/>
              <a:gd name="connsiteY7" fmla="*/ 463729 h 503385"/>
              <a:gd name="connsiteX8" fmla="*/ 797891 w 841949"/>
              <a:gd name="connsiteY8" fmla="*/ 39656 h 503385"/>
              <a:gd name="connsiteX9" fmla="*/ 36747 w 841949"/>
              <a:gd name="connsiteY9" fmla="*/ 0 h 503385"/>
              <a:gd name="connsiteX10" fmla="*/ 805202 w 841949"/>
              <a:gd name="connsiteY10" fmla="*/ 0 h 503385"/>
              <a:gd name="connsiteX11" fmla="*/ 841949 w 841949"/>
              <a:gd name="connsiteY11" fmla="*/ 36747 h 503385"/>
              <a:gd name="connsiteX12" fmla="*/ 841949 w 841949"/>
              <a:gd name="connsiteY12" fmla="*/ 466638 h 503385"/>
              <a:gd name="connsiteX13" fmla="*/ 805202 w 841949"/>
              <a:gd name="connsiteY13" fmla="*/ 503385 h 503385"/>
              <a:gd name="connsiteX14" fmla="*/ 36747 w 841949"/>
              <a:gd name="connsiteY14" fmla="*/ 503385 h 503385"/>
              <a:gd name="connsiteX15" fmla="*/ 0 w 841949"/>
              <a:gd name="connsiteY15" fmla="*/ 466638 h 503385"/>
              <a:gd name="connsiteX16" fmla="*/ 0 w 841949"/>
              <a:gd name="connsiteY16" fmla="*/ 36747 h 503385"/>
              <a:gd name="connsiteX17" fmla="*/ 36747 w 841949"/>
              <a:gd name="connsiteY17" fmla="*/ 0 h 503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41949" h="503385">
                <a:moveTo>
                  <a:pt x="420975" y="392795"/>
                </a:moveTo>
                <a:cubicBezTo>
                  <a:pt x="433600" y="392795"/>
                  <a:pt x="443835" y="403030"/>
                  <a:pt x="443835" y="415655"/>
                </a:cubicBezTo>
                <a:cubicBezTo>
                  <a:pt x="443835" y="428280"/>
                  <a:pt x="433600" y="438515"/>
                  <a:pt x="420975" y="438515"/>
                </a:cubicBezTo>
                <a:cubicBezTo>
                  <a:pt x="408350" y="438515"/>
                  <a:pt x="398115" y="428280"/>
                  <a:pt x="398115" y="415655"/>
                </a:cubicBezTo>
                <a:cubicBezTo>
                  <a:pt x="398115" y="403030"/>
                  <a:pt x="408350" y="392795"/>
                  <a:pt x="420975" y="392795"/>
                </a:cubicBezTo>
                <a:close/>
                <a:moveTo>
                  <a:pt x="44058" y="39656"/>
                </a:moveTo>
                <a:lnTo>
                  <a:pt x="44058" y="463729"/>
                </a:lnTo>
                <a:lnTo>
                  <a:pt x="797891" y="463729"/>
                </a:lnTo>
                <a:lnTo>
                  <a:pt x="797891" y="39656"/>
                </a:lnTo>
                <a:close/>
                <a:moveTo>
                  <a:pt x="36747" y="0"/>
                </a:moveTo>
                <a:lnTo>
                  <a:pt x="805202" y="0"/>
                </a:lnTo>
                <a:cubicBezTo>
                  <a:pt x="825497" y="0"/>
                  <a:pt x="841949" y="16452"/>
                  <a:pt x="841949" y="36747"/>
                </a:cubicBezTo>
                <a:lnTo>
                  <a:pt x="841949" y="466638"/>
                </a:lnTo>
                <a:cubicBezTo>
                  <a:pt x="841949" y="486933"/>
                  <a:pt x="825497" y="503385"/>
                  <a:pt x="805202" y="503385"/>
                </a:cubicBezTo>
                <a:lnTo>
                  <a:pt x="36747" y="503385"/>
                </a:lnTo>
                <a:cubicBezTo>
                  <a:pt x="16452" y="503385"/>
                  <a:pt x="0" y="486933"/>
                  <a:pt x="0" y="466638"/>
                </a:cubicBezTo>
                <a:lnTo>
                  <a:pt x="0" y="36747"/>
                </a:lnTo>
                <a:cubicBezTo>
                  <a:pt x="0" y="16452"/>
                  <a:pt x="16452" y="0"/>
                  <a:pt x="36747"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6" name="Freeform 85"/>
          <p:cNvSpPr/>
          <p:nvPr>
            <p:custDataLst>
              <p:tags r:id="rId1"/>
            </p:custDataLst>
          </p:nvPr>
        </p:nvSpPr>
        <p:spPr>
          <a:xfrm>
            <a:off x="10672597" y="2089528"/>
            <a:ext cx="286889" cy="348701"/>
          </a:xfrm>
          <a:custGeom>
            <a:avLst/>
            <a:gdLst>
              <a:gd name="connsiteX0" fmla="*/ 0 w 1022348"/>
              <a:gd name="connsiteY0" fmla="*/ 629228 h 1172168"/>
              <a:gd name="connsiteX1" fmla="*/ 142875 w 1022348"/>
              <a:gd name="connsiteY1" fmla="*/ 629228 h 1172168"/>
              <a:gd name="connsiteX2" fmla="*/ 142875 w 1022348"/>
              <a:gd name="connsiteY2" fmla="*/ 1172168 h 1172168"/>
              <a:gd name="connsiteX3" fmla="*/ 0 w 1022348"/>
              <a:gd name="connsiteY3" fmla="*/ 1172168 h 1172168"/>
              <a:gd name="connsiteX4" fmla="*/ 293158 w 1022348"/>
              <a:gd name="connsiteY4" fmla="*/ 434974 h 1172168"/>
              <a:gd name="connsiteX5" fmla="*/ 436033 w 1022348"/>
              <a:gd name="connsiteY5" fmla="*/ 434974 h 1172168"/>
              <a:gd name="connsiteX6" fmla="*/ 436033 w 1022348"/>
              <a:gd name="connsiteY6" fmla="*/ 1172168 h 1172168"/>
              <a:gd name="connsiteX7" fmla="*/ 293158 w 1022348"/>
              <a:gd name="connsiteY7" fmla="*/ 1172168 h 1172168"/>
              <a:gd name="connsiteX8" fmla="*/ 586316 w 1022348"/>
              <a:gd name="connsiteY8" fmla="*/ 225425 h 1172168"/>
              <a:gd name="connsiteX9" fmla="*/ 729191 w 1022348"/>
              <a:gd name="connsiteY9" fmla="*/ 225425 h 1172168"/>
              <a:gd name="connsiteX10" fmla="*/ 729191 w 1022348"/>
              <a:gd name="connsiteY10" fmla="*/ 1172168 h 1172168"/>
              <a:gd name="connsiteX11" fmla="*/ 586316 w 1022348"/>
              <a:gd name="connsiteY11" fmla="*/ 1172168 h 1172168"/>
              <a:gd name="connsiteX12" fmla="*/ 879473 w 1022348"/>
              <a:gd name="connsiteY12" fmla="*/ 0 h 1172168"/>
              <a:gd name="connsiteX13" fmla="*/ 1022348 w 1022348"/>
              <a:gd name="connsiteY13" fmla="*/ 0 h 1172168"/>
              <a:gd name="connsiteX14" fmla="*/ 1022348 w 1022348"/>
              <a:gd name="connsiteY14" fmla="*/ 1172168 h 1172168"/>
              <a:gd name="connsiteX15" fmla="*/ 879473 w 1022348"/>
              <a:gd name="connsiteY15" fmla="*/ 1172168 h 1172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22348" h="1172168">
                <a:moveTo>
                  <a:pt x="0" y="629228"/>
                </a:moveTo>
                <a:lnTo>
                  <a:pt x="142875" y="629228"/>
                </a:lnTo>
                <a:lnTo>
                  <a:pt x="142875" y="1172168"/>
                </a:lnTo>
                <a:lnTo>
                  <a:pt x="0" y="1172168"/>
                </a:lnTo>
                <a:close/>
                <a:moveTo>
                  <a:pt x="293158" y="434974"/>
                </a:moveTo>
                <a:lnTo>
                  <a:pt x="436033" y="434974"/>
                </a:lnTo>
                <a:lnTo>
                  <a:pt x="436033" y="1172168"/>
                </a:lnTo>
                <a:lnTo>
                  <a:pt x="293158" y="1172168"/>
                </a:lnTo>
                <a:close/>
                <a:moveTo>
                  <a:pt x="586316" y="225425"/>
                </a:moveTo>
                <a:lnTo>
                  <a:pt x="729191" y="225425"/>
                </a:lnTo>
                <a:lnTo>
                  <a:pt x="729191" y="1172168"/>
                </a:lnTo>
                <a:lnTo>
                  <a:pt x="586316" y="1172168"/>
                </a:lnTo>
                <a:close/>
                <a:moveTo>
                  <a:pt x="879473" y="0"/>
                </a:moveTo>
                <a:lnTo>
                  <a:pt x="1022348" y="0"/>
                </a:lnTo>
                <a:lnTo>
                  <a:pt x="1022348" y="1172168"/>
                </a:lnTo>
                <a:lnTo>
                  <a:pt x="879473" y="1172168"/>
                </a:lnTo>
                <a:close/>
              </a:path>
            </a:pathLst>
          </a:custGeom>
          <a:solidFill>
            <a:srgbClr val="0072C6"/>
          </a:solidFill>
          <a:ln w="1905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a:ea typeface="+mn-ea"/>
              <a:cs typeface="+mn-cs"/>
            </a:endParaRPr>
          </a:p>
        </p:txBody>
      </p:sp>
      <p:sp>
        <p:nvSpPr>
          <p:cNvPr id="90" name="Freeform 89"/>
          <p:cNvSpPr/>
          <p:nvPr/>
        </p:nvSpPr>
        <p:spPr bwMode="auto">
          <a:xfrm>
            <a:off x="910092" y="4843639"/>
            <a:ext cx="213706" cy="323838"/>
          </a:xfrm>
          <a:custGeom>
            <a:avLst/>
            <a:gdLst>
              <a:gd name="connsiteX0" fmla="*/ 43974 w 1487862"/>
              <a:gd name="connsiteY0" fmla="*/ 1576652 h 2254622"/>
              <a:gd name="connsiteX1" fmla="*/ 43974 w 1487862"/>
              <a:gd name="connsiteY1" fmla="*/ 2210648 h 2254622"/>
              <a:gd name="connsiteX2" fmla="*/ 677970 w 1487862"/>
              <a:gd name="connsiteY2" fmla="*/ 2210648 h 2254622"/>
              <a:gd name="connsiteX3" fmla="*/ 677970 w 1487862"/>
              <a:gd name="connsiteY3" fmla="*/ 1576652 h 2254622"/>
              <a:gd name="connsiteX4" fmla="*/ 0 w 1487862"/>
              <a:gd name="connsiteY4" fmla="*/ 1532678 h 2254622"/>
              <a:gd name="connsiteX5" fmla="*/ 721944 w 1487862"/>
              <a:gd name="connsiteY5" fmla="*/ 1532678 h 2254622"/>
              <a:gd name="connsiteX6" fmla="*/ 721944 w 1487862"/>
              <a:gd name="connsiteY6" fmla="*/ 2254622 h 2254622"/>
              <a:gd name="connsiteX7" fmla="*/ 0 w 1487862"/>
              <a:gd name="connsiteY7" fmla="*/ 2254622 h 2254622"/>
              <a:gd name="connsiteX8" fmla="*/ 43552 w 1487862"/>
              <a:gd name="connsiteY8" fmla="*/ 810313 h 2254622"/>
              <a:gd name="connsiteX9" fmla="*/ 43552 w 1487862"/>
              <a:gd name="connsiteY9" fmla="*/ 1444309 h 2254622"/>
              <a:gd name="connsiteX10" fmla="*/ 1444310 w 1487862"/>
              <a:gd name="connsiteY10" fmla="*/ 1444309 h 2254622"/>
              <a:gd name="connsiteX11" fmla="*/ 1444310 w 1487862"/>
              <a:gd name="connsiteY11" fmla="*/ 810313 h 2254622"/>
              <a:gd name="connsiteX12" fmla="*/ 0 w 1487862"/>
              <a:gd name="connsiteY12" fmla="*/ 766339 h 2254622"/>
              <a:gd name="connsiteX13" fmla="*/ 1487862 w 1487862"/>
              <a:gd name="connsiteY13" fmla="*/ 766339 h 2254622"/>
              <a:gd name="connsiteX14" fmla="*/ 1487862 w 1487862"/>
              <a:gd name="connsiteY14" fmla="*/ 1488283 h 2254622"/>
              <a:gd name="connsiteX15" fmla="*/ 0 w 1487862"/>
              <a:gd name="connsiteY15" fmla="*/ 1488283 h 2254622"/>
              <a:gd name="connsiteX16" fmla="*/ 43974 w 1487862"/>
              <a:gd name="connsiteY16" fmla="*/ 43974 h 2254622"/>
              <a:gd name="connsiteX17" fmla="*/ 43974 w 1487862"/>
              <a:gd name="connsiteY17" fmla="*/ 677970 h 2254622"/>
              <a:gd name="connsiteX18" fmla="*/ 677970 w 1487862"/>
              <a:gd name="connsiteY18" fmla="*/ 677970 h 2254622"/>
              <a:gd name="connsiteX19" fmla="*/ 677970 w 1487862"/>
              <a:gd name="connsiteY19" fmla="*/ 43974 h 2254622"/>
              <a:gd name="connsiteX20" fmla="*/ 765918 w 1487862"/>
              <a:gd name="connsiteY20" fmla="*/ 0 h 2254622"/>
              <a:gd name="connsiteX21" fmla="*/ 1487862 w 1487862"/>
              <a:gd name="connsiteY21" fmla="*/ 0 h 2254622"/>
              <a:gd name="connsiteX22" fmla="*/ 1487862 w 1487862"/>
              <a:gd name="connsiteY22" fmla="*/ 721944 h 2254622"/>
              <a:gd name="connsiteX23" fmla="*/ 765918 w 1487862"/>
              <a:gd name="connsiteY23" fmla="*/ 721944 h 2254622"/>
              <a:gd name="connsiteX24" fmla="*/ 0 w 1487862"/>
              <a:gd name="connsiteY24" fmla="*/ 0 h 2254622"/>
              <a:gd name="connsiteX25" fmla="*/ 721944 w 1487862"/>
              <a:gd name="connsiteY25" fmla="*/ 0 h 2254622"/>
              <a:gd name="connsiteX26" fmla="*/ 721944 w 1487862"/>
              <a:gd name="connsiteY26" fmla="*/ 721944 h 2254622"/>
              <a:gd name="connsiteX27" fmla="*/ 0 w 1487862"/>
              <a:gd name="connsiteY27" fmla="*/ 721944 h 225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87862" h="2254622">
                <a:moveTo>
                  <a:pt x="43974" y="1576652"/>
                </a:moveTo>
                <a:lnTo>
                  <a:pt x="43974" y="2210648"/>
                </a:lnTo>
                <a:lnTo>
                  <a:pt x="677970" y="2210648"/>
                </a:lnTo>
                <a:lnTo>
                  <a:pt x="677970" y="1576652"/>
                </a:lnTo>
                <a:close/>
                <a:moveTo>
                  <a:pt x="0" y="1532678"/>
                </a:moveTo>
                <a:lnTo>
                  <a:pt x="721944" y="1532678"/>
                </a:lnTo>
                <a:lnTo>
                  <a:pt x="721944" y="2254622"/>
                </a:lnTo>
                <a:lnTo>
                  <a:pt x="0" y="2254622"/>
                </a:lnTo>
                <a:close/>
                <a:moveTo>
                  <a:pt x="43552" y="810313"/>
                </a:moveTo>
                <a:lnTo>
                  <a:pt x="43552" y="1444309"/>
                </a:lnTo>
                <a:lnTo>
                  <a:pt x="1444310" y="1444309"/>
                </a:lnTo>
                <a:lnTo>
                  <a:pt x="1444310" y="810313"/>
                </a:lnTo>
                <a:close/>
                <a:moveTo>
                  <a:pt x="0" y="766339"/>
                </a:moveTo>
                <a:lnTo>
                  <a:pt x="1487862" y="766339"/>
                </a:lnTo>
                <a:lnTo>
                  <a:pt x="1487862" y="1488283"/>
                </a:lnTo>
                <a:lnTo>
                  <a:pt x="0" y="1488283"/>
                </a:lnTo>
                <a:close/>
                <a:moveTo>
                  <a:pt x="43974" y="43974"/>
                </a:moveTo>
                <a:lnTo>
                  <a:pt x="43974" y="677970"/>
                </a:lnTo>
                <a:lnTo>
                  <a:pt x="677970" y="677970"/>
                </a:lnTo>
                <a:lnTo>
                  <a:pt x="677970" y="43974"/>
                </a:lnTo>
                <a:close/>
                <a:moveTo>
                  <a:pt x="765918" y="0"/>
                </a:moveTo>
                <a:lnTo>
                  <a:pt x="1487862" y="0"/>
                </a:lnTo>
                <a:lnTo>
                  <a:pt x="1487862" y="721944"/>
                </a:lnTo>
                <a:lnTo>
                  <a:pt x="765918" y="721944"/>
                </a:lnTo>
                <a:close/>
                <a:moveTo>
                  <a:pt x="0" y="0"/>
                </a:moveTo>
                <a:lnTo>
                  <a:pt x="721944" y="0"/>
                </a:lnTo>
                <a:lnTo>
                  <a:pt x="721944" y="721944"/>
                </a:lnTo>
                <a:lnTo>
                  <a:pt x="0" y="721944"/>
                </a:ln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1" name="Freeform 90"/>
          <p:cNvSpPr/>
          <p:nvPr/>
        </p:nvSpPr>
        <p:spPr bwMode="auto">
          <a:xfrm>
            <a:off x="11277600" y="2263166"/>
            <a:ext cx="228600" cy="3139440"/>
          </a:xfrm>
          <a:custGeom>
            <a:avLst/>
            <a:gdLst>
              <a:gd name="connsiteX0" fmla="*/ 0 w 228600"/>
              <a:gd name="connsiteY0" fmla="*/ 0 h 3139440"/>
              <a:gd name="connsiteX1" fmla="*/ 228600 w 228600"/>
              <a:gd name="connsiteY1" fmla="*/ 0 h 3139440"/>
              <a:gd name="connsiteX2" fmla="*/ 228600 w 228600"/>
              <a:gd name="connsiteY2" fmla="*/ 3139440 h 3139440"/>
            </a:gdLst>
            <a:ahLst/>
            <a:cxnLst>
              <a:cxn ang="0">
                <a:pos x="connsiteX0" y="connsiteY0"/>
              </a:cxn>
              <a:cxn ang="0">
                <a:pos x="connsiteX1" y="connsiteY1"/>
              </a:cxn>
              <a:cxn ang="0">
                <a:pos x="connsiteX2" y="connsiteY2"/>
              </a:cxn>
            </a:cxnLst>
            <a:rect l="l" t="t" r="r" b="b"/>
            <a:pathLst>
              <a:path w="228600" h="3139440">
                <a:moveTo>
                  <a:pt x="0" y="0"/>
                </a:moveTo>
                <a:lnTo>
                  <a:pt x="228600" y="0"/>
                </a:lnTo>
                <a:lnTo>
                  <a:pt x="228600" y="3139440"/>
                </a:lnTo>
              </a:path>
            </a:pathLst>
          </a:custGeom>
          <a:noFill/>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4" name="Freeform 93"/>
          <p:cNvSpPr/>
          <p:nvPr/>
        </p:nvSpPr>
        <p:spPr bwMode="auto">
          <a:xfrm>
            <a:off x="2998840" y="2073165"/>
            <a:ext cx="359347" cy="363348"/>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sp>
        <p:nvSpPr>
          <p:cNvPr id="95" name="Oval 88"/>
          <p:cNvSpPr/>
          <p:nvPr/>
        </p:nvSpPr>
        <p:spPr>
          <a:xfrm>
            <a:off x="874747" y="5637406"/>
            <a:ext cx="305649" cy="318113"/>
          </a:xfrm>
          <a:custGeom>
            <a:avLst/>
            <a:gdLst/>
            <a:ahLst/>
            <a:cxnLst/>
            <a:rect l="l" t="t" r="r" b="b"/>
            <a:pathLst>
              <a:path w="1255211" h="1656051">
                <a:moveTo>
                  <a:pt x="638840" y="98404"/>
                </a:moveTo>
                <a:cubicBezTo>
                  <a:pt x="356498" y="98404"/>
                  <a:pt x="127615" y="169347"/>
                  <a:pt x="127615" y="256860"/>
                </a:cubicBezTo>
                <a:cubicBezTo>
                  <a:pt x="127615" y="344373"/>
                  <a:pt x="356498" y="415316"/>
                  <a:pt x="638840" y="415316"/>
                </a:cubicBezTo>
                <a:cubicBezTo>
                  <a:pt x="921182" y="415316"/>
                  <a:pt x="1150065" y="344373"/>
                  <a:pt x="1150065" y="256860"/>
                </a:cubicBezTo>
                <a:cubicBezTo>
                  <a:pt x="1150065" y="169347"/>
                  <a:pt x="921182" y="98404"/>
                  <a:pt x="638840" y="98404"/>
                </a:cubicBezTo>
                <a:close/>
                <a:moveTo>
                  <a:pt x="627606" y="7"/>
                </a:moveTo>
                <a:cubicBezTo>
                  <a:pt x="834366" y="-787"/>
                  <a:pt x="1214415" y="70042"/>
                  <a:pt x="1247888" y="228376"/>
                </a:cubicBezTo>
                <a:lnTo>
                  <a:pt x="1255211" y="223614"/>
                </a:lnTo>
                <a:lnTo>
                  <a:pt x="1255211" y="317516"/>
                </a:lnTo>
                <a:lnTo>
                  <a:pt x="1255211" y="1338542"/>
                </a:lnTo>
                <a:lnTo>
                  <a:pt x="1255211" y="1404562"/>
                </a:lnTo>
                <a:lnTo>
                  <a:pt x="1241216" y="1404562"/>
                </a:lnTo>
                <a:cubicBezTo>
                  <a:pt x="1181427" y="1548293"/>
                  <a:pt x="929392" y="1656051"/>
                  <a:pt x="627606" y="1656051"/>
                </a:cubicBezTo>
                <a:cubicBezTo>
                  <a:pt x="325821" y="1656051"/>
                  <a:pt x="73786" y="1548293"/>
                  <a:pt x="13998" y="1404562"/>
                </a:cubicBezTo>
                <a:lnTo>
                  <a:pt x="0" y="1404562"/>
                </a:lnTo>
                <a:lnTo>
                  <a:pt x="0" y="1338542"/>
                </a:lnTo>
                <a:lnTo>
                  <a:pt x="0" y="317516"/>
                </a:lnTo>
                <a:lnTo>
                  <a:pt x="0" y="280764"/>
                </a:lnTo>
                <a:cubicBezTo>
                  <a:pt x="2442" y="280764"/>
                  <a:pt x="4882" y="233138"/>
                  <a:pt x="7323" y="233138"/>
                </a:cubicBezTo>
                <a:cubicBezTo>
                  <a:pt x="40799" y="74804"/>
                  <a:pt x="420845" y="801"/>
                  <a:pt x="627606" y="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a:endParaRPr lang="en-US" sz="1350">
              <a:gradFill>
                <a:gsLst>
                  <a:gs pos="1250">
                    <a:srgbClr val="505050"/>
                  </a:gs>
                  <a:gs pos="74000">
                    <a:srgbClr val="505050"/>
                  </a:gs>
                </a:gsLst>
                <a:lin ang="5400000" scaled="0"/>
              </a:gradFill>
            </a:endParaRPr>
          </a:p>
        </p:txBody>
      </p:sp>
      <p:grpSp>
        <p:nvGrpSpPr>
          <p:cNvPr id="98" name="Group 97"/>
          <p:cNvGrpSpPr>
            <a:grpSpLocks noChangeAspect="1"/>
          </p:cNvGrpSpPr>
          <p:nvPr/>
        </p:nvGrpSpPr>
        <p:grpSpPr>
          <a:xfrm>
            <a:off x="2951828" y="3248350"/>
            <a:ext cx="457200" cy="351216"/>
            <a:chOff x="1260022" y="5196402"/>
            <a:chExt cx="3273425" cy="2514600"/>
          </a:xfrm>
          <a:solidFill>
            <a:schemeClr val="accent1"/>
          </a:solidFill>
        </p:grpSpPr>
        <p:sp>
          <p:nvSpPr>
            <p:cNvPr id="99" name="Freeform 98"/>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p>
          </p:txBody>
        </p:sp>
        <p:sp>
          <p:nvSpPr>
            <p:cNvPr id="100" name="Freeform 99"/>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p>
          </p:txBody>
        </p:sp>
        <p:sp>
          <p:nvSpPr>
            <p:cNvPr id="101" name="Freeform 100"/>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p>
          </p:txBody>
        </p:sp>
        <p:sp>
          <p:nvSpPr>
            <p:cNvPr id="102" name="Freeform 101"/>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p>
          </p:txBody>
        </p:sp>
      </p:grpSp>
      <p:sp>
        <p:nvSpPr>
          <p:cNvPr id="103" name="Freeform 102"/>
          <p:cNvSpPr>
            <a:spLocks noChangeAspect="1"/>
          </p:cNvSpPr>
          <p:nvPr/>
        </p:nvSpPr>
        <p:spPr bwMode="auto">
          <a:xfrm>
            <a:off x="4346329" y="3957416"/>
            <a:ext cx="483331" cy="36576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93260" tIns="46630" rIns="93260" bIns="46630" numCol="1" anchor="t" anchorCtr="0" compatLnSpc="1">
            <a:prstTxWarp prst="textNoShape">
              <a:avLst/>
            </a:prstTxWarp>
          </a:bodyPr>
          <a:lstStyle/>
          <a:p>
            <a:endParaRPr lang="en-US" sz="1632" dirty="0"/>
          </a:p>
        </p:txBody>
      </p:sp>
      <p:sp>
        <p:nvSpPr>
          <p:cNvPr id="105" name="Freeform 104"/>
          <p:cNvSpPr>
            <a:spLocks noChangeAspect="1"/>
          </p:cNvSpPr>
          <p:nvPr/>
        </p:nvSpPr>
        <p:spPr bwMode="auto">
          <a:xfrm>
            <a:off x="3453801" y="5251953"/>
            <a:ext cx="187148" cy="196667"/>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grpSp>
        <p:nvGrpSpPr>
          <p:cNvPr id="106" name="Group 105"/>
          <p:cNvGrpSpPr>
            <a:grpSpLocks noChangeAspect="1"/>
          </p:cNvGrpSpPr>
          <p:nvPr/>
        </p:nvGrpSpPr>
        <p:grpSpPr>
          <a:xfrm>
            <a:off x="4186380" y="5643611"/>
            <a:ext cx="189113" cy="201168"/>
            <a:chOff x="3232150" y="382588"/>
            <a:chExt cx="5727700" cy="6092825"/>
          </a:xfrm>
          <a:solidFill>
            <a:schemeClr val="accent1"/>
          </a:solidFill>
        </p:grpSpPr>
        <p:sp>
          <p:nvSpPr>
            <p:cNvPr id="107"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8"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9"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10" name="TextBox 109"/>
          <p:cNvSpPr txBox="1"/>
          <p:nvPr/>
        </p:nvSpPr>
        <p:spPr>
          <a:xfrm>
            <a:off x="3567512" y="2311841"/>
            <a:ext cx="370999" cy="369332"/>
          </a:xfrm>
          <a:prstGeom prst="rect">
            <a:avLst/>
          </a:prstGeom>
          <a:noFill/>
        </p:spPr>
        <p:txBody>
          <a:bodyPr wrap="none" lIns="0" tIns="0" rIns="0" bIns="0" rtlCol="0">
            <a:spAutoFit/>
          </a:bodyPr>
          <a:lstStyle/>
          <a:p>
            <a:r>
              <a:rPr lang="en-US" sz="1200" dirty="0">
                <a:solidFill>
                  <a:schemeClr val="bg1"/>
                </a:solidFill>
              </a:rPr>
              <a:t>Event</a:t>
            </a:r>
          </a:p>
          <a:p>
            <a:r>
              <a:rPr lang="en-US" sz="1200" dirty="0">
                <a:solidFill>
                  <a:schemeClr val="bg1"/>
                </a:solidFill>
              </a:rPr>
              <a:t>Hubs</a:t>
            </a:r>
          </a:p>
        </p:txBody>
      </p:sp>
      <p:sp>
        <p:nvSpPr>
          <p:cNvPr id="114" name="Freeform 113"/>
          <p:cNvSpPr>
            <a:spLocks noChangeAspect="1"/>
          </p:cNvSpPr>
          <p:nvPr/>
        </p:nvSpPr>
        <p:spPr bwMode="auto">
          <a:xfrm flipH="1">
            <a:off x="6404672" y="4039511"/>
            <a:ext cx="365760" cy="387065"/>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grpSp>
        <p:nvGrpSpPr>
          <p:cNvPr id="115" name="Group 114"/>
          <p:cNvGrpSpPr>
            <a:grpSpLocks noChangeAspect="1"/>
          </p:cNvGrpSpPr>
          <p:nvPr/>
        </p:nvGrpSpPr>
        <p:grpSpPr>
          <a:xfrm>
            <a:off x="8614221" y="4148351"/>
            <a:ext cx="365760" cy="447971"/>
            <a:chOff x="-3084513" y="3390510"/>
            <a:chExt cx="2716213" cy="3363913"/>
          </a:xfrm>
          <a:solidFill>
            <a:schemeClr val="accent1"/>
          </a:solidFill>
        </p:grpSpPr>
        <p:sp>
          <p:nvSpPr>
            <p:cNvPr id="116"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7"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19" name="Freeform 118"/>
          <p:cNvSpPr/>
          <p:nvPr/>
        </p:nvSpPr>
        <p:spPr bwMode="auto">
          <a:xfrm>
            <a:off x="4222475" y="3777031"/>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0" name="Freeform 119"/>
          <p:cNvSpPr/>
          <p:nvPr/>
        </p:nvSpPr>
        <p:spPr bwMode="auto">
          <a:xfrm>
            <a:off x="6266693" y="3904444"/>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1" name="Freeform 120"/>
          <p:cNvSpPr>
            <a:spLocks noChangeAspect="1"/>
          </p:cNvSpPr>
          <p:nvPr/>
        </p:nvSpPr>
        <p:spPr bwMode="auto">
          <a:xfrm>
            <a:off x="7165706" y="4084829"/>
            <a:ext cx="483331" cy="36576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93260" tIns="46630" rIns="93260" bIns="46630" numCol="1" anchor="t" anchorCtr="0" compatLnSpc="1">
            <a:prstTxWarp prst="textNoShape">
              <a:avLst/>
            </a:prstTxWarp>
          </a:bodyPr>
          <a:lstStyle/>
          <a:p>
            <a:endParaRPr lang="en-US" sz="1632" dirty="0"/>
          </a:p>
        </p:txBody>
      </p:sp>
      <p:sp>
        <p:nvSpPr>
          <p:cNvPr id="122" name="Freeform 121"/>
          <p:cNvSpPr/>
          <p:nvPr/>
        </p:nvSpPr>
        <p:spPr bwMode="auto">
          <a:xfrm>
            <a:off x="7041852" y="3904444"/>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3" name="TextBox 122"/>
          <p:cNvSpPr txBox="1"/>
          <p:nvPr/>
        </p:nvSpPr>
        <p:spPr>
          <a:xfrm>
            <a:off x="7074808" y="3556291"/>
            <a:ext cx="678071" cy="369332"/>
          </a:xfrm>
          <a:prstGeom prst="rect">
            <a:avLst/>
          </a:prstGeom>
          <a:noFill/>
        </p:spPr>
        <p:txBody>
          <a:bodyPr wrap="none" lIns="0" tIns="0" rIns="0" bIns="0" rtlCol="0">
            <a:spAutoFit/>
          </a:bodyPr>
          <a:lstStyle/>
          <a:p>
            <a:r>
              <a:rPr lang="en-US" sz="1200" dirty="0">
                <a:solidFill>
                  <a:schemeClr val="bg1"/>
                </a:solidFill>
              </a:rPr>
              <a:t>HDInsight</a:t>
            </a:r>
            <a:br>
              <a:rPr lang="en-US" sz="1200" dirty="0">
                <a:solidFill>
                  <a:schemeClr val="bg1"/>
                </a:solidFill>
              </a:rPr>
            </a:br>
            <a:endParaRPr lang="en-US" sz="1200" dirty="0">
              <a:solidFill>
                <a:schemeClr val="bg1"/>
              </a:solidFill>
            </a:endParaRPr>
          </a:p>
        </p:txBody>
      </p:sp>
      <p:grpSp>
        <p:nvGrpSpPr>
          <p:cNvPr id="127" name="Group 126"/>
          <p:cNvGrpSpPr/>
          <p:nvPr/>
        </p:nvGrpSpPr>
        <p:grpSpPr>
          <a:xfrm>
            <a:off x="6725694" y="1618397"/>
            <a:ext cx="693444" cy="693444"/>
            <a:chOff x="6419093" y="4056844"/>
            <a:chExt cx="693444" cy="693444"/>
          </a:xfrm>
        </p:grpSpPr>
        <p:sp>
          <p:nvSpPr>
            <p:cNvPr id="125" name="Freeform 124"/>
            <p:cNvSpPr>
              <a:spLocks noChangeAspect="1"/>
            </p:cNvSpPr>
            <p:nvPr/>
          </p:nvSpPr>
          <p:spPr bwMode="auto">
            <a:xfrm flipH="1">
              <a:off x="6582472" y="4191911"/>
              <a:ext cx="365760" cy="387065"/>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126" name="Freeform 125"/>
            <p:cNvSpPr/>
            <p:nvPr/>
          </p:nvSpPr>
          <p:spPr bwMode="auto">
            <a:xfrm>
              <a:off x="6419093" y="4056844"/>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34" name="Group 133"/>
          <p:cNvGrpSpPr/>
          <p:nvPr/>
        </p:nvGrpSpPr>
        <p:grpSpPr>
          <a:xfrm>
            <a:off x="6751094" y="2379440"/>
            <a:ext cx="693444" cy="693444"/>
            <a:chOff x="3001611" y="3218184"/>
            <a:chExt cx="693444" cy="693444"/>
          </a:xfrm>
        </p:grpSpPr>
        <p:sp>
          <p:nvSpPr>
            <p:cNvPr id="128" name="Freeform 127"/>
            <p:cNvSpPr/>
            <p:nvPr/>
          </p:nvSpPr>
          <p:spPr bwMode="auto">
            <a:xfrm>
              <a:off x="3001611" y="3218184"/>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9" name="Group 128"/>
            <p:cNvGrpSpPr>
              <a:grpSpLocks noChangeAspect="1"/>
            </p:cNvGrpSpPr>
            <p:nvPr/>
          </p:nvGrpSpPr>
          <p:grpSpPr>
            <a:xfrm>
              <a:off x="3104228" y="3400750"/>
              <a:ext cx="457200" cy="351216"/>
              <a:chOff x="1260022" y="5196402"/>
              <a:chExt cx="3273425" cy="2514600"/>
            </a:xfrm>
            <a:solidFill>
              <a:schemeClr val="accent1"/>
            </a:solidFill>
          </p:grpSpPr>
          <p:sp>
            <p:nvSpPr>
              <p:cNvPr id="130" name="Freeform 129"/>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p>
            </p:txBody>
          </p:sp>
          <p:sp>
            <p:nvSpPr>
              <p:cNvPr id="131" name="Freeform 130"/>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p>
            </p:txBody>
          </p:sp>
          <p:sp>
            <p:nvSpPr>
              <p:cNvPr id="132" name="Freeform 131"/>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p>
            </p:txBody>
          </p:sp>
          <p:sp>
            <p:nvSpPr>
              <p:cNvPr id="133" name="Freeform 132"/>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p>
            </p:txBody>
          </p:sp>
        </p:grpSp>
      </p:grpSp>
      <p:sp>
        <p:nvSpPr>
          <p:cNvPr id="137" name="TextBox 136"/>
          <p:cNvSpPr txBox="1"/>
          <p:nvPr/>
        </p:nvSpPr>
        <p:spPr>
          <a:xfrm>
            <a:off x="7418198" y="1691370"/>
            <a:ext cx="584775" cy="369332"/>
          </a:xfrm>
          <a:prstGeom prst="rect">
            <a:avLst/>
          </a:prstGeom>
          <a:noFill/>
        </p:spPr>
        <p:txBody>
          <a:bodyPr wrap="none" lIns="0" tIns="0" rIns="0" bIns="0" rtlCol="0">
            <a:spAutoFit/>
          </a:bodyPr>
          <a:lstStyle/>
          <a:p>
            <a:r>
              <a:rPr lang="en-US" sz="1200" dirty="0">
                <a:solidFill>
                  <a:schemeClr val="bg1"/>
                </a:solidFill>
              </a:rPr>
              <a:t>Machine</a:t>
            </a:r>
            <a:br>
              <a:rPr lang="en-US" sz="1200" dirty="0">
                <a:solidFill>
                  <a:schemeClr val="bg1"/>
                </a:solidFill>
              </a:rPr>
            </a:br>
            <a:r>
              <a:rPr lang="en-US" sz="1200" dirty="0">
                <a:solidFill>
                  <a:schemeClr val="bg1"/>
                </a:solidFill>
              </a:rPr>
              <a:t>Learning</a:t>
            </a:r>
          </a:p>
        </p:txBody>
      </p:sp>
      <p:sp>
        <p:nvSpPr>
          <p:cNvPr id="138" name="TextBox 137"/>
          <p:cNvSpPr txBox="1"/>
          <p:nvPr/>
        </p:nvSpPr>
        <p:spPr>
          <a:xfrm>
            <a:off x="6158903" y="2530255"/>
            <a:ext cx="601575" cy="369332"/>
          </a:xfrm>
          <a:prstGeom prst="rect">
            <a:avLst/>
          </a:prstGeom>
          <a:noFill/>
        </p:spPr>
        <p:txBody>
          <a:bodyPr wrap="none" lIns="0" tIns="0" rIns="0" bIns="0" rtlCol="0">
            <a:spAutoFit/>
          </a:bodyPr>
          <a:lstStyle/>
          <a:p>
            <a:r>
              <a:rPr lang="en-US" sz="1200" dirty="0">
                <a:solidFill>
                  <a:schemeClr val="bg1"/>
                </a:solidFill>
              </a:rPr>
              <a:t>Stream</a:t>
            </a:r>
            <a:br>
              <a:rPr lang="en-US" sz="1200" dirty="0">
                <a:solidFill>
                  <a:schemeClr val="bg1"/>
                </a:solidFill>
              </a:rPr>
            </a:br>
            <a:r>
              <a:rPr lang="en-US" sz="1200" dirty="0">
                <a:solidFill>
                  <a:schemeClr val="bg1"/>
                </a:solidFill>
              </a:rPr>
              <a:t>Analytics</a:t>
            </a:r>
          </a:p>
        </p:txBody>
      </p:sp>
      <p:sp>
        <p:nvSpPr>
          <p:cNvPr id="142" name="Freeform 141"/>
          <p:cNvSpPr/>
          <p:nvPr/>
        </p:nvSpPr>
        <p:spPr bwMode="auto">
          <a:xfrm>
            <a:off x="8441330" y="4029987"/>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46" name="Group 145"/>
          <p:cNvGrpSpPr/>
          <p:nvPr/>
        </p:nvGrpSpPr>
        <p:grpSpPr>
          <a:xfrm>
            <a:off x="10669582" y="3269045"/>
            <a:ext cx="301767" cy="301767"/>
            <a:chOff x="3236100" y="589298"/>
            <a:chExt cx="5641200" cy="5641200"/>
          </a:xfrm>
        </p:grpSpPr>
        <p:sp>
          <p:nvSpPr>
            <p:cNvPr id="147" name="Freeform 146"/>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sp>
          <p:nvSpPr>
            <p:cNvPr id="148" name="Freeform 147"/>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grpSp>
      <p:pic>
        <p:nvPicPr>
          <p:cNvPr id="111" name="Picture 11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155282" y="4862391"/>
            <a:ext cx="225616" cy="225616"/>
          </a:xfrm>
          <a:prstGeom prst="rect">
            <a:avLst/>
          </a:prstGeom>
        </p:spPr>
      </p:pic>
    </p:spTree>
    <p:extLst>
      <p:ext uri="{BB962C8B-B14F-4D97-AF65-F5344CB8AC3E}">
        <p14:creationId xmlns:p14="http://schemas.microsoft.com/office/powerpoint/2010/main" val="904188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p:cNvSpPr/>
          <p:nvPr/>
        </p:nvSpPr>
        <p:spPr bwMode="auto">
          <a:xfrm>
            <a:off x="0" y="2558339"/>
            <a:ext cx="12436475" cy="3896005"/>
          </a:xfrm>
          <a:prstGeom prst="rect">
            <a:avLst/>
          </a:prstGeom>
          <a:solidFill>
            <a:schemeClr val="tx1">
              <a:lumMod val="95000"/>
            </a:schemeClr>
          </a:solidFill>
          <a:ln w="317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000" kern="0" dirty="0">
              <a:gradFill>
                <a:gsLst>
                  <a:gs pos="1250">
                    <a:srgbClr val="505050"/>
                  </a:gs>
                  <a:gs pos="76000">
                    <a:srgbClr val="505050"/>
                  </a:gs>
                </a:gsLst>
                <a:lin ang="5400000" scaled="0"/>
              </a:gradFill>
            </a:endParaRPr>
          </a:p>
        </p:txBody>
      </p:sp>
      <p:sp>
        <p:nvSpPr>
          <p:cNvPr id="7" name="Title 6"/>
          <p:cNvSpPr>
            <a:spLocks noGrp="1"/>
          </p:cNvSpPr>
          <p:nvPr>
            <p:ph type="title"/>
          </p:nvPr>
        </p:nvSpPr>
        <p:spPr/>
        <p:txBody>
          <a:bodyPr/>
          <a:lstStyle/>
          <a:p>
            <a:r>
              <a:rPr lang="en-US" sz="3600" dirty="0"/>
              <a:t>With Cortana Intelligence, better predict needs and trends</a:t>
            </a:r>
          </a:p>
        </p:txBody>
      </p:sp>
      <p:grpSp>
        <p:nvGrpSpPr>
          <p:cNvPr id="114" name="Group 113"/>
          <p:cNvGrpSpPr/>
          <p:nvPr/>
        </p:nvGrpSpPr>
        <p:grpSpPr>
          <a:xfrm>
            <a:off x="8251706" y="2756254"/>
            <a:ext cx="803730" cy="803730"/>
            <a:chOff x="8255948" y="1246183"/>
            <a:chExt cx="1016000" cy="1016000"/>
          </a:xfrm>
        </p:grpSpPr>
        <p:sp>
          <p:nvSpPr>
            <p:cNvPr id="157" name="Oval 156"/>
            <p:cNvSpPr/>
            <p:nvPr/>
          </p:nvSpPr>
          <p:spPr bwMode="auto">
            <a:xfrm>
              <a:off x="8255948" y="1246183"/>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dirty="0">
                <a:gradFill>
                  <a:gsLst>
                    <a:gs pos="1250">
                      <a:srgbClr val="505050"/>
                    </a:gs>
                    <a:gs pos="76000">
                      <a:srgbClr val="505050"/>
                    </a:gs>
                  </a:gsLst>
                  <a:lin ang="5400000" scaled="0"/>
                </a:gradFill>
              </a:endParaRPr>
            </a:p>
          </p:txBody>
        </p:sp>
        <p:grpSp>
          <p:nvGrpSpPr>
            <p:cNvPr id="158" name="Group 14"/>
            <p:cNvGrpSpPr>
              <a:grpSpLocks noChangeAspect="1"/>
            </p:cNvGrpSpPr>
            <p:nvPr/>
          </p:nvGrpSpPr>
          <p:grpSpPr bwMode="auto">
            <a:xfrm>
              <a:off x="8510745" y="1613690"/>
              <a:ext cx="506413" cy="280987"/>
              <a:chOff x="5338" y="1027"/>
              <a:chExt cx="319" cy="177"/>
            </a:xfrm>
            <a:solidFill>
              <a:srgbClr val="FFFFFF"/>
            </a:solidFill>
          </p:grpSpPr>
          <p:sp>
            <p:nvSpPr>
              <p:cNvPr id="159" name="Rectangle 15"/>
              <p:cNvSpPr>
                <a:spLocks noChangeArrowheads="1"/>
              </p:cNvSpPr>
              <p:nvPr/>
            </p:nvSpPr>
            <p:spPr bwMode="auto">
              <a:xfrm>
                <a:off x="5406" y="1027"/>
                <a:ext cx="251" cy="20"/>
              </a:xfrm>
              <a:prstGeom prst="rect">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sp>
            <p:nvSpPr>
              <p:cNvPr id="160" name="Rectangle 16"/>
              <p:cNvSpPr>
                <a:spLocks noChangeArrowheads="1"/>
              </p:cNvSpPr>
              <p:nvPr/>
            </p:nvSpPr>
            <p:spPr bwMode="auto">
              <a:xfrm>
                <a:off x="5348" y="1106"/>
                <a:ext cx="19" cy="19"/>
              </a:xfrm>
              <a:prstGeom prst="rect">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sp>
            <p:nvSpPr>
              <p:cNvPr id="161" name="Rectangle 17"/>
              <p:cNvSpPr>
                <a:spLocks noChangeArrowheads="1"/>
              </p:cNvSpPr>
              <p:nvPr/>
            </p:nvSpPr>
            <p:spPr bwMode="auto">
              <a:xfrm>
                <a:off x="5348" y="1027"/>
                <a:ext cx="19" cy="20"/>
              </a:xfrm>
              <a:prstGeom prst="rect">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sp>
            <p:nvSpPr>
              <p:cNvPr id="162" name="Rectangle 18"/>
              <p:cNvSpPr>
                <a:spLocks noChangeArrowheads="1"/>
              </p:cNvSpPr>
              <p:nvPr/>
            </p:nvSpPr>
            <p:spPr bwMode="auto">
              <a:xfrm>
                <a:off x="5406" y="1106"/>
                <a:ext cx="251" cy="19"/>
              </a:xfrm>
              <a:prstGeom prst="rect">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sp>
            <p:nvSpPr>
              <p:cNvPr id="163" name="Rectangle 19"/>
              <p:cNvSpPr>
                <a:spLocks noChangeArrowheads="1"/>
              </p:cNvSpPr>
              <p:nvPr/>
            </p:nvSpPr>
            <p:spPr bwMode="auto">
              <a:xfrm>
                <a:off x="5406" y="1184"/>
                <a:ext cx="251" cy="20"/>
              </a:xfrm>
              <a:prstGeom prst="rect">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sp>
            <p:nvSpPr>
              <p:cNvPr id="164" name="Freeform 20"/>
              <p:cNvSpPr>
                <a:spLocks/>
              </p:cNvSpPr>
              <p:nvPr/>
            </p:nvSpPr>
            <p:spPr bwMode="auto">
              <a:xfrm>
                <a:off x="5338" y="1157"/>
                <a:ext cx="56" cy="47"/>
              </a:xfrm>
              <a:custGeom>
                <a:avLst/>
                <a:gdLst>
                  <a:gd name="T0" fmla="*/ 20 w 56"/>
                  <a:gd name="T1" fmla="*/ 47 h 47"/>
                  <a:gd name="T2" fmla="*/ 0 w 56"/>
                  <a:gd name="T3" fmla="*/ 27 h 47"/>
                  <a:gd name="T4" fmla="*/ 10 w 56"/>
                  <a:gd name="T5" fmla="*/ 18 h 47"/>
                  <a:gd name="T6" fmla="*/ 20 w 56"/>
                  <a:gd name="T7" fmla="*/ 27 h 47"/>
                  <a:gd name="T8" fmla="*/ 44 w 56"/>
                  <a:gd name="T9" fmla="*/ 0 h 47"/>
                  <a:gd name="T10" fmla="*/ 56 w 56"/>
                  <a:gd name="T11" fmla="*/ 13 h 47"/>
                  <a:gd name="T12" fmla="*/ 20 w 56"/>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56" h="47">
                    <a:moveTo>
                      <a:pt x="20" y="47"/>
                    </a:moveTo>
                    <a:lnTo>
                      <a:pt x="0" y="27"/>
                    </a:lnTo>
                    <a:lnTo>
                      <a:pt x="10" y="18"/>
                    </a:lnTo>
                    <a:lnTo>
                      <a:pt x="20" y="27"/>
                    </a:lnTo>
                    <a:lnTo>
                      <a:pt x="44" y="0"/>
                    </a:lnTo>
                    <a:lnTo>
                      <a:pt x="56" y="13"/>
                    </a:lnTo>
                    <a:lnTo>
                      <a:pt x="20" y="47"/>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grpSp>
      </p:grpSp>
      <p:grpSp>
        <p:nvGrpSpPr>
          <p:cNvPr id="115" name="Group 114"/>
          <p:cNvGrpSpPr/>
          <p:nvPr/>
        </p:nvGrpSpPr>
        <p:grpSpPr>
          <a:xfrm>
            <a:off x="8251706" y="5197208"/>
            <a:ext cx="803730" cy="803730"/>
            <a:chOff x="9874008" y="2120048"/>
            <a:chExt cx="1016000" cy="1016000"/>
          </a:xfrm>
        </p:grpSpPr>
        <p:sp>
          <p:nvSpPr>
            <p:cNvPr id="155" name="Oval 154"/>
            <p:cNvSpPr/>
            <p:nvPr/>
          </p:nvSpPr>
          <p:spPr bwMode="auto">
            <a:xfrm>
              <a:off x="9874008" y="2120048"/>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dirty="0">
                <a:gradFill>
                  <a:gsLst>
                    <a:gs pos="1250">
                      <a:srgbClr val="505050"/>
                    </a:gs>
                    <a:gs pos="76000">
                      <a:srgbClr val="505050"/>
                    </a:gs>
                  </a:gsLst>
                  <a:lin ang="5400000" scaled="0"/>
                </a:gradFill>
              </a:endParaRPr>
            </a:p>
          </p:txBody>
        </p:sp>
        <p:sp>
          <p:nvSpPr>
            <p:cNvPr id="156" name="Freeform 24"/>
            <p:cNvSpPr>
              <a:spLocks noEditPoints="1"/>
            </p:cNvSpPr>
            <p:nvPr/>
          </p:nvSpPr>
          <p:spPr bwMode="auto">
            <a:xfrm>
              <a:off x="10212146" y="2416117"/>
              <a:ext cx="339725" cy="423862"/>
            </a:xfrm>
            <a:custGeom>
              <a:avLst/>
              <a:gdLst>
                <a:gd name="T0" fmla="*/ 114 w 214"/>
                <a:gd name="T1" fmla="*/ 53 h 267"/>
                <a:gd name="T2" fmla="*/ 114 w 214"/>
                <a:gd name="T3" fmla="*/ 0 h 267"/>
                <a:gd name="T4" fmla="*/ 95 w 214"/>
                <a:gd name="T5" fmla="*/ 0 h 267"/>
                <a:gd name="T6" fmla="*/ 95 w 214"/>
                <a:gd name="T7" fmla="*/ 53 h 267"/>
                <a:gd name="T8" fmla="*/ 0 w 214"/>
                <a:gd name="T9" fmla="*/ 53 h 267"/>
                <a:gd name="T10" fmla="*/ 0 w 214"/>
                <a:gd name="T11" fmla="*/ 267 h 267"/>
                <a:gd name="T12" fmla="*/ 214 w 214"/>
                <a:gd name="T13" fmla="*/ 267 h 267"/>
                <a:gd name="T14" fmla="*/ 214 w 214"/>
                <a:gd name="T15" fmla="*/ 53 h 267"/>
                <a:gd name="T16" fmla="*/ 114 w 214"/>
                <a:gd name="T17" fmla="*/ 53 h 267"/>
                <a:gd name="T18" fmla="*/ 195 w 214"/>
                <a:gd name="T19" fmla="*/ 247 h 267"/>
                <a:gd name="T20" fmla="*/ 19 w 214"/>
                <a:gd name="T21" fmla="*/ 247 h 267"/>
                <a:gd name="T22" fmla="*/ 19 w 214"/>
                <a:gd name="T23" fmla="*/ 70 h 267"/>
                <a:gd name="T24" fmla="*/ 95 w 214"/>
                <a:gd name="T25" fmla="*/ 70 h 267"/>
                <a:gd name="T26" fmla="*/ 95 w 214"/>
                <a:gd name="T27" fmla="*/ 182 h 267"/>
                <a:gd name="T28" fmla="*/ 63 w 214"/>
                <a:gd name="T29" fmla="*/ 150 h 267"/>
                <a:gd name="T30" fmla="*/ 51 w 214"/>
                <a:gd name="T31" fmla="*/ 165 h 267"/>
                <a:gd name="T32" fmla="*/ 105 w 214"/>
                <a:gd name="T33" fmla="*/ 221 h 267"/>
                <a:gd name="T34" fmla="*/ 161 w 214"/>
                <a:gd name="T35" fmla="*/ 165 h 267"/>
                <a:gd name="T36" fmla="*/ 149 w 214"/>
                <a:gd name="T37" fmla="*/ 150 h 267"/>
                <a:gd name="T38" fmla="*/ 114 w 214"/>
                <a:gd name="T39" fmla="*/ 182 h 267"/>
                <a:gd name="T40" fmla="*/ 114 w 214"/>
                <a:gd name="T41" fmla="*/ 70 h 267"/>
                <a:gd name="T42" fmla="*/ 195 w 214"/>
                <a:gd name="T43" fmla="*/ 70 h 267"/>
                <a:gd name="T44" fmla="*/ 195 w 214"/>
                <a:gd name="T45" fmla="*/ 247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4" h="267">
                  <a:moveTo>
                    <a:pt x="114" y="53"/>
                  </a:moveTo>
                  <a:lnTo>
                    <a:pt x="114" y="0"/>
                  </a:lnTo>
                  <a:lnTo>
                    <a:pt x="95" y="0"/>
                  </a:lnTo>
                  <a:lnTo>
                    <a:pt x="95" y="53"/>
                  </a:lnTo>
                  <a:lnTo>
                    <a:pt x="0" y="53"/>
                  </a:lnTo>
                  <a:lnTo>
                    <a:pt x="0" y="267"/>
                  </a:lnTo>
                  <a:lnTo>
                    <a:pt x="214" y="267"/>
                  </a:lnTo>
                  <a:lnTo>
                    <a:pt x="214" y="53"/>
                  </a:lnTo>
                  <a:lnTo>
                    <a:pt x="114" y="53"/>
                  </a:lnTo>
                  <a:close/>
                  <a:moveTo>
                    <a:pt x="195" y="247"/>
                  </a:moveTo>
                  <a:lnTo>
                    <a:pt x="19" y="247"/>
                  </a:lnTo>
                  <a:lnTo>
                    <a:pt x="19" y="70"/>
                  </a:lnTo>
                  <a:lnTo>
                    <a:pt x="95" y="70"/>
                  </a:lnTo>
                  <a:lnTo>
                    <a:pt x="95" y="182"/>
                  </a:lnTo>
                  <a:lnTo>
                    <a:pt x="63" y="150"/>
                  </a:lnTo>
                  <a:lnTo>
                    <a:pt x="51" y="165"/>
                  </a:lnTo>
                  <a:lnTo>
                    <a:pt x="105" y="221"/>
                  </a:lnTo>
                  <a:lnTo>
                    <a:pt x="161" y="165"/>
                  </a:lnTo>
                  <a:lnTo>
                    <a:pt x="149" y="150"/>
                  </a:lnTo>
                  <a:lnTo>
                    <a:pt x="114" y="182"/>
                  </a:lnTo>
                  <a:lnTo>
                    <a:pt x="114" y="70"/>
                  </a:lnTo>
                  <a:lnTo>
                    <a:pt x="195" y="70"/>
                  </a:lnTo>
                  <a:lnTo>
                    <a:pt x="195" y="247"/>
                  </a:lnTo>
                  <a:close/>
                </a:path>
              </a:pathLst>
            </a:cu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grpSp>
      <p:grpSp>
        <p:nvGrpSpPr>
          <p:cNvPr id="116" name="Group 115"/>
          <p:cNvGrpSpPr/>
          <p:nvPr/>
        </p:nvGrpSpPr>
        <p:grpSpPr>
          <a:xfrm>
            <a:off x="142486" y="4001712"/>
            <a:ext cx="803730" cy="803730"/>
            <a:chOff x="9101692" y="5077564"/>
            <a:chExt cx="1016000" cy="1016000"/>
          </a:xfrm>
        </p:grpSpPr>
        <p:sp>
          <p:nvSpPr>
            <p:cNvPr id="151" name="Oval 150"/>
            <p:cNvSpPr/>
            <p:nvPr/>
          </p:nvSpPr>
          <p:spPr bwMode="auto">
            <a:xfrm>
              <a:off x="9101692" y="5077564"/>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800" kern="0" dirty="0">
                <a:gradFill>
                  <a:gsLst>
                    <a:gs pos="1250">
                      <a:srgbClr val="505050"/>
                    </a:gs>
                    <a:gs pos="76000">
                      <a:srgbClr val="505050"/>
                    </a:gs>
                  </a:gsLst>
                  <a:lin ang="5400000" scaled="0"/>
                </a:gradFill>
              </a:endParaRPr>
            </a:p>
          </p:txBody>
        </p:sp>
        <p:grpSp>
          <p:nvGrpSpPr>
            <p:cNvPr id="152" name="Group 27"/>
            <p:cNvGrpSpPr>
              <a:grpSpLocks noChangeAspect="1"/>
            </p:cNvGrpSpPr>
            <p:nvPr/>
          </p:nvGrpSpPr>
          <p:grpSpPr bwMode="auto">
            <a:xfrm>
              <a:off x="9429750" y="5395666"/>
              <a:ext cx="359884" cy="379798"/>
              <a:chOff x="5905" y="3448"/>
              <a:chExt cx="253" cy="267"/>
            </a:xfrm>
            <a:solidFill>
              <a:srgbClr val="FFFFFF"/>
            </a:solidFill>
          </p:grpSpPr>
          <p:sp>
            <p:nvSpPr>
              <p:cNvPr id="153" name="Freeform 28"/>
              <p:cNvSpPr>
                <a:spLocks noEditPoints="1"/>
              </p:cNvSpPr>
              <p:nvPr/>
            </p:nvSpPr>
            <p:spPr bwMode="auto">
              <a:xfrm>
                <a:off x="5905" y="3448"/>
                <a:ext cx="253" cy="267"/>
              </a:xfrm>
              <a:custGeom>
                <a:avLst/>
                <a:gdLst>
                  <a:gd name="T0" fmla="*/ 72 w 104"/>
                  <a:gd name="T1" fmla="*/ 78 h 110"/>
                  <a:gd name="T2" fmla="*/ 72 w 104"/>
                  <a:gd name="T3" fmla="*/ 94 h 110"/>
                  <a:gd name="T4" fmla="*/ 64 w 104"/>
                  <a:gd name="T5" fmla="*/ 94 h 110"/>
                  <a:gd name="T6" fmla="*/ 34 w 104"/>
                  <a:gd name="T7" fmla="*/ 63 h 110"/>
                  <a:gd name="T8" fmla="*/ 32 w 104"/>
                  <a:gd name="T9" fmla="*/ 62 h 110"/>
                  <a:gd name="T10" fmla="*/ 30 w 104"/>
                  <a:gd name="T11" fmla="*/ 63 h 110"/>
                  <a:gd name="T12" fmla="*/ 0 w 104"/>
                  <a:gd name="T13" fmla="*/ 94 h 110"/>
                  <a:gd name="T14" fmla="*/ 0 w 104"/>
                  <a:gd name="T15" fmla="*/ 98 h 110"/>
                  <a:gd name="T16" fmla="*/ 8 w 104"/>
                  <a:gd name="T17" fmla="*/ 98 h 110"/>
                  <a:gd name="T18" fmla="*/ 8 w 104"/>
                  <a:gd name="T19" fmla="*/ 94 h 110"/>
                  <a:gd name="T20" fmla="*/ 8 w 104"/>
                  <a:gd name="T21" fmla="*/ 90 h 110"/>
                  <a:gd name="T22" fmla="*/ 32 w 104"/>
                  <a:gd name="T23" fmla="*/ 110 h 110"/>
                  <a:gd name="T24" fmla="*/ 56 w 104"/>
                  <a:gd name="T25" fmla="*/ 90 h 110"/>
                  <a:gd name="T26" fmla="*/ 56 w 104"/>
                  <a:gd name="T27" fmla="*/ 94 h 110"/>
                  <a:gd name="T28" fmla="*/ 56 w 104"/>
                  <a:gd name="T29" fmla="*/ 102 h 110"/>
                  <a:gd name="T30" fmla="*/ 104 w 104"/>
                  <a:gd name="T31" fmla="*/ 102 h 110"/>
                  <a:gd name="T32" fmla="*/ 104 w 104"/>
                  <a:gd name="T33" fmla="*/ 78 h 110"/>
                  <a:gd name="T34" fmla="*/ 100 w 104"/>
                  <a:gd name="T35" fmla="*/ 78 h 110"/>
                  <a:gd name="T36" fmla="*/ 100 w 104"/>
                  <a:gd name="T37" fmla="*/ 70 h 110"/>
                  <a:gd name="T38" fmla="*/ 104 w 104"/>
                  <a:gd name="T39" fmla="*/ 70 h 110"/>
                  <a:gd name="T40" fmla="*/ 104 w 104"/>
                  <a:gd name="T41" fmla="*/ 62 h 110"/>
                  <a:gd name="T42" fmla="*/ 100 w 104"/>
                  <a:gd name="T43" fmla="*/ 62 h 110"/>
                  <a:gd name="T44" fmla="*/ 100 w 104"/>
                  <a:gd name="T45" fmla="*/ 58 h 110"/>
                  <a:gd name="T46" fmla="*/ 88 w 104"/>
                  <a:gd name="T47" fmla="*/ 46 h 110"/>
                  <a:gd name="T48" fmla="*/ 60 w 104"/>
                  <a:gd name="T49" fmla="*/ 46 h 110"/>
                  <a:gd name="T50" fmla="*/ 48 w 104"/>
                  <a:gd name="T51" fmla="*/ 32 h 110"/>
                  <a:gd name="T52" fmla="*/ 75 w 104"/>
                  <a:gd name="T53" fmla="*/ 5 h 110"/>
                  <a:gd name="T54" fmla="*/ 69 w 104"/>
                  <a:gd name="T55" fmla="*/ 0 h 110"/>
                  <a:gd name="T56" fmla="*/ 25 w 104"/>
                  <a:gd name="T57" fmla="*/ 43 h 110"/>
                  <a:gd name="T58" fmla="*/ 11 w 104"/>
                  <a:gd name="T59" fmla="*/ 6 h 110"/>
                  <a:gd name="T60" fmla="*/ 0 w 104"/>
                  <a:gd name="T61" fmla="*/ 6 h 110"/>
                  <a:gd name="T62" fmla="*/ 0 w 104"/>
                  <a:gd name="T63" fmla="*/ 54 h 110"/>
                  <a:gd name="T64" fmla="*/ 88 w 104"/>
                  <a:gd name="T65" fmla="*/ 54 h 110"/>
                  <a:gd name="T66" fmla="*/ 92 w 104"/>
                  <a:gd name="T67" fmla="*/ 58 h 110"/>
                  <a:gd name="T68" fmla="*/ 92 w 104"/>
                  <a:gd name="T69" fmla="*/ 78 h 110"/>
                  <a:gd name="T70" fmla="*/ 72 w 104"/>
                  <a:gd name="T71" fmla="*/ 78 h 110"/>
                  <a:gd name="T72" fmla="*/ 32 w 104"/>
                  <a:gd name="T73" fmla="*/ 102 h 110"/>
                  <a:gd name="T74" fmla="*/ 16 w 104"/>
                  <a:gd name="T75" fmla="*/ 86 h 110"/>
                  <a:gd name="T76" fmla="*/ 32 w 104"/>
                  <a:gd name="T77" fmla="*/ 70 h 110"/>
                  <a:gd name="T78" fmla="*/ 48 w 104"/>
                  <a:gd name="T79" fmla="*/ 86 h 110"/>
                  <a:gd name="T80" fmla="*/ 32 w 104"/>
                  <a:gd name="T81" fmla="*/ 102 h 110"/>
                  <a:gd name="T82" fmla="*/ 51 w 104"/>
                  <a:gd name="T83" fmla="*/ 46 h 110"/>
                  <a:gd name="T84" fmla="*/ 34 w 104"/>
                  <a:gd name="T85" fmla="*/ 46 h 110"/>
                  <a:gd name="T86" fmla="*/ 42 w 104"/>
                  <a:gd name="T87" fmla="*/ 39 h 110"/>
                  <a:gd name="T88" fmla="*/ 51 w 104"/>
                  <a:gd name="T89" fmla="*/ 46 h 110"/>
                  <a:gd name="T90" fmla="*/ 8 w 104"/>
                  <a:gd name="T91" fmla="*/ 46 h 110"/>
                  <a:gd name="T92" fmla="*/ 8 w 104"/>
                  <a:gd name="T93" fmla="*/ 21 h 110"/>
                  <a:gd name="T94" fmla="*/ 18 w 104"/>
                  <a:gd name="T95" fmla="*/ 46 h 110"/>
                  <a:gd name="T96" fmla="*/ 8 w 104"/>
                  <a:gd name="T97" fmla="*/ 46 h 110"/>
                  <a:gd name="T98" fmla="*/ 96 w 104"/>
                  <a:gd name="T99" fmla="*/ 94 h 110"/>
                  <a:gd name="T100" fmla="*/ 80 w 104"/>
                  <a:gd name="T101" fmla="*/ 94 h 110"/>
                  <a:gd name="T102" fmla="*/ 80 w 104"/>
                  <a:gd name="T103" fmla="*/ 86 h 110"/>
                  <a:gd name="T104" fmla="*/ 96 w 104"/>
                  <a:gd name="T105" fmla="*/ 86 h 110"/>
                  <a:gd name="T106" fmla="*/ 96 w 104"/>
                  <a:gd name="T107" fmla="*/ 9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4" h="110">
                    <a:moveTo>
                      <a:pt x="72" y="78"/>
                    </a:moveTo>
                    <a:cubicBezTo>
                      <a:pt x="72" y="94"/>
                      <a:pt x="72" y="94"/>
                      <a:pt x="72" y="94"/>
                    </a:cubicBezTo>
                    <a:cubicBezTo>
                      <a:pt x="64" y="94"/>
                      <a:pt x="64" y="94"/>
                      <a:pt x="64" y="94"/>
                    </a:cubicBezTo>
                    <a:cubicBezTo>
                      <a:pt x="64" y="78"/>
                      <a:pt x="51" y="64"/>
                      <a:pt x="34" y="63"/>
                    </a:cubicBezTo>
                    <a:cubicBezTo>
                      <a:pt x="34" y="62"/>
                      <a:pt x="33" y="62"/>
                      <a:pt x="32" y="62"/>
                    </a:cubicBezTo>
                    <a:cubicBezTo>
                      <a:pt x="31" y="62"/>
                      <a:pt x="30" y="62"/>
                      <a:pt x="30" y="63"/>
                    </a:cubicBezTo>
                    <a:cubicBezTo>
                      <a:pt x="13" y="64"/>
                      <a:pt x="0" y="78"/>
                      <a:pt x="0" y="94"/>
                    </a:cubicBezTo>
                    <a:cubicBezTo>
                      <a:pt x="0" y="98"/>
                      <a:pt x="0" y="98"/>
                      <a:pt x="0" y="98"/>
                    </a:cubicBezTo>
                    <a:cubicBezTo>
                      <a:pt x="8" y="98"/>
                      <a:pt x="8" y="98"/>
                      <a:pt x="8" y="98"/>
                    </a:cubicBezTo>
                    <a:cubicBezTo>
                      <a:pt x="8" y="94"/>
                      <a:pt x="8" y="94"/>
                      <a:pt x="8" y="94"/>
                    </a:cubicBezTo>
                    <a:cubicBezTo>
                      <a:pt x="8" y="93"/>
                      <a:pt x="8" y="92"/>
                      <a:pt x="8" y="90"/>
                    </a:cubicBezTo>
                    <a:cubicBezTo>
                      <a:pt x="10" y="102"/>
                      <a:pt x="20" y="110"/>
                      <a:pt x="32" y="110"/>
                    </a:cubicBezTo>
                    <a:cubicBezTo>
                      <a:pt x="44" y="110"/>
                      <a:pt x="54" y="102"/>
                      <a:pt x="56" y="90"/>
                    </a:cubicBezTo>
                    <a:cubicBezTo>
                      <a:pt x="56" y="92"/>
                      <a:pt x="56" y="93"/>
                      <a:pt x="56" y="94"/>
                    </a:cubicBezTo>
                    <a:cubicBezTo>
                      <a:pt x="56" y="102"/>
                      <a:pt x="56" y="102"/>
                      <a:pt x="56" y="102"/>
                    </a:cubicBezTo>
                    <a:cubicBezTo>
                      <a:pt x="104" y="102"/>
                      <a:pt x="104" y="102"/>
                      <a:pt x="104" y="102"/>
                    </a:cubicBezTo>
                    <a:cubicBezTo>
                      <a:pt x="104" y="78"/>
                      <a:pt x="104" y="78"/>
                      <a:pt x="104" y="78"/>
                    </a:cubicBezTo>
                    <a:cubicBezTo>
                      <a:pt x="100" y="78"/>
                      <a:pt x="100" y="78"/>
                      <a:pt x="100" y="78"/>
                    </a:cubicBezTo>
                    <a:cubicBezTo>
                      <a:pt x="100" y="70"/>
                      <a:pt x="100" y="70"/>
                      <a:pt x="100" y="70"/>
                    </a:cubicBezTo>
                    <a:cubicBezTo>
                      <a:pt x="104" y="70"/>
                      <a:pt x="104" y="70"/>
                      <a:pt x="104" y="70"/>
                    </a:cubicBezTo>
                    <a:cubicBezTo>
                      <a:pt x="104" y="62"/>
                      <a:pt x="104" y="62"/>
                      <a:pt x="104" y="62"/>
                    </a:cubicBezTo>
                    <a:cubicBezTo>
                      <a:pt x="100" y="62"/>
                      <a:pt x="100" y="62"/>
                      <a:pt x="100" y="62"/>
                    </a:cubicBezTo>
                    <a:cubicBezTo>
                      <a:pt x="100" y="58"/>
                      <a:pt x="100" y="58"/>
                      <a:pt x="100" y="58"/>
                    </a:cubicBezTo>
                    <a:cubicBezTo>
                      <a:pt x="100" y="52"/>
                      <a:pt x="95" y="46"/>
                      <a:pt x="88" y="46"/>
                    </a:cubicBezTo>
                    <a:cubicBezTo>
                      <a:pt x="60" y="46"/>
                      <a:pt x="60" y="46"/>
                      <a:pt x="60" y="46"/>
                    </a:cubicBezTo>
                    <a:cubicBezTo>
                      <a:pt x="58" y="40"/>
                      <a:pt x="54" y="35"/>
                      <a:pt x="48" y="32"/>
                    </a:cubicBezTo>
                    <a:cubicBezTo>
                      <a:pt x="75" y="5"/>
                      <a:pt x="75" y="5"/>
                      <a:pt x="75" y="5"/>
                    </a:cubicBezTo>
                    <a:cubicBezTo>
                      <a:pt x="69" y="0"/>
                      <a:pt x="69" y="0"/>
                      <a:pt x="69" y="0"/>
                    </a:cubicBezTo>
                    <a:cubicBezTo>
                      <a:pt x="25" y="43"/>
                      <a:pt x="25" y="43"/>
                      <a:pt x="25" y="43"/>
                    </a:cubicBezTo>
                    <a:cubicBezTo>
                      <a:pt x="11" y="6"/>
                      <a:pt x="11" y="6"/>
                      <a:pt x="11" y="6"/>
                    </a:cubicBezTo>
                    <a:cubicBezTo>
                      <a:pt x="0" y="6"/>
                      <a:pt x="0" y="6"/>
                      <a:pt x="0" y="6"/>
                    </a:cubicBezTo>
                    <a:cubicBezTo>
                      <a:pt x="0" y="54"/>
                      <a:pt x="0" y="54"/>
                      <a:pt x="0" y="54"/>
                    </a:cubicBezTo>
                    <a:cubicBezTo>
                      <a:pt x="88" y="54"/>
                      <a:pt x="88" y="54"/>
                      <a:pt x="88" y="54"/>
                    </a:cubicBezTo>
                    <a:cubicBezTo>
                      <a:pt x="90" y="54"/>
                      <a:pt x="92" y="56"/>
                      <a:pt x="92" y="58"/>
                    </a:cubicBezTo>
                    <a:cubicBezTo>
                      <a:pt x="92" y="78"/>
                      <a:pt x="92" y="78"/>
                      <a:pt x="92" y="78"/>
                    </a:cubicBezTo>
                    <a:lnTo>
                      <a:pt x="72" y="78"/>
                    </a:lnTo>
                    <a:close/>
                    <a:moveTo>
                      <a:pt x="32" y="102"/>
                    </a:moveTo>
                    <a:cubicBezTo>
                      <a:pt x="23" y="102"/>
                      <a:pt x="16" y="95"/>
                      <a:pt x="16" y="86"/>
                    </a:cubicBezTo>
                    <a:cubicBezTo>
                      <a:pt x="16" y="78"/>
                      <a:pt x="23" y="70"/>
                      <a:pt x="32" y="70"/>
                    </a:cubicBezTo>
                    <a:cubicBezTo>
                      <a:pt x="41" y="70"/>
                      <a:pt x="48" y="78"/>
                      <a:pt x="48" y="86"/>
                    </a:cubicBezTo>
                    <a:cubicBezTo>
                      <a:pt x="48" y="95"/>
                      <a:pt x="41" y="102"/>
                      <a:pt x="32" y="102"/>
                    </a:cubicBezTo>
                    <a:close/>
                    <a:moveTo>
                      <a:pt x="51" y="46"/>
                    </a:moveTo>
                    <a:cubicBezTo>
                      <a:pt x="34" y="46"/>
                      <a:pt x="34" y="46"/>
                      <a:pt x="34" y="46"/>
                    </a:cubicBezTo>
                    <a:cubicBezTo>
                      <a:pt x="42" y="39"/>
                      <a:pt x="42" y="39"/>
                      <a:pt x="42" y="39"/>
                    </a:cubicBezTo>
                    <a:cubicBezTo>
                      <a:pt x="46" y="39"/>
                      <a:pt x="50" y="42"/>
                      <a:pt x="51" y="46"/>
                    </a:cubicBezTo>
                    <a:close/>
                    <a:moveTo>
                      <a:pt x="8" y="46"/>
                    </a:moveTo>
                    <a:cubicBezTo>
                      <a:pt x="8" y="21"/>
                      <a:pt x="8" y="21"/>
                      <a:pt x="8" y="21"/>
                    </a:cubicBezTo>
                    <a:cubicBezTo>
                      <a:pt x="18" y="46"/>
                      <a:pt x="18" y="46"/>
                      <a:pt x="18" y="46"/>
                    </a:cubicBezTo>
                    <a:lnTo>
                      <a:pt x="8" y="46"/>
                    </a:lnTo>
                    <a:close/>
                    <a:moveTo>
                      <a:pt x="96" y="94"/>
                    </a:moveTo>
                    <a:cubicBezTo>
                      <a:pt x="80" y="94"/>
                      <a:pt x="80" y="94"/>
                      <a:pt x="80" y="94"/>
                    </a:cubicBezTo>
                    <a:cubicBezTo>
                      <a:pt x="80" y="86"/>
                      <a:pt x="80" y="86"/>
                      <a:pt x="80" y="86"/>
                    </a:cubicBezTo>
                    <a:cubicBezTo>
                      <a:pt x="96" y="86"/>
                      <a:pt x="96" y="86"/>
                      <a:pt x="96" y="86"/>
                    </a:cubicBezTo>
                    <a:lnTo>
                      <a:pt x="96"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54" name="Oval 29"/>
              <p:cNvSpPr>
                <a:spLocks noChangeArrowheads="1"/>
              </p:cNvSpPr>
              <p:nvPr/>
            </p:nvSpPr>
            <p:spPr bwMode="auto">
              <a:xfrm>
                <a:off x="5974" y="3647"/>
                <a:ext cx="19"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grpSp>
      </p:grpSp>
      <p:grpSp>
        <p:nvGrpSpPr>
          <p:cNvPr id="117" name="Group 116"/>
          <p:cNvGrpSpPr/>
          <p:nvPr/>
        </p:nvGrpSpPr>
        <p:grpSpPr>
          <a:xfrm>
            <a:off x="3897468" y="4001712"/>
            <a:ext cx="803730" cy="803730"/>
            <a:chOff x="10191578" y="3747236"/>
            <a:chExt cx="1016000" cy="1016000"/>
          </a:xfrm>
        </p:grpSpPr>
        <p:sp>
          <p:nvSpPr>
            <p:cNvPr id="136" name="Oval 135"/>
            <p:cNvSpPr/>
            <p:nvPr/>
          </p:nvSpPr>
          <p:spPr bwMode="auto">
            <a:xfrm>
              <a:off x="10191578" y="3747236"/>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dirty="0">
                <a:gradFill>
                  <a:gsLst>
                    <a:gs pos="1250">
                      <a:srgbClr val="505050"/>
                    </a:gs>
                    <a:gs pos="76000">
                      <a:srgbClr val="505050"/>
                    </a:gs>
                  </a:gsLst>
                  <a:lin ang="5400000" scaled="0"/>
                </a:gradFill>
              </a:endParaRPr>
            </a:p>
          </p:txBody>
        </p:sp>
        <p:grpSp>
          <p:nvGrpSpPr>
            <p:cNvPr id="137" name="Group 136"/>
            <p:cNvGrpSpPr/>
            <p:nvPr/>
          </p:nvGrpSpPr>
          <p:grpSpPr>
            <a:xfrm>
              <a:off x="10432874" y="4043364"/>
              <a:ext cx="533408" cy="423746"/>
              <a:chOff x="10432072" y="4001501"/>
              <a:chExt cx="598248" cy="475257"/>
            </a:xfrm>
          </p:grpSpPr>
          <p:grpSp>
            <p:nvGrpSpPr>
              <p:cNvPr id="138" name="Group 32"/>
              <p:cNvGrpSpPr>
                <a:grpSpLocks noChangeAspect="1"/>
              </p:cNvGrpSpPr>
              <p:nvPr/>
            </p:nvGrpSpPr>
            <p:grpSpPr bwMode="auto">
              <a:xfrm>
                <a:off x="10486721" y="4165607"/>
                <a:ext cx="488950" cy="311151"/>
                <a:chOff x="6627" y="2624"/>
                <a:chExt cx="308" cy="196"/>
              </a:xfrm>
              <a:solidFill>
                <a:srgbClr val="FFFFFF"/>
              </a:solidFill>
            </p:grpSpPr>
            <p:sp>
              <p:nvSpPr>
                <p:cNvPr id="148" name="Freeform 33"/>
                <p:cNvSpPr>
                  <a:spLocks noEditPoints="1"/>
                </p:cNvSpPr>
                <p:nvPr/>
              </p:nvSpPr>
              <p:spPr bwMode="auto">
                <a:xfrm>
                  <a:off x="6627" y="2624"/>
                  <a:ext cx="308" cy="196"/>
                </a:xfrm>
                <a:custGeom>
                  <a:avLst/>
                  <a:gdLst>
                    <a:gd name="T0" fmla="*/ 280 w 308"/>
                    <a:gd name="T1" fmla="*/ 58 h 196"/>
                    <a:gd name="T2" fmla="*/ 251 w 308"/>
                    <a:gd name="T3" fmla="*/ 0 h 196"/>
                    <a:gd name="T4" fmla="*/ 38 w 308"/>
                    <a:gd name="T5" fmla="*/ 58 h 196"/>
                    <a:gd name="T6" fmla="*/ 9 w 308"/>
                    <a:gd name="T7" fmla="*/ 58 h 196"/>
                    <a:gd name="T8" fmla="*/ 0 w 308"/>
                    <a:gd name="T9" fmla="*/ 117 h 196"/>
                    <a:gd name="T10" fmla="*/ 0 w 308"/>
                    <a:gd name="T11" fmla="*/ 137 h 196"/>
                    <a:gd name="T12" fmla="*/ 0 w 308"/>
                    <a:gd name="T13" fmla="*/ 166 h 196"/>
                    <a:gd name="T14" fmla="*/ 9 w 308"/>
                    <a:gd name="T15" fmla="*/ 176 h 196"/>
                    <a:gd name="T16" fmla="*/ 48 w 308"/>
                    <a:gd name="T17" fmla="*/ 196 h 196"/>
                    <a:gd name="T18" fmla="*/ 260 w 308"/>
                    <a:gd name="T19" fmla="*/ 176 h 196"/>
                    <a:gd name="T20" fmla="*/ 299 w 308"/>
                    <a:gd name="T21" fmla="*/ 196 h 196"/>
                    <a:gd name="T22" fmla="*/ 308 w 308"/>
                    <a:gd name="T23" fmla="*/ 176 h 196"/>
                    <a:gd name="T24" fmla="*/ 308 w 308"/>
                    <a:gd name="T25" fmla="*/ 156 h 196"/>
                    <a:gd name="T26" fmla="*/ 308 w 308"/>
                    <a:gd name="T27" fmla="*/ 127 h 196"/>
                    <a:gd name="T28" fmla="*/ 299 w 308"/>
                    <a:gd name="T29" fmla="*/ 117 h 196"/>
                    <a:gd name="T30" fmla="*/ 280 w 308"/>
                    <a:gd name="T31" fmla="*/ 78 h 196"/>
                    <a:gd name="T32" fmla="*/ 222 w 308"/>
                    <a:gd name="T33" fmla="*/ 117 h 196"/>
                    <a:gd name="T34" fmla="*/ 270 w 308"/>
                    <a:gd name="T35" fmla="*/ 78 h 196"/>
                    <a:gd name="T36" fmla="*/ 125 w 308"/>
                    <a:gd name="T37" fmla="*/ 78 h 196"/>
                    <a:gd name="T38" fmla="*/ 106 w 308"/>
                    <a:gd name="T39" fmla="*/ 117 h 196"/>
                    <a:gd name="T40" fmla="*/ 125 w 308"/>
                    <a:gd name="T41" fmla="*/ 78 h 196"/>
                    <a:gd name="T42" fmla="*/ 164 w 308"/>
                    <a:gd name="T43" fmla="*/ 78 h 196"/>
                    <a:gd name="T44" fmla="*/ 144 w 308"/>
                    <a:gd name="T45" fmla="*/ 117 h 196"/>
                    <a:gd name="T46" fmla="*/ 183 w 308"/>
                    <a:gd name="T47" fmla="*/ 78 h 196"/>
                    <a:gd name="T48" fmla="*/ 202 w 308"/>
                    <a:gd name="T49" fmla="*/ 117 h 196"/>
                    <a:gd name="T50" fmla="*/ 183 w 308"/>
                    <a:gd name="T51" fmla="*/ 78 h 196"/>
                    <a:gd name="T52" fmla="*/ 236 w 308"/>
                    <a:gd name="T53" fmla="*/ 19 h 196"/>
                    <a:gd name="T54" fmla="*/ 57 w 308"/>
                    <a:gd name="T55" fmla="*/ 58 h 196"/>
                    <a:gd name="T56" fmla="*/ 28 w 308"/>
                    <a:gd name="T57" fmla="*/ 78 h 196"/>
                    <a:gd name="T58" fmla="*/ 86 w 308"/>
                    <a:gd name="T59" fmla="*/ 78 h 196"/>
                    <a:gd name="T60" fmla="*/ 28 w 308"/>
                    <a:gd name="T61" fmla="*/ 117 h 196"/>
                    <a:gd name="T62" fmla="*/ 289 w 308"/>
                    <a:gd name="T63" fmla="*/ 156 h 196"/>
                    <a:gd name="T64" fmla="*/ 19 w 308"/>
                    <a:gd name="T65" fmla="*/ 137 h 196"/>
                    <a:gd name="T66" fmla="*/ 289 w 308"/>
                    <a:gd name="T67" fmla="*/ 15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8" h="196">
                      <a:moveTo>
                        <a:pt x="299" y="58"/>
                      </a:moveTo>
                      <a:lnTo>
                        <a:pt x="280" y="58"/>
                      </a:lnTo>
                      <a:lnTo>
                        <a:pt x="270" y="58"/>
                      </a:lnTo>
                      <a:lnTo>
                        <a:pt x="251" y="0"/>
                      </a:lnTo>
                      <a:lnTo>
                        <a:pt x="57" y="0"/>
                      </a:lnTo>
                      <a:lnTo>
                        <a:pt x="38" y="58"/>
                      </a:lnTo>
                      <a:lnTo>
                        <a:pt x="28" y="58"/>
                      </a:lnTo>
                      <a:lnTo>
                        <a:pt x="9" y="58"/>
                      </a:lnTo>
                      <a:lnTo>
                        <a:pt x="9" y="117"/>
                      </a:lnTo>
                      <a:lnTo>
                        <a:pt x="0" y="117"/>
                      </a:lnTo>
                      <a:lnTo>
                        <a:pt x="0" y="127"/>
                      </a:lnTo>
                      <a:lnTo>
                        <a:pt x="0" y="137"/>
                      </a:lnTo>
                      <a:lnTo>
                        <a:pt x="0" y="156"/>
                      </a:lnTo>
                      <a:lnTo>
                        <a:pt x="0" y="166"/>
                      </a:lnTo>
                      <a:lnTo>
                        <a:pt x="0" y="176"/>
                      </a:lnTo>
                      <a:lnTo>
                        <a:pt x="9" y="176"/>
                      </a:lnTo>
                      <a:lnTo>
                        <a:pt x="9" y="196"/>
                      </a:lnTo>
                      <a:lnTo>
                        <a:pt x="48" y="196"/>
                      </a:lnTo>
                      <a:lnTo>
                        <a:pt x="48" y="176"/>
                      </a:lnTo>
                      <a:lnTo>
                        <a:pt x="260" y="176"/>
                      </a:lnTo>
                      <a:lnTo>
                        <a:pt x="260" y="196"/>
                      </a:lnTo>
                      <a:lnTo>
                        <a:pt x="299" y="196"/>
                      </a:lnTo>
                      <a:lnTo>
                        <a:pt x="299" y="176"/>
                      </a:lnTo>
                      <a:lnTo>
                        <a:pt x="308" y="176"/>
                      </a:lnTo>
                      <a:lnTo>
                        <a:pt x="308" y="166"/>
                      </a:lnTo>
                      <a:lnTo>
                        <a:pt x="308" y="156"/>
                      </a:lnTo>
                      <a:lnTo>
                        <a:pt x="308" y="137"/>
                      </a:lnTo>
                      <a:lnTo>
                        <a:pt x="308" y="127"/>
                      </a:lnTo>
                      <a:lnTo>
                        <a:pt x="308" y="117"/>
                      </a:lnTo>
                      <a:lnTo>
                        <a:pt x="299" y="117"/>
                      </a:lnTo>
                      <a:lnTo>
                        <a:pt x="299" y="58"/>
                      </a:lnTo>
                      <a:close/>
                      <a:moveTo>
                        <a:pt x="280" y="78"/>
                      </a:moveTo>
                      <a:lnTo>
                        <a:pt x="280" y="117"/>
                      </a:lnTo>
                      <a:lnTo>
                        <a:pt x="222" y="117"/>
                      </a:lnTo>
                      <a:lnTo>
                        <a:pt x="222" y="78"/>
                      </a:lnTo>
                      <a:lnTo>
                        <a:pt x="270" y="78"/>
                      </a:lnTo>
                      <a:lnTo>
                        <a:pt x="280" y="78"/>
                      </a:lnTo>
                      <a:close/>
                      <a:moveTo>
                        <a:pt x="125" y="78"/>
                      </a:moveTo>
                      <a:lnTo>
                        <a:pt x="125" y="117"/>
                      </a:lnTo>
                      <a:lnTo>
                        <a:pt x="106" y="117"/>
                      </a:lnTo>
                      <a:lnTo>
                        <a:pt x="106" y="78"/>
                      </a:lnTo>
                      <a:lnTo>
                        <a:pt x="125" y="78"/>
                      </a:lnTo>
                      <a:close/>
                      <a:moveTo>
                        <a:pt x="144" y="78"/>
                      </a:moveTo>
                      <a:lnTo>
                        <a:pt x="164" y="78"/>
                      </a:lnTo>
                      <a:lnTo>
                        <a:pt x="164" y="117"/>
                      </a:lnTo>
                      <a:lnTo>
                        <a:pt x="144" y="117"/>
                      </a:lnTo>
                      <a:lnTo>
                        <a:pt x="144" y="78"/>
                      </a:lnTo>
                      <a:close/>
                      <a:moveTo>
                        <a:pt x="183" y="78"/>
                      </a:moveTo>
                      <a:lnTo>
                        <a:pt x="202" y="78"/>
                      </a:lnTo>
                      <a:lnTo>
                        <a:pt x="202" y="117"/>
                      </a:lnTo>
                      <a:lnTo>
                        <a:pt x="183" y="117"/>
                      </a:lnTo>
                      <a:lnTo>
                        <a:pt x="183" y="78"/>
                      </a:lnTo>
                      <a:close/>
                      <a:moveTo>
                        <a:pt x="72" y="19"/>
                      </a:moveTo>
                      <a:lnTo>
                        <a:pt x="236" y="19"/>
                      </a:lnTo>
                      <a:lnTo>
                        <a:pt x="251" y="58"/>
                      </a:lnTo>
                      <a:lnTo>
                        <a:pt x="57" y="58"/>
                      </a:lnTo>
                      <a:lnTo>
                        <a:pt x="72" y="19"/>
                      </a:lnTo>
                      <a:close/>
                      <a:moveTo>
                        <a:pt x="28" y="78"/>
                      </a:moveTo>
                      <a:lnTo>
                        <a:pt x="38" y="78"/>
                      </a:lnTo>
                      <a:lnTo>
                        <a:pt x="86" y="78"/>
                      </a:lnTo>
                      <a:lnTo>
                        <a:pt x="86" y="117"/>
                      </a:lnTo>
                      <a:lnTo>
                        <a:pt x="28" y="117"/>
                      </a:lnTo>
                      <a:lnTo>
                        <a:pt x="28" y="78"/>
                      </a:lnTo>
                      <a:close/>
                      <a:moveTo>
                        <a:pt x="289" y="156"/>
                      </a:moveTo>
                      <a:lnTo>
                        <a:pt x="19" y="156"/>
                      </a:lnTo>
                      <a:lnTo>
                        <a:pt x="19" y="137"/>
                      </a:lnTo>
                      <a:lnTo>
                        <a:pt x="289" y="137"/>
                      </a:lnTo>
                      <a:lnTo>
                        <a:pt x="289" y="156"/>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sp>
              <p:nvSpPr>
                <p:cNvPr id="149" name="Oval 34"/>
                <p:cNvSpPr>
                  <a:spLocks noChangeArrowheads="1"/>
                </p:cNvSpPr>
                <p:nvPr/>
              </p:nvSpPr>
              <p:spPr bwMode="auto">
                <a:xfrm>
                  <a:off x="6675" y="2712"/>
                  <a:ext cx="19" cy="19"/>
                </a:xfrm>
                <a:prstGeom prst="ellipse">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sp>
              <p:nvSpPr>
                <p:cNvPr id="150" name="Oval 35"/>
                <p:cNvSpPr>
                  <a:spLocks noChangeArrowheads="1"/>
                </p:cNvSpPr>
                <p:nvPr/>
              </p:nvSpPr>
              <p:spPr bwMode="auto">
                <a:xfrm>
                  <a:off x="6868" y="2712"/>
                  <a:ext cx="19" cy="19"/>
                </a:xfrm>
                <a:prstGeom prst="ellipse">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grpSp>
          <p:grpSp>
            <p:nvGrpSpPr>
              <p:cNvPr id="139" name="Group 138"/>
              <p:cNvGrpSpPr/>
              <p:nvPr/>
            </p:nvGrpSpPr>
            <p:grpSpPr>
              <a:xfrm>
                <a:off x="10432072" y="4001501"/>
                <a:ext cx="598248" cy="123717"/>
                <a:chOff x="10432072" y="4001501"/>
                <a:chExt cx="598248" cy="123717"/>
              </a:xfrm>
            </p:grpSpPr>
            <p:grpSp>
              <p:nvGrpSpPr>
                <p:cNvPr id="140" name="Group 32"/>
                <p:cNvGrpSpPr>
                  <a:grpSpLocks noChangeAspect="1"/>
                </p:cNvGrpSpPr>
                <p:nvPr/>
              </p:nvGrpSpPr>
              <p:grpSpPr bwMode="auto">
                <a:xfrm>
                  <a:off x="10432072" y="4001501"/>
                  <a:ext cx="194412" cy="123717"/>
                  <a:chOff x="6627" y="2624"/>
                  <a:chExt cx="308" cy="196"/>
                </a:xfrm>
                <a:solidFill>
                  <a:srgbClr val="FFFFFF"/>
                </a:solidFill>
              </p:grpSpPr>
              <p:sp>
                <p:nvSpPr>
                  <p:cNvPr id="145" name="Freeform 33"/>
                  <p:cNvSpPr>
                    <a:spLocks noEditPoints="1"/>
                  </p:cNvSpPr>
                  <p:nvPr/>
                </p:nvSpPr>
                <p:spPr bwMode="auto">
                  <a:xfrm>
                    <a:off x="6627" y="2624"/>
                    <a:ext cx="308" cy="196"/>
                  </a:xfrm>
                  <a:custGeom>
                    <a:avLst/>
                    <a:gdLst>
                      <a:gd name="T0" fmla="*/ 280 w 308"/>
                      <a:gd name="T1" fmla="*/ 58 h 196"/>
                      <a:gd name="T2" fmla="*/ 251 w 308"/>
                      <a:gd name="T3" fmla="*/ 0 h 196"/>
                      <a:gd name="T4" fmla="*/ 38 w 308"/>
                      <a:gd name="T5" fmla="*/ 58 h 196"/>
                      <a:gd name="T6" fmla="*/ 9 w 308"/>
                      <a:gd name="T7" fmla="*/ 58 h 196"/>
                      <a:gd name="T8" fmla="*/ 0 w 308"/>
                      <a:gd name="T9" fmla="*/ 117 h 196"/>
                      <a:gd name="T10" fmla="*/ 0 w 308"/>
                      <a:gd name="T11" fmla="*/ 137 h 196"/>
                      <a:gd name="T12" fmla="*/ 0 w 308"/>
                      <a:gd name="T13" fmla="*/ 166 h 196"/>
                      <a:gd name="T14" fmla="*/ 9 w 308"/>
                      <a:gd name="T15" fmla="*/ 176 h 196"/>
                      <a:gd name="T16" fmla="*/ 48 w 308"/>
                      <a:gd name="T17" fmla="*/ 196 h 196"/>
                      <a:gd name="T18" fmla="*/ 260 w 308"/>
                      <a:gd name="T19" fmla="*/ 176 h 196"/>
                      <a:gd name="T20" fmla="*/ 299 w 308"/>
                      <a:gd name="T21" fmla="*/ 196 h 196"/>
                      <a:gd name="T22" fmla="*/ 308 w 308"/>
                      <a:gd name="T23" fmla="*/ 176 h 196"/>
                      <a:gd name="T24" fmla="*/ 308 w 308"/>
                      <a:gd name="T25" fmla="*/ 156 h 196"/>
                      <a:gd name="T26" fmla="*/ 308 w 308"/>
                      <a:gd name="T27" fmla="*/ 127 h 196"/>
                      <a:gd name="T28" fmla="*/ 299 w 308"/>
                      <a:gd name="T29" fmla="*/ 117 h 196"/>
                      <a:gd name="T30" fmla="*/ 280 w 308"/>
                      <a:gd name="T31" fmla="*/ 78 h 196"/>
                      <a:gd name="T32" fmla="*/ 222 w 308"/>
                      <a:gd name="T33" fmla="*/ 117 h 196"/>
                      <a:gd name="T34" fmla="*/ 270 w 308"/>
                      <a:gd name="T35" fmla="*/ 78 h 196"/>
                      <a:gd name="T36" fmla="*/ 125 w 308"/>
                      <a:gd name="T37" fmla="*/ 78 h 196"/>
                      <a:gd name="T38" fmla="*/ 106 w 308"/>
                      <a:gd name="T39" fmla="*/ 117 h 196"/>
                      <a:gd name="T40" fmla="*/ 125 w 308"/>
                      <a:gd name="T41" fmla="*/ 78 h 196"/>
                      <a:gd name="T42" fmla="*/ 164 w 308"/>
                      <a:gd name="T43" fmla="*/ 78 h 196"/>
                      <a:gd name="T44" fmla="*/ 144 w 308"/>
                      <a:gd name="T45" fmla="*/ 117 h 196"/>
                      <a:gd name="T46" fmla="*/ 183 w 308"/>
                      <a:gd name="T47" fmla="*/ 78 h 196"/>
                      <a:gd name="T48" fmla="*/ 202 w 308"/>
                      <a:gd name="T49" fmla="*/ 117 h 196"/>
                      <a:gd name="T50" fmla="*/ 183 w 308"/>
                      <a:gd name="T51" fmla="*/ 78 h 196"/>
                      <a:gd name="T52" fmla="*/ 236 w 308"/>
                      <a:gd name="T53" fmla="*/ 19 h 196"/>
                      <a:gd name="T54" fmla="*/ 57 w 308"/>
                      <a:gd name="T55" fmla="*/ 58 h 196"/>
                      <a:gd name="T56" fmla="*/ 28 w 308"/>
                      <a:gd name="T57" fmla="*/ 78 h 196"/>
                      <a:gd name="T58" fmla="*/ 86 w 308"/>
                      <a:gd name="T59" fmla="*/ 78 h 196"/>
                      <a:gd name="T60" fmla="*/ 28 w 308"/>
                      <a:gd name="T61" fmla="*/ 117 h 196"/>
                      <a:gd name="T62" fmla="*/ 289 w 308"/>
                      <a:gd name="T63" fmla="*/ 156 h 196"/>
                      <a:gd name="T64" fmla="*/ 19 w 308"/>
                      <a:gd name="T65" fmla="*/ 137 h 196"/>
                      <a:gd name="T66" fmla="*/ 289 w 308"/>
                      <a:gd name="T67" fmla="*/ 15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8" h="196">
                        <a:moveTo>
                          <a:pt x="299" y="58"/>
                        </a:moveTo>
                        <a:lnTo>
                          <a:pt x="280" y="58"/>
                        </a:lnTo>
                        <a:lnTo>
                          <a:pt x="270" y="58"/>
                        </a:lnTo>
                        <a:lnTo>
                          <a:pt x="251" y="0"/>
                        </a:lnTo>
                        <a:lnTo>
                          <a:pt x="57" y="0"/>
                        </a:lnTo>
                        <a:lnTo>
                          <a:pt x="38" y="58"/>
                        </a:lnTo>
                        <a:lnTo>
                          <a:pt x="28" y="58"/>
                        </a:lnTo>
                        <a:lnTo>
                          <a:pt x="9" y="58"/>
                        </a:lnTo>
                        <a:lnTo>
                          <a:pt x="9" y="117"/>
                        </a:lnTo>
                        <a:lnTo>
                          <a:pt x="0" y="117"/>
                        </a:lnTo>
                        <a:lnTo>
                          <a:pt x="0" y="127"/>
                        </a:lnTo>
                        <a:lnTo>
                          <a:pt x="0" y="137"/>
                        </a:lnTo>
                        <a:lnTo>
                          <a:pt x="0" y="156"/>
                        </a:lnTo>
                        <a:lnTo>
                          <a:pt x="0" y="166"/>
                        </a:lnTo>
                        <a:lnTo>
                          <a:pt x="0" y="176"/>
                        </a:lnTo>
                        <a:lnTo>
                          <a:pt x="9" y="176"/>
                        </a:lnTo>
                        <a:lnTo>
                          <a:pt x="9" y="196"/>
                        </a:lnTo>
                        <a:lnTo>
                          <a:pt x="48" y="196"/>
                        </a:lnTo>
                        <a:lnTo>
                          <a:pt x="48" y="176"/>
                        </a:lnTo>
                        <a:lnTo>
                          <a:pt x="260" y="176"/>
                        </a:lnTo>
                        <a:lnTo>
                          <a:pt x="260" y="196"/>
                        </a:lnTo>
                        <a:lnTo>
                          <a:pt x="299" y="196"/>
                        </a:lnTo>
                        <a:lnTo>
                          <a:pt x="299" y="176"/>
                        </a:lnTo>
                        <a:lnTo>
                          <a:pt x="308" y="176"/>
                        </a:lnTo>
                        <a:lnTo>
                          <a:pt x="308" y="166"/>
                        </a:lnTo>
                        <a:lnTo>
                          <a:pt x="308" y="156"/>
                        </a:lnTo>
                        <a:lnTo>
                          <a:pt x="308" y="137"/>
                        </a:lnTo>
                        <a:lnTo>
                          <a:pt x="308" y="127"/>
                        </a:lnTo>
                        <a:lnTo>
                          <a:pt x="308" y="117"/>
                        </a:lnTo>
                        <a:lnTo>
                          <a:pt x="299" y="117"/>
                        </a:lnTo>
                        <a:lnTo>
                          <a:pt x="299" y="58"/>
                        </a:lnTo>
                        <a:close/>
                        <a:moveTo>
                          <a:pt x="280" y="78"/>
                        </a:moveTo>
                        <a:lnTo>
                          <a:pt x="280" y="117"/>
                        </a:lnTo>
                        <a:lnTo>
                          <a:pt x="222" y="117"/>
                        </a:lnTo>
                        <a:lnTo>
                          <a:pt x="222" y="78"/>
                        </a:lnTo>
                        <a:lnTo>
                          <a:pt x="270" y="78"/>
                        </a:lnTo>
                        <a:lnTo>
                          <a:pt x="280" y="78"/>
                        </a:lnTo>
                        <a:close/>
                        <a:moveTo>
                          <a:pt x="125" y="78"/>
                        </a:moveTo>
                        <a:lnTo>
                          <a:pt x="125" y="117"/>
                        </a:lnTo>
                        <a:lnTo>
                          <a:pt x="106" y="117"/>
                        </a:lnTo>
                        <a:lnTo>
                          <a:pt x="106" y="78"/>
                        </a:lnTo>
                        <a:lnTo>
                          <a:pt x="125" y="78"/>
                        </a:lnTo>
                        <a:close/>
                        <a:moveTo>
                          <a:pt x="144" y="78"/>
                        </a:moveTo>
                        <a:lnTo>
                          <a:pt x="164" y="78"/>
                        </a:lnTo>
                        <a:lnTo>
                          <a:pt x="164" y="117"/>
                        </a:lnTo>
                        <a:lnTo>
                          <a:pt x="144" y="117"/>
                        </a:lnTo>
                        <a:lnTo>
                          <a:pt x="144" y="78"/>
                        </a:lnTo>
                        <a:close/>
                        <a:moveTo>
                          <a:pt x="183" y="78"/>
                        </a:moveTo>
                        <a:lnTo>
                          <a:pt x="202" y="78"/>
                        </a:lnTo>
                        <a:lnTo>
                          <a:pt x="202" y="117"/>
                        </a:lnTo>
                        <a:lnTo>
                          <a:pt x="183" y="117"/>
                        </a:lnTo>
                        <a:lnTo>
                          <a:pt x="183" y="78"/>
                        </a:lnTo>
                        <a:close/>
                        <a:moveTo>
                          <a:pt x="72" y="19"/>
                        </a:moveTo>
                        <a:lnTo>
                          <a:pt x="236" y="19"/>
                        </a:lnTo>
                        <a:lnTo>
                          <a:pt x="251" y="58"/>
                        </a:lnTo>
                        <a:lnTo>
                          <a:pt x="57" y="58"/>
                        </a:lnTo>
                        <a:lnTo>
                          <a:pt x="72" y="19"/>
                        </a:lnTo>
                        <a:close/>
                        <a:moveTo>
                          <a:pt x="28" y="78"/>
                        </a:moveTo>
                        <a:lnTo>
                          <a:pt x="38" y="78"/>
                        </a:lnTo>
                        <a:lnTo>
                          <a:pt x="86" y="78"/>
                        </a:lnTo>
                        <a:lnTo>
                          <a:pt x="86" y="117"/>
                        </a:lnTo>
                        <a:lnTo>
                          <a:pt x="28" y="117"/>
                        </a:lnTo>
                        <a:lnTo>
                          <a:pt x="28" y="78"/>
                        </a:lnTo>
                        <a:close/>
                        <a:moveTo>
                          <a:pt x="289" y="156"/>
                        </a:moveTo>
                        <a:lnTo>
                          <a:pt x="19" y="156"/>
                        </a:lnTo>
                        <a:lnTo>
                          <a:pt x="19" y="137"/>
                        </a:lnTo>
                        <a:lnTo>
                          <a:pt x="289" y="137"/>
                        </a:lnTo>
                        <a:lnTo>
                          <a:pt x="289" y="156"/>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sp>
                <p:nvSpPr>
                  <p:cNvPr id="146" name="Oval 34"/>
                  <p:cNvSpPr>
                    <a:spLocks noChangeArrowheads="1"/>
                  </p:cNvSpPr>
                  <p:nvPr/>
                </p:nvSpPr>
                <p:spPr bwMode="auto">
                  <a:xfrm>
                    <a:off x="6675" y="2712"/>
                    <a:ext cx="19" cy="19"/>
                  </a:xfrm>
                  <a:prstGeom prst="ellipse">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sp>
                <p:nvSpPr>
                  <p:cNvPr id="147" name="Oval 35"/>
                  <p:cNvSpPr>
                    <a:spLocks noChangeArrowheads="1"/>
                  </p:cNvSpPr>
                  <p:nvPr/>
                </p:nvSpPr>
                <p:spPr bwMode="auto">
                  <a:xfrm>
                    <a:off x="6868" y="2712"/>
                    <a:ext cx="19" cy="19"/>
                  </a:xfrm>
                  <a:prstGeom prst="ellipse">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grpSp>
            <p:grpSp>
              <p:nvGrpSpPr>
                <p:cNvPr id="141" name="Group 32"/>
                <p:cNvGrpSpPr>
                  <a:grpSpLocks noChangeAspect="1"/>
                </p:cNvGrpSpPr>
                <p:nvPr/>
              </p:nvGrpSpPr>
              <p:grpSpPr bwMode="auto">
                <a:xfrm>
                  <a:off x="10835908" y="4001501"/>
                  <a:ext cx="194412" cy="123717"/>
                  <a:chOff x="6627" y="2624"/>
                  <a:chExt cx="308" cy="196"/>
                </a:xfrm>
                <a:solidFill>
                  <a:srgbClr val="FFFFFF"/>
                </a:solidFill>
              </p:grpSpPr>
              <p:sp>
                <p:nvSpPr>
                  <p:cNvPr id="142" name="Freeform 33"/>
                  <p:cNvSpPr>
                    <a:spLocks noEditPoints="1"/>
                  </p:cNvSpPr>
                  <p:nvPr/>
                </p:nvSpPr>
                <p:spPr bwMode="auto">
                  <a:xfrm>
                    <a:off x="6627" y="2624"/>
                    <a:ext cx="308" cy="196"/>
                  </a:xfrm>
                  <a:custGeom>
                    <a:avLst/>
                    <a:gdLst>
                      <a:gd name="T0" fmla="*/ 280 w 308"/>
                      <a:gd name="T1" fmla="*/ 58 h 196"/>
                      <a:gd name="T2" fmla="*/ 251 w 308"/>
                      <a:gd name="T3" fmla="*/ 0 h 196"/>
                      <a:gd name="T4" fmla="*/ 38 w 308"/>
                      <a:gd name="T5" fmla="*/ 58 h 196"/>
                      <a:gd name="T6" fmla="*/ 9 w 308"/>
                      <a:gd name="T7" fmla="*/ 58 h 196"/>
                      <a:gd name="T8" fmla="*/ 0 w 308"/>
                      <a:gd name="T9" fmla="*/ 117 h 196"/>
                      <a:gd name="T10" fmla="*/ 0 w 308"/>
                      <a:gd name="T11" fmla="*/ 137 h 196"/>
                      <a:gd name="T12" fmla="*/ 0 w 308"/>
                      <a:gd name="T13" fmla="*/ 166 h 196"/>
                      <a:gd name="T14" fmla="*/ 9 w 308"/>
                      <a:gd name="T15" fmla="*/ 176 h 196"/>
                      <a:gd name="T16" fmla="*/ 48 w 308"/>
                      <a:gd name="T17" fmla="*/ 196 h 196"/>
                      <a:gd name="T18" fmla="*/ 260 w 308"/>
                      <a:gd name="T19" fmla="*/ 176 h 196"/>
                      <a:gd name="T20" fmla="*/ 299 w 308"/>
                      <a:gd name="T21" fmla="*/ 196 h 196"/>
                      <a:gd name="T22" fmla="*/ 308 w 308"/>
                      <a:gd name="T23" fmla="*/ 176 h 196"/>
                      <a:gd name="T24" fmla="*/ 308 w 308"/>
                      <a:gd name="T25" fmla="*/ 156 h 196"/>
                      <a:gd name="T26" fmla="*/ 308 w 308"/>
                      <a:gd name="T27" fmla="*/ 127 h 196"/>
                      <a:gd name="T28" fmla="*/ 299 w 308"/>
                      <a:gd name="T29" fmla="*/ 117 h 196"/>
                      <a:gd name="T30" fmla="*/ 280 w 308"/>
                      <a:gd name="T31" fmla="*/ 78 h 196"/>
                      <a:gd name="T32" fmla="*/ 222 w 308"/>
                      <a:gd name="T33" fmla="*/ 117 h 196"/>
                      <a:gd name="T34" fmla="*/ 270 w 308"/>
                      <a:gd name="T35" fmla="*/ 78 h 196"/>
                      <a:gd name="T36" fmla="*/ 125 w 308"/>
                      <a:gd name="T37" fmla="*/ 78 h 196"/>
                      <a:gd name="T38" fmla="*/ 106 w 308"/>
                      <a:gd name="T39" fmla="*/ 117 h 196"/>
                      <a:gd name="T40" fmla="*/ 125 w 308"/>
                      <a:gd name="T41" fmla="*/ 78 h 196"/>
                      <a:gd name="T42" fmla="*/ 164 w 308"/>
                      <a:gd name="T43" fmla="*/ 78 h 196"/>
                      <a:gd name="T44" fmla="*/ 144 w 308"/>
                      <a:gd name="T45" fmla="*/ 117 h 196"/>
                      <a:gd name="T46" fmla="*/ 183 w 308"/>
                      <a:gd name="T47" fmla="*/ 78 h 196"/>
                      <a:gd name="T48" fmla="*/ 202 w 308"/>
                      <a:gd name="T49" fmla="*/ 117 h 196"/>
                      <a:gd name="T50" fmla="*/ 183 w 308"/>
                      <a:gd name="T51" fmla="*/ 78 h 196"/>
                      <a:gd name="T52" fmla="*/ 236 w 308"/>
                      <a:gd name="T53" fmla="*/ 19 h 196"/>
                      <a:gd name="T54" fmla="*/ 57 w 308"/>
                      <a:gd name="T55" fmla="*/ 58 h 196"/>
                      <a:gd name="T56" fmla="*/ 28 w 308"/>
                      <a:gd name="T57" fmla="*/ 78 h 196"/>
                      <a:gd name="T58" fmla="*/ 86 w 308"/>
                      <a:gd name="T59" fmla="*/ 78 h 196"/>
                      <a:gd name="T60" fmla="*/ 28 w 308"/>
                      <a:gd name="T61" fmla="*/ 117 h 196"/>
                      <a:gd name="T62" fmla="*/ 289 w 308"/>
                      <a:gd name="T63" fmla="*/ 156 h 196"/>
                      <a:gd name="T64" fmla="*/ 19 w 308"/>
                      <a:gd name="T65" fmla="*/ 137 h 196"/>
                      <a:gd name="T66" fmla="*/ 289 w 308"/>
                      <a:gd name="T67" fmla="*/ 15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8" h="196">
                        <a:moveTo>
                          <a:pt x="299" y="58"/>
                        </a:moveTo>
                        <a:lnTo>
                          <a:pt x="280" y="58"/>
                        </a:lnTo>
                        <a:lnTo>
                          <a:pt x="270" y="58"/>
                        </a:lnTo>
                        <a:lnTo>
                          <a:pt x="251" y="0"/>
                        </a:lnTo>
                        <a:lnTo>
                          <a:pt x="57" y="0"/>
                        </a:lnTo>
                        <a:lnTo>
                          <a:pt x="38" y="58"/>
                        </a:lnTo>
                        <a:lnTo>
                          <a:pt x="28" y="58"/>
                        </a:lnTo>
                        <a:lnTo>
                          <a:pt x="9" y="58"/>
                        </a:lnTo>
                        <a:lnTo>
                          <a:pt x="9" y="117"/>
                        </a:lnTo>
                        <a:lnTo>
                          <a:pt x="0" y="117"/>
                        </a:lnTo>
                        <a:lnTo>
                          <a:pt x="0" y="127"/>
                        </a:lnTo>
                        <a:lnTo>
                          <a:pt x="0" y="137"/>
                        </a:lnTo>
                        <a:lnTo>
                          <a:pt x="0" y="156"/>
                        </a:lnTo>
                        <a:lnTo>
                          <a:pt x="0" y="166"/>
                        </a:lnTo>
                        <a:lnTo>
                          <a:pt x="0" y="176"/>
                        </a:lnTo>
                        <a:lnTo>
                          <a:pt x="9" y="176"/>
                        </a:lnTo>
                        <a:lnTo>
                          <a:pt x="9" y="196"/>
                        </a:lnTo>
                        <a:lnTo>
                          <a:pt x="48" y="196"/>
                        </a:lnTo>
                        <a:lnTo>
                          <a:pt x="48" y="176"/>
                        </a:lnTo>
                        <a:lnTo>
                          <a:pt x="260" y="176"/>
                        </a:lnTo>
                        <a:lnTo>
                          <a:pt x="260" y="196"/>
                        </a:lnTo>
                        <a:lnTo>
                          <a:pt x="299" y="196"/>
                        </a:lnTo>
                        <a:lnTo>
                          <a:pt x="299" y="176"/>
                        </a:lnTo>
                        <a:lnTo>
                          <a:pt x="308" y="176"/>
                        </a:lnTo>
                        <a:lnTo>
                          <a:pt x="308" y="166"/>
                        </a:lnTo>
                        <a:lnTo>
                          <a:pt x="308" y="156"/>
                        </a:lnTo>
                        <a:lnTo>
                          <a:pt x="308" y="137"/>
                        </a:lnTo>
                        <a:lnTo>
                          <a:pt x="308" y="127"/>
                        </a:lnTo>
                        <a:lnTo>
                          <a:pt x="308" y="117"/>
                        </a:lnTo>
                        <a:lnTo>
                          <a:pt x="299" y="117"/>
                        </a:lnTo>
                        <a:lnTo>
                          <a:pt x="299" y="58"/>
                        </a:lnTo>
                        <a:close/>
                        <a:moveTo>
                          <a:pt x="280" y="78"/>
                        </a:moveTo>
                        <a:lnTo>
                          <a:pt x="280" y="117"/>
                        </a:lnTo>
                        <a:lnTo>
                          <a:pt x="222" y="117"/>
                        </a:lnTo>
                        <a:lnTo>
                          <a:pt x="222" y="78"/>
                        </a:lnTo>
                        <a:lnTo>
                          <a:pt x="270" y="78"/>
                        </a:lnTo>
                        <a:lnTo>
                          <a:pt x="280" y="78"/>
                        </a:lnTo>
                        <a:close/>
                        <a:moveTo>
                          <a:pt x="125" y="78"/>
                        </a:moveTo>
                        <a:lnTo>
                          <a:pt x="125" y="117"/>
                        </a:lnTo>
                        <a:lnTo>
                          <a:pt x="106" y="117"/>
                        </a:lnTo>
                        <a:lnTo>
                          <a:pt x="106" y="78"/>
                        </a:lnTo>
                        <a:lnTo>
                          <a:pt x="125" y="78"/>
                        </a:lnTo>
                        <a:close/>
                        <a:moveTo>
                          <a:pt x="144" y="78"/>
                        </a:moveTo>
                        <a:lnTo>
                          <a:pt x="164" y="78"/>
                        </a:lnTo>
                        <a:lnTo>
                          <a:pt x="164" y="117"/>
                        </a:lnTo>
                        <a:lnTo>
                          <a:pt x="144" y="117"/>
                        </a:lnTo>
                        <a:lnTo>
                          <a:pt x="144" y="78"/>
                        </a:lnTo>
                        <a:close/>
                        <a:moveTo>
                          <a:pt x="183" y="78"/>
                        </a:moveTo>
                        <a:lnTo>
                          <a:pt x="202" y="78"/>
                        </a:lnTo>
                        <a:lnTo>
                          <a:pt x="202" y="117"/>
                        </a:lnTo>
                        <a:lnTo>
                          <a:pt x="183" y="117"/>
                        </a:lnTo>
                        <a:lnTo>
                          <a:pt x="183" y="78"/>
                        </a:lnTo>
                        <a:close/>
                        <a:moveTo>
                          <a:pt x="72" y="19"/>
                        </a:moveTo>
                        <a:lnTo>
                          <a:pt x="236" y="19"/>
                        </a:lnTo>
                        <a:lnTo>
                          <a:pt x="251" y="58"/>
                        </a:lnTo>
                        <a:lnTo>
                          <a:pt x="57" y="58"/>
                        </a:lnTo>
                        <a:lnTo>
                          <a:pt x="72" y="19"/>
                        </a:lnTo>
                        <a:close/>
                        <a:moveTo>
                          <a:pt x="28" y="78"/>
                        </a:moveTo>
                        <a:lnTo>
                          <a:pt x="38" y="78"/>
                        </a:lnTo>
                        <a:lnTo>
                          <a:pt x="86" y="78"/>
                        </a:lnTo>
                        <a:lnTo>
                          <a:pt x="86" y="117"/>
                        </a:lnTo>
                        <a:lnTo>
                          <a:pt x="28" y="117"/>
                        </a:lnTo>
                        <a:lnTo>
                          <a:pt x="28" y="78"/>
                        </a:lnTo>
                        <a:close/>
                        <a:moveTo>
                          <a:pt x="289" y="156"/>
                        </a:moveTo>
                        <a:lnTo>
                          <a:pt x="19" y="156"/>
                        </a:lnTo>
                        <a:lnTo>
                          <a:pt x="19" y="137"/>
                        </a:lnTo>
                        <a:lnTo>
                          <a:pt x="289" y="137"/>
                        </a:lnTo>
                        <a:lnTo>
                          <a:pt x="289" y="156"/>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sp>
                <p:nvSpPr>
                  <p:cNvPr id="143" name="Oval 34"/>
                  <p:cNvSpPr>
                    <a:spLocks noChangeArrowheads="1"/>
                  </p:cNvSpPr>
                  <p:nvPr/>
                </p:nvSpPr>
                <p:spPr bwMode="auto">
                  <a:xfrm>
                    <a:off x="6675" y="2712"/>
                    <a:ext cx="19" cy="19"/>
                  </a:xfrm>
                  <a:prstGeom prst="ellipse">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sp>
                <p:nvSpPr>
                  <p:cNvPr id="144" name="Oval 35"/>
                  <p:cNvSpPr>
                    <a:spLocks noChangeArrowheads="1"/>
                  </p:cNvSpPr>
                  <p:nvPr/>
                </p:nvSpPr>
                <p:spPr bwMode="auto">
                  <a:xfrm>
                    <a:off x="6868" y="2712"/>
                    <a:ext cx="19" cy="19"/>
                  </a:xfrm>
                  <a:prstGeom prst="ellipse">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grpSp>
          </p:grpSp>
        </p:grpSp>
      </p:grpSp>
      <p:grpSp>
        <p:nvGrpSpPr>
          <p:cNvPr id="122" name="Group 121"/>
          <p:cNvGrpSpPr/>
          <p:nvPr/>
        </p:nvGrpSpPr>
        <p:grpSpPr>
          <a:xfrm>
            <a:off x="142486" y="5197208"/>
            <a:ext cx="803730" cy="803730"/>
            <a:chOff x="7410211" y="5077564"/>
            <a:chExt cx="1016000" cy="1016000"/>
          </a:xfrm>
        </p:grpSpPr>
        <p:sp>
          <p:nvSpPr>
            <p:cNvPr id="134" name="Oval 133"/>
            <p:cNvSpPr/>
            <p:nvPr/>
          </p:nvSpPr>
          <p:spPr bwMode="auto">
            <a:xfrm>
              <a:off x="7410211" y="5077564"/>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dirty="0">
                <a:gradFill>
                  <a:gsLst>
                    <a:gs pos="1250">
                      <a:srgbClr val="505050"/>
                    </a:gs>
                    <a:gs pos="76000">
                      <a:srgbClr val="505050"/>
                    </a:gs>
                  </a:gsLst>
                  <a:lin ang="5400000" scaled="0"/>
                </a:gradFill>
              </a:endParaRPr>
            </a:p>
          </p:txBody>
        </p:sp>
        <p:sp>
          <p:nvSpPr>
            <p:cNvPr id="135" name="Freeform 39"/>
            <p:cNvSpPr>
              <a:spLocks noEditPoints="1"/>
            </p:cNvSpPr>
            <p:nvPr/>
          </p:nvSpPr>
          <p:spPr bwMode="auto">
            <a:xfrm>
              <a:off x="7704085" y="5383952"/>
              <a:ext cx="428252" cy="403224"/>
            </a:xfrm>
            <a:custGeom>
              <a:avLst/>
              <a:gdLst>
                <a:gd name="T0" fmla="*/ 88 w 128"/>
                <a:gd name="T1" fmla="*/ 0 h 120"/>
                <a:gd name="T2" fmla="*/ 64 w 128"/>
                <a:gd name="T3" fmla="*/ 8 h 120"/>
                <a:gd name="T4" fmla="*/ 40 w 128"/>
                <a:gd name="T5" fmla="*/ 0 h 120"/>
                <a:gd name="T6" fmla="*/ 12 w 128"/>
                <a:gd name="T7" fmla="*/ 12 h 120"/>
                <a:gd name="T8" fmla="*/ 0 w 128"/>
                <a:gd name="T9" fmla="*/ 40 h 120"/>
                <a:gd name="T10" fmla="*/ 12 w 128"/>
                <a:gd name="T11" fmla="*/ 68 h 120"/>
                <a:gd name="T12" fmla="*/ 64 w 128"/>
                <a:gd name="T13" fmla="*/ 120 h 120"/>
                <a:gd name="T14" fmla="*/ 116 w 128"/>
                <a:gd name="T15" fmla="*/ 68 h 120"/>
                <a:gd name="T16" fmla="*/ 128 w 128"/>
                <a:gd name="T17" fmla="*/ 40 h 120"/>
                <a:gd name="T18" fmla="*/ 116 w 128"/>
                <a:gd name="T19" fmla="*/ 12 h 120"/>
                <a:gd name="T20" fmla="*/ 88 w 128"/>
                <a:gd name="T21" fmla="*/ 0 h 120"/>
                <a:gd name="T22" fmla="*/ 19 w 128"/>
                <a:gd name="T23" fmla="*/ 64 h 120"/>
                <a:gd name="T24" fmla="*/ 30 w 128"/>
                <a:gd name="T25" fmla="*/ 64 h 120"/>
                <a:gd name="T26" fmla="*/ 36 w 128"/>
                <a:gd name="T27" fmla="*/ 58 h 120"/>
                <a:gd name="T28" fmla="*/ 64 w 128"/>
                <a:gd name="T29" fmla="*/ 86 h 120"/>
                <a:gd name="T30" fmla="*/ 96 w 128"/>
                <a:gd name="T31" fmla="*/ 54 h 120"/>
                <a:gd name="T32" fmla="*/ 106 w 128"/>
                <a:gd name="T33" fmla="*/ 64 h 120"/>
                <a:gd name="T34" fmla="*/ 109 w 128"/>
                <a:gd name="T35" fmla="*/ 64 h 120"/>
                <a:gd name="T36" fmla="*/ 64 w 128"/>
                <a:gd name="T37" fmla="*/ 109 h 120"/>
                <a:gd name="T38" fmla="*/ 19 w 128"/>
                <a:gd name="T39" fmla="*/ 64 h 120"/>
                <a:gd name="T40" fmla="*/ 116 w 128"/>
                <a:gd name="T41" fmla="*/ 56 h 120"/>
                <a:gd name="T42" fmla="*/ 110 w 128"/>
                <a:gd name="T43" fmla="*/ 56 h 120"/>
                <a:gd name="T44" fmla="*/ 96 w 128"/>
                <a:gd name="T45" fmla="*/ 43 h 120"/>
                <a:gd name="T46" fmla="*/ 64 w 128"/>
                <a:gd name="T47" fmla="*/ 75 h 120"/>
                <a:gd name="T48" fmla="*/ 36 w 128"/>
                <a:gd name="T49" fmla="*/ 47 h 120"/>
                <a:gd name="T50" fmla="*/ 26 w 128"/>
                <a:gd name="T51" fmla="*/ 56 h 120"/>
                <a:gd name="T52" fmla="*/ 12 w 128"/>
                <a:gd name="T53" fmla="*/ 56 h 120"/>
                <a:gd name="T54" fmla="*/ 8 w 128"/>
                <a:gd name="T55" fmla="*/ 40 h 120"/>
                <a:gd name="T56" fmla="*/ 17 w 128"/>
                <a:gd name="T57" fmla="*/ 18 h 120"/>
                <a:gd name="T58" fmla="*/ 40 w 128"/>
                <a:gd name="T59" fmla="*/ 8 h 120"/>
                <a:gd name="T60" fmla="*/ 61 w 128"/>
                <a:gd name="T61" fmla="*/ 16 h 120"/>
                <a:gd name="T62" fmla="*/ 64 w 128"/>
                <a:gd name="T63" fmla="*/ 19 h 120"/>
                <a:gd name="T64" fmla="*/ 67 w 128"/>
                <a:gd name="T65" fmla="*/ 16 h 120"/>
                <a:gd name="T66" fmla="*/ 88 w 128"/>
                <a:gd name="T67" fmla="*/ 8 h 120"/>
                <a:gd name="T68" fmla="*/ 111 w 128"/>
                <a:gd name="T69" fmla="*/ 18 h 120"/>
                <a:gd name="T70" fmla="*/ 120 w 128"/>
                <a:gd name="T71" fmla="*/ 40 h 120"/>
                <a:gd name="T72" fmla="*/ 116 w 128"/>
                <a:gd name="T73" fmla="*/ 5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0">
                  <a:moveTo>
                    <a:pt x="88" y="0"/>
                  </a:moveTo>
                  <a:cubicBezTo>
                    <a:pt x="79" y="0"/>
                    <a:pt x="71" y="3"/>
                    <a:pt x="64" y="8"/>
                  </a:cubicBezTo>
                  <a:cubicBezTo>
                    <a:pt x="57" y="3"/>
                    <a:pt x="49" y="0"/>
                    <a:pt x="40" y="0"/>
                  </a:cubicBezTo>
                  <a:cubicBezTo>
                    <a:pt x="29" y="0"/>
                    <a:pt x="19" y="4"/>
                    <a:pt x="12" y="12"/>
                  </a:cubicBezTo>
                  <a:cubicBezTo>
                    <a:pt x="4" y="19"/>
                    <a:pt x="0" y="30"/>
                    <a:pt x="0" y="40"/>
                  </a:cubicBezTo>
                  <a:cubicBezTo>
                    <a:pt x="0" y="51"/>
                    <a:pt x="4" y="61"/>
                    <a:pt x="12" y="68"/>
                  </a:cubicBezTo>
                  <a:cubicBezTo>
                    <a:pt x="64" y="120"/>
                    <a:pt x="64" y="120"/>
                    <a:pt x="64" y="120"/>
                  </a:cubicBezTo>
                  <a:cubicBezTo>
                    <a:pt x="116" y="68"/>
                    <a:pt x="116" y="68"/>
                    <a:pt x="116" y="68"/>
                  </a:cubicBezTo>
                  <a:cubicBezTo>
                    <a:pt x="124" y="61"/>
                    <a:pt x="128" y="51"/>
                    <a:pt x="128" y="40"/>
                  </a:cubicBezTo>
                  <a:cubicBezTo>
                    <a:pt x="128" y="30"/>
                    <a:pt x="124" y="19"/>
                    <a:pt x="116" y="12"/>
                  </a:cubicBezTo>
                  <a:cubicBezTo>
                    <a:pt x="109" y="4"/>
                    <a:pt x="99" y="0"/>
                    <a:pt x="88" y="0"/>
                  </a:cubicBezTo>
                  <a:moveTo>
                    <a:pt x="19" y="64"/>
                  </a:moveTo>
                  <a:cubicBezTo>
                    <a:pt x="30" y="64"/>
                    <a:pt x="30" y="64"/>
                    <a:pt x="30" y="64"/>
                  </a:cubicBezTo>
                  <a:cubicBezTo>
                    <a:pt x="36" y="58"/>
                    <a:pt x="36" y="58"/>
                    <a:pt x="36" y="58"/>
                  </a:cubicBezTo>
                  <a:cubicBezTo>
                    <a:pt x="64" y="86"/>
                    <a:pt x="64" y="86"/>
                    <a:pt x="64" y="86"/>
                  </a:cubicBezTo>
                  <a:cubicBezTo>
                    <a:pt x="96" y="54"/>
                    <a:pt x="96" y="54"/>
                    <a:pt x="96" y="54"/>
                  </a:cubicBezTo>
                  <a:cubicBezTo>
                    <a:pt x="106" y="64"/>
                    <a:pt x="106" y="64"/>
                    <a:pt x="106" y="64"/>
                  </a:cubicBezTo>
                  <a:cubicBezTo>
                    <a:pt x="109" y="64"/>
                    <a:pt x="109" y="64"/>
                    <a:pt x="109" y="64"/>
                  </a:cubicBezTo>
                  <a:cubicBezTo>
                    <a:pt x="64" y="109"/>
                    <a:pt x="64" y="109"/>
                    <a:pt x="64" y="109"/>
                  </a:cubicBezTo>
                  <a:lnTo>
                    <a:pt x="19" y="64"/>
                  </a:lnTo>
                  <a:close/>
                  <a:moveTo>
                    <a:pt x="116" y="56"/>
                  </a:moveTo>
                  <a:cubicBezTo>
                    <a:pt x="110" y="56"/>
                    <a:pt x="110" y="56"/>
                    <a:pt x="110" y="56"/>
                  </a:cubicBezTo>
                  <a:cubicBezTo>
                    <a:pt x="96" y="43"/>
                    <a:pt x="96" y="43"/>
                    <a:pt x="96" y="43"/>
                  </a:cubicBezTo>
                  <a:cubicBezTo>
                    <a:pt x="64" y="75"/>
                    <a:pt x="64" y="75"/>
                    <a:pt x="64" y="75"/>
                  </a:cubicBezTo>
                  <a:cubicBezTo>
                    <a:pt x="36" y="47"/>
                    <a:pt x="36" y="47"/>
                    <a:pt x="36" y="47"/>
                  </a:cubicBezTo>
                  <a:cubicBezTo>
                    <a:pt x="26" y="56"/>
                    <a:pt x="26" y="56"/>
                    <a:pt x="26" y="56"/>
                  </a:cubicBezTo>
                  <a:cubicBezTo>
                    <a:pt x="12" y="56"/>
                    <a:pt x="12" y="56"/>
                    <a:pt x="12" y="56"/>
                  </a:cubicBezTo>
                  <a:cubicBezTo>
                    <a:pt x="10" y="51"/>
                    <a:pt x="8" y="46"/>
                    <a:pt x="8" y="40"/>
                  </a:cubicBezTo>
                  <a:cubicBezTo>
                    <a:pt x="8" y="32"/>
                    <a:pt x="11" y="24"/>
                    <a:pt x="17" y="18"/>
                  </a:cubicBezTo>
                  <a:cubicBezTo>
                    <a:pt x="23" y="12"/>
                    <a:pt x="31" y="8"/>
                    <a:pt x="40" y="8"/>
                  </a:cubicBezTo>
                  <a:cubicBezTo>
                    <a:pt x="48" y="8"/>
                    <a:pt x="55" y="11"/>
                    <a:pt x="61" y="16"/>
                  </a:cubicBezTo>
                  <a:cubicBezTo>
                    <a:pt x="64" y="19"/>
                    <a:pt x="64" y="19"/>
                    <a:pt x="64" y="19"/>
                  </a:cubicBezTo>
                  <a:cubicBezTo>
                    <a:pt x="67" y="16"/>
                    <a:pt x="67" y="16"/>
                    <a:pt x="67" y="16"/>
                  </a:cubicBezTo>
                  <a:cubicBezTo>
                    <a:pt x="73" y="11"/>
                    <a:pt x="80" y="8"/>
                    <a:pt x="88" y="8"/>
                  </a:cubicBezTo>
                  <a:cubicBezTo>
                    <a:pt x="97" y="8"/>
                    <a:pt x="105" y="12"/>
                    <a:pt x="111" y="18"/>
                  </a:cubicBezTo>
                  <a:cubicBezTo>
                    <a:pt x="117" y="24"/>
                    <a:pt x="120" y="32"/>
                    <a:pt x="120" y="40"/>
                  </a:cubicBezTo>
                  <a:cubicBezTo>
                    <a:pt x="120" y="46"/>
                    <a:pt x="118" y="51"/>
                    <a:pt x="116" y="56"/>
                  </a:cubicBezTo>
                </a:path>
              </a:pathLst>
            </a:cu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grpSp>
      <p:grpSp>
        <p:nvGrpSpPr>
          <p:cNvPr id="123" name="Group 122"/>
          <p:cNvGrpSpPr/>
          <p:nvPr/>
        </p:nvGrpSpPr>
        <p:grpSpPr>
          <a:xfrm>
            <a:off x="3897468" y="5197208"/>
            <a:ext cx="803730" cy="803730"/>
            <a:chOff x="6320325" y="3747236"/>
            <a:chExt cx="1016000" cy="1016000"/>
          </a:xfrm>
        </p:grpSpPr>
        <p:sp>
          <p:nvSpPr>
            <p:cNvPr id="130" name="Oval 129"/>
            <p:cNvSpPr/>
            <p:nvPr/>
          </p:nvSpPr>
          <p:spPr bwMode="auto">
            <a:xfrm>
              <a:off x="6320325" y="3747236"/>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dirty="0">
                <a:gradFill>
                  <a:gsLst>
                    <a:gs pos="1250">
                      <a:srgbClr val="505050"/>
                    </a:gs>
                    <a:gs pos="76000">
                      <a:srgbClr val="505050"/>
                    </a:gs>
                  </a:gsLst>
                  <a:lin ang="5400000" scaled="0"/>
                </a:gradFill>
              </a:endParaRPr>
            </a:p>
          </p:txBody>
        </p:sp>
        <p:grpSp>
          <p:nvGrpSpPr>
            <p:cNvPr id="131" name="Group 42"/>
            <p:cNvGrpSpPr>
              <a:grpSpLocks noChangeAspect="1"/>
            </p:cNvGrpSpPr>
            <p:nvPr/>
          </p:nvGrpSpPr>
          <p:grpSpPr bwMode="auto">
            <a:xfrm>
              <a:off x="6634650" y="4061561"/>
              <a:ext cx="387350" cy="387350"/>
              <a:chOff x="4176" y="2543"/>
              <a:chExt cx="244" cy="244"/>
            </a:xfrm>
            <a:solidFill>
              <a:srgbClr val="FFFFFF"/>
            </a:solidFill>
          </p:grpSpPr>
          <p:sp>
            <p:nvSpPr>
              <p:cNvPr id="132" name="Freeform 43"/>
              <p:cNvSpPr>
                <a:spLocks/>
              </p:cNvSpPr>
              <p:nvPr/>
            </p:nvSpPr>
            <p:spPr bwMode="auto">
              <a:xfrm>
                <a:off x="4179" y="2546"/>
                <a:ext cx="197" cy="197"/>
              </a:xfrm>
              <a:custGeom>
                <a:avLst/>
                <a:gdLst>
                  <a:gd name="T0" fmla="*/ 62 w 81"/>
                  <a:gd name="T1" fmla="*/ 38 h 81"/>
                  <a:gd name="T2" fmla="*/ 81 w 81"/>
                  <a:gd name="T3" fmla="*/ 19 h 81"/>
                  <a:gd name="T4" fmla="*/ 62 w 81"/>
                  <a:gd name="T5" fmla="*/ 0 h 81"/>
                  <a:gd name="T6" fmla="*/ 56 w 81"/>
                  <a:gd name="T7" fmla="*/ 6 h 81"/>
                  <a:gd name="T8" fmla="*/ 65 w 81"/>
                  <a:gd name="T9" fmla="*/ 15 h 81"/>
                  <a:gd name="T10" fmla="*/ 51 w 81"/>
                  <a:gd name="T11" fmla="*/ 15 h 81"/>
                  <a:gd name="T12" fmla="*/ 15 w 81"/>
                  <a:gd name="T13" fmla="*/ 51 h 81"/>
                  <a:gd name="T14" fmla="*/ 15 w 81"/>
                  <a:gd name="T15" fmla="*/ 65 h 81"/>
                  <a:gd name="T16" fmla="*/ 6 w 81"/>
                  <a:gd name="T17" fmla="*/ 56 h 81"/>
                  <a:gd name="T18" fmla="*/ 0 w 81"/>
                  <a:gd name="T19" fmla="*/ 62 h 81"/>
                  <a:gd name="T20" fmla="*/ 19 w 81"/>
                  <a:gd name="T21" fmla="*/ 81 h 81"/>
                  <a:gd name="T22" fmla="*/ 38 w 81"/>
                  <a:gd name="T23" fmla="*/ 62 h 81"/>
                  <a:gd name="T24" fmla="*/ 32 w 81"/>
                  <a:gd name="T25" fmla="*/ 56 h 81"/>
                  <a:gd name="T26" fmla="*/ 23 w 81"/>
                  <a:gd name="T27" fmla="*/ 65 h 81"/>
                  <a:gd name="T28" fmla="*/ 23 w 81"/>
                  <a:gd name="T29" fmla="*/ 51 h 81"/>
                  <a:gd name="T30" fmla="*/ 51 w 81"/>
                  <a:gd name="T31" fmla="*/ 23 h 81"/>
                  <a:gd name="T32" fmla="*/ 65 w 81"/>
                  <a:gd name="T33" fmla="*/ 23 h 81"/>
                  <a:gd name="T34" fmla="*/ 56 w 81"/>
                  <a:gd name="T35" fmla="*/ 32 h 81"/>
                  <a:gd name="T36" fmla="*/ 62 w 81"/>
                  <a:gd name="T37" fmla="*/ 3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1" h="81">
                    <a:moveTo>
                      <a:pt x="62" y="38"/>
                    </a:moveTo>
                    <a:cubicBezTo>
                      <a:pt x="81" y="19"/>
                      <a:pt x="81" y="19"/>
                      <a:pt x="81" y="19"/>
                    </a:cubicBezTo>
                    <a:cubicBezTo>
                      <a:pt x="62" y="0"/>
                      <a:pt x="62" y="0"/>
                      <a:pt x="62" y="0"/>
                    </a:cubicBezTo>
                    <a:cubicBezTo>
                      <a:pt x="56" y="6"/>
                      <a:pt x="56" y="6"/>
                      <a:pt x="56" y="6"/>
                    </a:cubicBezTo>
                    <a:cubicBezTo>
                      <a:pt x="65" y="15"/>
                      <a:pt x="65" y="15"/>
                      <a:pt x="65" y="15"/>
                    </a:cubicBezTo>
                    <a:cubicBezTo>
                      <a:pt x="51" y="15"/>
                      <a:pt x="51" y="15"/>
                      <a:pt x="51" y="15"/>
                    </a:cubicBezTo>
                    <a:cubicBezTo>
                      <a:pt x="31" y="15"/>
                      <a:pt x="15" y="31"/>
                      <a:pt x="15" y="51"/>
                    </a:cubicBezTo>
                    <a:cubicBezTo>
                      <a:pt x="15" y="65"/>
                      <a:pt x="15" y="65"/>
                      <a:pt x="15" y="65"/>
                    </a:cubicBezTo>
                    <a:cubicBezTo>
                      <a:pt x="6" y="56"/>
                      <a:pt x="6" y="56"/>
                      <a:pt x="6" y="56"/>
                    </a:cubicBezTo>
                    <a:cubicBezTo>
                      <a:pt x="0" y="62"/>
                      <a:pt x="0" y="62"/>
                      <a:pt x="0" y="62"/>
                    </a:cubicBezTo>
                    <a:cubicBezTo>
                      <a:pt x="19" y="81"/>
                      <a:pt x="19" y="81"/>
                      <a:pt x="19" y="81"/>
                    </a:cubicBezTo>
                    <a:cubicBezTo>
                      <a:pt x="38" y="62"/>
                      <a:pt x="38" y="62"/>
                      <a:pt x="38" y="62"/>
                    </a:cubicBezTo>
                    <a:cubicBezTo>
                      <a:pt x="32" y="56"/>
                      <a:pt x="32" y="56"/>
                      <a:pt x="32" y="56"/>
                    </a:cubicBezTo>
                    <a:cubicBezTo>
                      <a:pt x="23" y="65"/>
                      <a:pt x="23" y="65"/>
                      <a:pt x="23" y="65"/>
                    </a:cubicBezTo>
                    <a:cubicBezTo>
                      <a:pt x="23" y="51"/>
                      <a:pt x="23" y="51"/>
                      <a:pt x="23" y="51"/>
                    </a:cubicBezTo>
                    <a:cubicBezTo>
                      <a:pt x="23" y="36"/>
                      <a:pt x="36" y="23"/>
                      <a:pt x="51" y="23"/>
                    </a:cubicBezTo>
                    <a:cubicBezTo>
                      <a:pt x="65" y="23"/>
                      <a:pt x="65" y="23"/>
                      <a:pt x="65" y="23"/>
                    </a:cubicBezTo>
                    <a:cubicBezTo>
                      <a:pt x="56" y="32"/>
                      <a:pt x="56" y="32"/>
                      <a:pt x="56" y="32"/>
                    </a:cubicBezTo>
                    <a:lnTo>
                      <a:pt x="62" y="38"/>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sp>
            <p:nvSpPr>
              <p:cNvPr id="133" name="Freeform 44"/>
              <p:cNvSpPr>
                <a:spLocks noEditPoints="1"/>
              </p:cNvSpPr>
              <p:nvPr/>
            </p:nvSpPr>
            <p:spPr bwMode="auto">
              <a:xfrm>
                <a:off x="4176" y="2543"/>
                <a:ext cx="244" cy="244"/>
              </a:xfrm>
              <a:custGeom>
                <a:avLst/>
                <a:gdLst>
                  <a:gd name="T0" fmla="*/ 244 w 244"/>
                  <a:gd name="T1" fmla="*/ 0 h 244"/>
                  <a:gd name="T2" fmla="*/ 224 w 244"/>
                  <a:gd name="T3" fmla="*/ 0 h 244"/>
                  <a:gd name="T4" fmla="*/ 224 w 244"/>
                  <a:gd name="T5" fmla="*/ 166 h 244"/>
                  <a:gd name="T6" fmla="*/ 166 w 244"/>
                  <a:gd name="T7" fmla="*/ 166 h 244"/>
                  <a:gd name="T8" fmla="*/ 166 w 244"/>
                  <a:gd name="T9" fmla="*/ 224 h 244"/>
                  <a:gd name="T10" fmla="*/ 0 w 244"/>
                  <a:gd name="T11" fmla="*/ 224 h 244"/>
                  <a:gd name="T12" fmla="*/ 0 w 244"/>
                  <a:gd name="T13" fmla="*/ 244 h 244"/>
                  <a:gd name="T14" fmla="*/ 244 w 244"/>
                  <a:gd name="T15" fmla="*/ 244 h 244"/>
                  <a:gd name="T16" fmla="*/ 244 w 244"/>
                  <a:gd name="T17" fmla="*/ 0 h 244"/>
                  <a:gd name="T18" fmla="*/ 185 w 244"/>
                  <a:gd name="T19" fmla="*/ 224 h 244"/>
                  <a:gd name="T20" fmla="*/ 185 w 244"/>
                  <a:gd name="T21" fmla="*/ 185 h 244"/>
                  <a:gd name="T22" fmla="*/ 224 w 244"/>
                  <a:gd name="T23" fmla="*/ 185 h 244"/>
                  <a:gd name="T24" fmla="*/ 224 w 244"/>
                  <a:gd name="T25" fmla="*/ 224 h 244"/>
                  <a:gd name="T26" fmla="*/ 185 w 244"/>
                  <a:gd name="T27" fmla="*/ 22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4" h="244">
                    <a:moveTo>
                      <a:pt x="244" y="0"/>
                    </a:moveTo>
                    <a:lnTo>
                      <a:pt x="224" y="0"/>
                    </a:lnTo>
                    <a:lnTo>
                      <a:pt x="224" y="166"/>
                    </a:lnTo>
                    <a:lnTo>
                      <a:pt x="166" y="166"/>
                    </a:lnTo>
                    <a:lnTo>
                      <a:pt x="166" y="224"/>
                    </a:lnTo>
                    <a:lnTo>
                      <a:pt x="0" y="224"/>
                    </a:lnTo>
                    <a:lnTo>
                      <a:pt x="0" y="244"/>
                    </a:lnTo>
                    <a:lnTo>
                      <a:pt x="244" y="244"/>
                    </a:lnTo>
                    <a:lnTo>
                      <a:pt x="244" y="0"/>
                    </a:lnTo>
                    <a:close/>
                    <a:moveTo>
                      <a:pt x="185" y="224"/>
                    </a:moveTo>
                    <a:lnTo>
                      <a:pt x="185" y="185"/>
                    </a:lnTo>
                    <a:lnTo>
                      <a:pt x="224" y="185"/>
                    </a:lnTo>
                    <a:lnTo>
                      <a:pt x="224" y="224"/>
                    </a:lnTo>
                    <a:lnTo>
                      <a:pt x="185" y="224"/>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grpSp>
      </p:grpSp>
      <p:grpSp>
        <p:nvGrpSpPr>
          <p:cNvPr id="124" name="Group 123"/>
          <p:cNvGrpSpPr/>
          <p:nvPr/>
        </p:nvGrpSpPr>
        <p:grpSpPr>
          <a:xfrm>
            <a:off x="8251706" y="4001712"/>
            <a:ext cx="803730" cy="803730"/>
            <a:chOff x="6637894" y="2120048"/>
            <a:chExt cx="1016000" cy="1016000"/>
          </a:xfrm>
        </p:grpSpPr>
        <p:sp>
          <p:nvSpPr>
            <p:cNvPr id="125" name="Oval 124"/>
            <p:cNvSpPr/>
            <p:nvPr/>
          </p:nvSpPr>
          <p:spPr bwMode="auto">
            <a:xfrm>
              <a:off x="6637894" y="2120048"/>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dirty="0">
                <a:gradFill>
                  <a:gsLst>
                    <a:gs pos="1250">
                      <a:srgbClr val="505050"/>
                    </a:gs>
                    <a:gs pos="76000">
                      <a:srgbClr val="505050"/>
                    </a:gs>
                  </a:gsLst>
                  <a:lin ang="5400000" scaled="0"/>
                </a:gradFill>
              </a:endParaRPr>
            </a:p>
          </p:txBody>
        </p:sp>
        <p:grpSp>
          <p:nvGrpSpPr>
            <p:cNvPr id="126" name="Group 47"/>
            <p:cNvGrpSpPr>
              <a:grpSpLocks noChangeAspect="1"/>
            </p:cNvGrpSpPr>
            <p:nvPr/>
          </p:nvGrpSpPr>
          <p:grpSpPr bwMode="auto">
            <a:xfrm>
              <a:off x="6921898" y="2447928"/>
              <a:ext cx="447992" cy="360240"/>
              <a:chOff x="4379" y="1525"/>
              <a:chExt cx="291" cy="234"/>
            </a:xfrm>
            <a:solidFill>
              <a:srgbClr val="FFFFFF"/>
            </a:solidFill>
          </p:grpSpPr>
          <p:sp>
            <p:nvSpPr>
              <p:cNvPr id="127" name="Freeform 48"/>
              <p:cNvSpPr>
                <a:spLocks noEditPoints="1"/>
              </p:cNvSpPr>
              <p:nvPr/>
            </p:nvSpPr>
            <p:spPr bwMode="auto">
              <a:xfrm>
                <a:off x="4379" y="1525"/>
                <a:ext cx="97" cy="234"/>
              </a:xfrm>
              <a:custGeom>
                <a:avLst/>
                <a:gdLst>
                  <a:gd name="T0" fmla="*/ 19 w 97"/>
                  <a:gd name="T1" fmla="*/ 234 h 234"/>
                  <a:gd name="T2" fmla="*/ 78 w 97"/>
                  <a:gd name="T3" fmla="*/ 234 h 234"/>
                  <a:gd name="T4" fmla="*/ 78 w 97"/>
                  <a:gd name="T5" fmla="*/ 195 h 234"/>
                  <a:gd name="T6" fmla="*/ 97 w 97"/>
                  <a:gd name="T7" fmla="*/ 195 h 234"/>
                  <a:gd name="T8" fmla="*/ 97 w 97"/>
                  <a:gd name="T9" fmla="*/ 176 h 234"/>
                  <a:gd name="T10" fmla="*/ 78 w 97"/>
                  <a:gd name="T11" fmla="*/ 176 h 234"/>
                  <a:gd name="T12" fmla="*/ 78 w 97"/>
                  <a:gd name="T13" fmla="*/ 0 h 234"/>
                  <a:gd name="T14" fmla="*/ 19 w 97"/>
                  <a:gd name="T15" fmla="*/ 0 h 234"/>
                  <a:gd name="T16" fmla="*/ 19 w 97"/>
                  <a:gd name="T17" fmla="*/ 176 h 234"/>
                  <a:gd name="T18" fmla="*/ 0 w 97"/>
                  <a:gd name="T19" fmla="*/ 176 h 234"/>
                  <a:gd name="T20" fmla="*/ 0 w 97"/>
                  <a:gd name="T21" fmla="*/ 195 h 234"/>
                  <a:gd name="T22" fmla="*/ 19 w 97"/>
                  <a:gd name="T23" fmla="*/ 195 h 234"/>
                  <a:gd name="T24" fmla="*/ 19 w 97"/>
                  <a:gd name="T25" fmla="*/ 234 h 234"/>
                  <a:gd name="T26" fmla="*/ 39 w 97"/>
                  <a:gd name="T27" fmla="*/ 20 h 234"/>
                  <a:gd name="T28" fmla="*/ 58 w 97"/>
                  <a:gd name="T29" fmla="*/ 20 h 234"/>
                  <a:gd name="T30" fmla="*/ 58 w 97"/>
                  <a:gd name="T31" fmla="*/ 176 h 234"/>
                  <a:gd name="T32" fmla="*/ 39 w 97"/>
                  <a:gd name="T33" fmla="*/ 176 h 234"/>
                  <a:gd name="T34" fmla="*/ 39 w 97"/>
                  <a:gd name="T35" fmla="*/ 20 h 234"/>
                  <a:gd name="T36" fmla="*/ 58 w 97"/>
                  <a:gd name="T37" fmla="*/ 195 h 234"/>
                  <a:gd name="T38" fmla="*/ 58 w 97"/>
                  <a:gd name="T39" fmla="*/ 215 h 234"/>
                  <a:gd name="T40" fmla="*/ 39 w 97"/>
                  <a:gd name="T41" fmla="*/ 215 h 234"/>
                  <a:gd name="T42" fmla="*/ 39 w 97"/>
                  <a:gd name="T43" fmla="*/ 195 h 234"/>
                  <a:gd name="T44" fmla="*/ 58 w 97"/>
                  <a:gd name="T45" fmla="*/ 19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 h="234">
                    <a:moveTo>
                      <a:pt x="19" y="234"/>
                    </a:moveTo>
                    <a:lnTo>
                      <a:pt x="78" y="234"/>
                    </a:lnTo>
                    <a:lnTo>
                      <a:pt x="78" y="195"/>
                    </a:lnTo>
                    <a:lnTo>
                      <a:pt x="97" y="195"/>
                    </a:lnTo>
                    <a:lnTo>
                      <a:pt x="97" y="176"/>
                    </a:lnTo>
                    <a:lnTo>
                      <a:pt x="78" y="176"/>
                    </a:lnTo>
                    <a:lnTo>
                      <a:pt x="78" y="0"/>
                    </a:lnTo>
                    <a:lnTo>
                      <a:pt x="19" y="0"/>
                    </a:lnTo>
                    <a:lnTo>
                      <a:pt x="19" y="176"/>
                    </a:lnTo>
                    <a:lnTo>
                      <a:pt x="0" y="176"/>
                    </a:lnTo>
                    <a:lnTo>
                      <a:pt x="0" y="195"/>
                    </a:lnTo>
                    <a:lnTo>
                      <a:pt x="19" y="195"/>
                    </a:lnTo>
                    <a:lnTo>
                      <a:pt x="19" y="234"/>
                    </a:lnTo>
                    <a:close/>
                    <a:moveTo>
                      <a:pt x="39" y="20"/>
                    </a:moveTo>
                    <a:lnTo>
                      <a:pt x="58" y="20"/>
                    </a:lnTo>
                    <a:lnTo>
                      <a:pt x="58" y="176"/>
                    </a:lnTo>
                    <a:lnTo>
                      <a:pt x="39" y="176"/>
                    </a:lnTo>
                    <a:lnTo>
                      <a:pt x="39" y="20"/>
                    </a:lnTo>
                    <a:close/>
                    <a:moveTo>
                      <a:pt x="58" y="195"/>
                    </a:moveTo>
                    <a:lnTo>
                      <a:pt x="58" y="215"/>
                    </a:lnTo>
                    <a:lnTo>
                      <a:pt x="39" y="215"/>
                    </a:lnTo>
                    <a:lnTo>
                      <a:pt x="39" y="195"/>
                    </a:lnTo>
                    <a:lnTo>
                      <a:pt x="58" y="195"/>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sp>
            <p:nvSpPr>
              <p:cNvPr id="128" name="Freeform 49"/>
              <p:cNvSpPr>
                <a:spLocks noEditPoints="1"/>
              </p:cNvSpPr>
              <p:nvPr/>
            </p:nvSpPr>
            <p:spPr bwMode="auto">
              <a:xfrm>
                <a:off x="4476" y="1525"/>
                <a:ext cx="97" cy="234"/>
              </a:xfrm>
              <a:custGeom>
                <a:avLst/>
                <a:gdLst>
                  <a:gd name="T0" fmla="*/ 19 w 97"/>
                  <a:gd name="T1" fmla="*/ 234 h 234"/>
                  <a:gd name="T2" fmla="*/ 78 w 97"/>
                  <a:gd name="T3" fmla="*/ 234 h 234"/>
                  <a:gd name="T4" fmla="*/ 78 w 97"/>
                  <a:gd name="T5" fmla="*/ 127 h 234"/>
                  <a:gd name="T6" fmla="*/ 97 w 97"/>
                  <a:gd name="T7" fmla="*/ 127 h 234"/>
                  <a:gd name="T8" fmla="*/ 97 w 97"/>
                  <a:gd name="T9" fmla="*/ 107 h 234"/>
                  <a:gd name="T10" fmla="*/ 78 w 97"/>
                  <a:gd name="T11" fmla="*/ 107 h 234"/>
                  <a:gd name="T12" fmla="*/ 78 w 97"/>
                  <a:gd name="T13" fmla="*/ 0 h 234"/>
                  <a:gd name="T14" fmla="*/ 19 w 97"/>
                  <a:gd name="T15" fmla="*/ 0 h 234"/>
                  <a:gd name="T16" fmla="*/ 19 w 97"/>
                  <a:gd name="T17" fmla="*/ 107 h 234"/>
                  <a:gd name="T18" fmla="*/ 0 w 97"/>
                  <a:gd name="T19" fmla="*/ 107 h 234"/>
                  <a:gd name="T20" fmla="*/ 0 w 97"/>
                  <a:gd name="T21" fmla="*/ 127 h 234"/>
                  <a:gd name="T22" fmla="*/ 19 w 97"/>
                  <a:gd name="T23" fmla="*/ 127 h 234"/>
                  <a:gd name="T24" fmla="*/ 19 w 97"/>
                  <a:gd name="T25" fmla="*/ 234 h 234"/>
                  <a:gd name="T26" fmla="*/ 58 w 97"/>
                  <a:gd name="T27" fmla="*/ 215 h 234"/>
                  <a:gd name="T28" fmla="*/ 39 w 97"/>
                  <a:gd name="T29" fmla="*/ 215 h 234"/>
                  <a:gd name="T30" fmla="*/ 39 w 97"/>
                  <a:gd name="T31" fmla="*/ 127 h 234"/>
                  <a:gd name="T32" fmla="*/ 58 w 97"/>
                  <a:gd name="T33" fmla="*/ 127 h 234"/>
                  <a:gd name="T34" fmla="*/ 58 w 97"/>
                  <a:gd name="T35" fmla="*/ 215 h 234"/>
                  <a:gd name="T36" fmla="*/ 39 w 97"/>
                  <a:gd name="T37" fmla="*/ 20 h 234"/>
                  <a:gd name="T38" fmla="*/ 58 w 97"/>
                  <a:gd name="T39" fmla="*/ 20 h 234"/>
                  <a:gd name="T40" fmla="*/ 58 w 97"/>
                  <a:gd name="T41" fmla="*/ 107 h 234"/>
                  <a:gd name="T42" fmla="*/ 39 w 97"/>
                  <a:gd name="T43" fmla="*/ 107 h 234"/>
                  <a:gd name="T44" fmla="*/ 39 w 97"/>
                  <a:gd name="T45" fmla="*/ 2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 h="234">
                    <a:moveTo>
                      <a:pt x="19" y="234"/>
                    </a:moveTo>
                    <a:lnTo>
                      <a:pt x="78" y="234"/>
                    </a:lnTo>
                    <a:lnTo>
                      <a:pt x="78" y="127"/>
                    </a:lnTo>
                    <a:lnTo>
                      <a:pt x="97" y="127"/>
                    </a:lnTo>
                    <a:lnTo>
                      <a:pt x="97" y="107"/>
                    </a:lnTo>
                    <a:lnTo>
                      <a:pt x="78" y="107"/>
                    </a:lnTo>
                    <a:lnTo>
                      <a:pt x="78" y="0"/>
                    </a:lnTo>
                    <a:lnTo>
                      <a:pt x="19" y="0"/>
                    </a:lnTo>
                    <a:lnTo>
                      <a:pt x="19" y="107"/>
                    </a:lnTo>
                    <a:lnTo>
                      <a:pt x="0" y="107"/>
                    </a:lnTo>
                    <a:lnTo>
                      <a:pt x="0" y="127"/>
                    </a:lnTo>
                    <a:lnTo>
                      <a:pt x="19" y="127"/>
                    </a:lnTo>
                    <a:lnTo>
                      <a:pt x="19" y="234"/>
                    </a:lnTo>
                    <a:close/>
                    <a:moveTo>
                      <a:pt x="58" y="215"/>
                    </a:moveTo>
                    <a:lnTo>
                      <a:pt x="39" y="215"/>
                    </a:lnTo>
                    <a:lnTo>
                      <a:pt x="39" y="127"/>
                    </a:lnTo>
                    <a:lnTo>
                      <a:pt x="58" y="127"/>
                    </a:lnTo>
                    <a:lnTo>
                      <a:pt x="58" y="215"/>
                    </a:lnTo>
                    <a:close/>
                    <a:moveTo>
                      <a:pt x="39" y="20"/>
                    </a:moveTo>
                    <a:lnTo>
                      <a:pt x="58" y="20"/>
                    </a:lnTo>
                    <a:lnTo>
                      <a:pt x="58" y="107"/>
                    </a:lnTo>
                    <a:lnTo>
                      <a:pt x="39" y="107"/>
                    </a:lnTo>
                    <a:lnTo>
                      <a:pt x="39" y="20"/>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sp>
            <p:nvSpPr>
              <p:cNvPr id="129" name="Freeform 50"/>
              <p:cNvSpPr>
                <a:spLocks noEditPoints="1"/>
              </p:cNvSpPr>
              <p:nvPr/>
            </p:nvSpPr>
            <p:spPr bwMode="auto">
              <a:xfrm>
                <a:off x="4573" y="1525"/>
                <a:ext cx="97" cy="234"/>
              </a:xfrm>
              <a:custGeom>
                <a:avLst/>
                <a:gdLst>
                  <a:gd name="T0" fmla="*/ 97 w 97"/>
                  <a:gd name="T1" fmla="*/ 39 h 234"/>
                  <a:gd name="T2" fmla="*/ 78 w 97"/>
                  <a:gd name="T3" fmla="*/ 39 h 234"/>
                  <a:gd name="T4" fmla="*/ 78 w 97"/>
                  <a:gd name="T5" fmla="*/ 0 h 234"/>
                  <a:gd name="T6" fmla="*/ 19 w 97"/>
                  <a:gd name="T7" fmla="*/ 0 h 234"/>
                  <a:gd name="T8" fmla="*/ 19 w 97"/>
                  <a:gd name="T9" fmla="*/ 39 h 234"/>
                  <a:gd name="T10" fmla="*/ 0 w 97"/>
                  <a:gd name="T11" fmla="*/ 39 h 234"/>
                  <a:gd name="T12" fmla="*/ 0 w 97"/>
                  <a:gd name="T13" fmla="*/ 59 h 234"/>
                  <a:gd name="T14" fmla="*/ 19 w 97"/>
                  <a:gd name="T15" fmla="*/ 59 h 234"/>
                  <a:gd name="T16" fmla="*/ 19 w 97"/>
                  <a:gd name="T17" fmla="*/ 234 h 234"/>
                  <a:gd name="T18" fmla="*/ 78 w 97"/>
                  <a:gd name="T19" fmla="*/ 234 h 234"/>
                  <a:gd name="T20" fmla="*/ 78 w 97"/>
                  <a:gd name="T21" fmla="*/ 59 h 234"/>
                  <a:gd name="T22" fmla="*/ 97 w 97"/>
                  <a:gd name="T23" fmla="*/ 59 h 234"/>
                  <a:gd name="T24" fmla="*/ 97 w 97"/>
                  <a:gd name="T25" fmla="*/ 39 h 234"/>
                  <a:gd name="T26" fmla="*/ 39 w 97"/>
                  <a:gd name="T27" fmla="*/ 20 h 234"/>
                  <a:gd name="T28" fmla="*/ 58 w 97"/>
                  <a:gd name="T29" fmla="*/ 20 h 234"/>
                  <a:gd name="T30" fmla="*/ 58 w 97"/>
                  <a:gd name="T31" fmla="*/ 39 h 234"/>
                  <a:gd name="T32" fmla="*/ 39 w 97"/>
                  <a:gd name="T33" fmla="*/ 39 h 234"/>
                  <a:gd name="T34" fmla="*/ 39 w 97"/>
                  <a:gd name="T35" fmla="*/ 20 h 234"/>
                  <a:gd name="T36" fmla="*/ 58 w 97"/>
                  <a:gd name="T37" fmla="*/ 215 h 234"/>
                  <a:gd name="T38" fmla="*/ 39 w 97"/>
                  <a:gd name="T39" fmla="*/ 215 h 234"/>
                  <a:gd name="T40" fmla="*/ 39 w 97"/>
                  <a:gd name="T41" fmla="*/ 59 h 234"/>
                  <a:gd name="T42" fmla="*/ 58 w 97"/>
                  <a:gd name="T43" fmla="*/ 59 h 234"/>
                  <a:gd name="T44" fmla="*/ 58 w 97"/>
                  <a:gd name="T45"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 h="234">
                    <a:moveTo>
                      <a:pt x="97" y="39"/>
                    </a:moveTo>
                    <a:lnTo>
                      <a:pt x="78" y="39"/>
                    </a:lnTo>
                    <a:lnTo>
                      <a:pt x="78" y="0"/>
                    </a:lnTo>
                    <a:lnTo>
                      <a:pt x="19" y="0"/>
                    </a:lnTo>
                    <a:lnTo>
                      <a:pt x="19" y="39"/>
                    </a:lnTo>
                    <a:lnTo>
                      <a:pt x="0" y="39"/>
                    </a:lnTo>
                    <a:lnTo>
                      <a:pt x="0" y="59"/>
                    </a:lnTo>
                    <a:lnTo>
                      <a:pt x="19" y="59"/>
                    </a:lnTo>
                    <a:lnTo>
                      <a:pt x="19" y="234"/>
                    </a:lnTo>
                    <a:lnTo>
                      <a:pt x="78" y="234"/>
                    </a:lnTo>
                    <a:lnTo>
                      <a:pt x="78" y="59"/>
                    </a:lnTo>
                    <a:lnTo>
                      <a:pt x="97" y="59"/>
                    </a:lnTo>
                    <a:lnTo>
                      <a:pt x="97" y="39"/>
                    </a:lnTo>
                    <a:close/>
                    <a:moveTo>
                      <a:pt x="39" y="20"/>
                    </a:moveTo>
                    <a:lnTo>
                      <a:pt x="58" y="20"/>
                    </a:lnTo>
                    <a:lnTo>
                      <a:pt x="58" y="39"/>
                    </a:lnTo>
                    <a:lnTo>
                      <a:pt x="39" y="39"/>
                    </a:lnTo>
                    <a:lnTo>
                      <a:pt x="39" y="20"/>
                    </a:lnTo>
                    <a:close/>
                    <a:moveTo>
                      <a:pt x="58" y="215"/>
                    </a:moveTo>
                    <a:lnTo>
                      <a:pt x="39" y="215"/>
                    </a:lnTo>
                    <a:lnTo>
                      <a:pt x="39" y="59"/>
                    </a:lnTo>
                    <a:lnTo>
                      <a:pt x="58" y="59"/>
                    </a:lnTo>
                    <a:lnTo>
                      <a:pt x="58" y="215"/>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grpSp>
      </p:grpSp>
      <p:sp>
        <p:nvSpPr>
          <p:cNvPr id="71" name="TextBox 70"/>
          <p:cNvSpPr txBox="1"/>
          <p:nvPr/>
        </p:nvSpPr>
        <p:spPr>
          <a:xfrm>
            <a:off x="9011823" y="2700997"/>
            <a:ext cx="3499612" cy="1064907"/>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rgbClr val="505050"/>
                    </a:gs>
                    <a:gs pos="30000">
                      <a:srgbClr val="505050"/>
                    </a:gs>
                  </a:gsLst>
                  <a:lin ang="5400000" scaled="0"/>
                </a:gradFill>
              </a:rPr>
              <a:t>Vehicle diagnostic</a:t>
            </a:r>
          </a:p>
          <a:p>
            <a:pPr>
              <a:lnSpc>
                <a:spcPct val="90000"/>
              </a:lnSpc>
              <a:spcAft>
                <a:spcPts val="600"/>
              </a:spcAft>
            </a:pPr>
            <a:r>
              <a:rPr lang="en-US" sz="1600" i="1" dirty="0">
                <a:solidFill>
                  <a:schemeClr val="accent1"/>
                </a:solidFill>
              </a:rPr>
              <a:t>The front brakes are needing </a:t>
            </a:r>
            <a:br>
              <a:rPr lang="en-US" sz="1600" i="1" dirty="0">
                <a:solidFill>
                  <a:schemeClr val="accent1"/>
                </a:solidFill>
              </a:rPr>
            </a:br>
            <a:r>
              <a:rPr lang="en-US" sz="1600" i="1" dirty="0">
                <a:solidFill>
                  <a:schemeClr val="accent1"/>
                </a:solidFill>
              </a:rPr>
              <a:t>to be serviced sooner than expected</a:t>
            </a:r>
          </a:p>
        </p:txBody>
      </p:sp>
      <p:sp>
        <p:nvSpPr>
          <p:cNvPr id="72" name="TextBox 71"/>
          <p:cNvSpPr txBox="1"/>
          <p:nvPr/>
        </p:nvSpPr>
        <p:spPr>
          <a:xfrm>
            <a:off x="9011823" y="5098088"/>
            <a:ext cx="3431580" cy="1064907"/>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rgbClr val="505050"/>
                    </a:gs>
                    <a:gs pos="30000">
                      <a:srgbClr val="505050"/>
                    </a:gs>
                  </a:gsLst>
                  <a:lin ang="5400000" scaled="0"/>
                </a:gradFill>
              </a:rPr>
              <a:t>Usage-based insurance</a:t>
            </a:r>
          </a:p>
          <a:p>
            <a:pPr>
              <a:lnSpc>
                <a:spcPct val="90000"/>
              </a:lnSpc>
              <a:spcAft>
                <a:spcPts val="600"/>
              </a:spcAft>
            </a:pPr>
            <a:r>
              <a:rPr lang="en-US" sz="1600" i="1" dirty="0">
                <a:solidFill>
                  <a:schemeClr val="accent1"/>
                </a:solidFill>
              </a:rPr>
              <a:t>3 vehicles have daily mileage</a:t>
            </a:r>
            <a:br>
              <a:rPr lang="en-US" sz="1600" i="1" dirty="0">
                <a:solidFill>
                  <a:schemeClr val="accent1"/>
                </a:solidFill>
              </a:rPr>
            </a:br>
            <a:r>
              <a:rPr lang="en-US" sz="1600" i="1" dirty="0">
                <a:solidFill>
                  <a:schemeClr val="accent1"/>
                </a:solidFill>
              </a:rPr>
              <a:t>that qualify them for reduced rates</a:t>
            </a:r>
          </a:p>
        </p:txBody>
      </p:sp>
      <p:sp>
        <p:nvSpPr>
          <p:cNvPr id="74" name="TextBox 73"/>
          <p:cNvSpPr txBox="1"/>
          <p:nvPr/>
        </p:nvSpPr>
        <p:spPr>
          <a:xfrm>
            <a:off x="4582972" y="3871124"/>
            <a:ext cx="2633798" cy="1064907"/>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rgbClr val="505050"/>
                    </a:gs>
                    <a:gs pos="30000">
                      <a:srgbClr val="505050"/>
                    </a:gs>
                  </a:gsLst>
                  <a:lin ang="5400000" scaled="0"/>
                </a:gradFill>
              </a:rPr>
              <a:t>Fleet management</a:t>
            </a:r>
          </a:p>
          <a:p>
            <a:pPr>
              <a:lnSpc>
                <a:spcPct val="90000"/>
              </a:lnSpc>
              <a:spcAft>
                <a:spcPts val="600"/>
              </a:spcAft>
            </a:pPr>
            <a:r>
              <a:rPr lang="en-US" sz="1600" i="1" dirty="0">
                <a:solidFill>
                  <a:schemeClr val="accent1"/>
                </a:solidFill>
              </a:rPr>
              <a:t>24 vehicles are shown on </a:t>
            </a:r>
            <a:br>
              <a:rPr lang="en-US" sz="1600" i="1" dirty="0">
                <a:solidFill>
                  <a:schemeClr val="accent1"/>
                </a:solidFill>
              </a:rPr>
            </a:br>
            <a:r>
              <a:rPr lang="en-US" sz="1600" i="1" dirty="0">
                <a:solidFill>
                  <a:schemeClr val="accent1"/>
                </a:solidFill>
              </a:rPr>
              <a:t>a map, showing status</a:t>
            </a:r>
          </a:p>
        </p:txBody>
      </p:sp>
      <p:sp>
        <p:nvSpPr>
          <p:cNvPr id="75" name="TextBox 74"/>
          <p:cNvSpPr txBox="1"/>
          <p:nvPr/>
        </p:nvSpPr>
        <p:spPr>
          <a:xfrm>
            <a:off x="902989" y="3968073"/>
            <a:ext cx="2412327" cy="1064907"/>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rgbClr val="505050"/>
                    </a:gs>
                    <a:gs pos="30000">
                      <a:srgbClr val="505050"/>
                    </a:gs>
                  </a:gsLst>
                  <a:lin ang="5400000" scaled="0"/>
                </a:gradFill>
              </a:rPr>
              <a:t>Roadside assistance</a:t>
            </a:r>
          </a:p>
          <a:p>
            <a:pPr>
              <a:lnSpc>
                <a:spcPct val="90000"/>
              </a:lnSpc>
              <a:spcAft>
                <a:spcPts val="600"/>
              </a:spcAft>
            </a:pPr>
            <a:r>
              <a:rPr lang="en-US" sz="1600" i="1" dirty="0">
                <a:solidFill>
                  <a:schemeClr val="accent1"/>
                </a:solidFill>
              </a:rPr>
              <a:t>Tow truck is on its way </a:t>
            </a:r>
            <a:br>
              <a:rPr lang="en-US" sz="1600" i="1" dirty="0">
                <a:solidFill>
                  <a:schemeClr val="accent1"/>
                </a:solidFill>
              </a:rPr>
            </a:br>
            <a:r>
              <a:rPr lang="en-US" sz="1600" i="1" dirty="0">
                <a:solidFill>
                  <a:schemeClr val="accent1"/>
                </a:solidFill>
              </a:rPr>
              <a:t>to vehicle B204</a:t>
            </a:r>
          </a:p>
        </p:txBody>
      </p:sp>
      <p:sp>
        <p:nvSpPr>
          <p:cNvPr id="76" name="TextBox 75"/>
          <p:cNvSpPr txBox="1"/>
          <p:nvPr/>
        </p:nvSpPr>
        <p:spPr>
          <a:xfrm>
            <a:off x="902989" y="5098088"/>
            <a:ext cx="2901372" cy="1286506"/>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rgbClr val="505050"/>
                    </a:gs>
                    <a:gs pos="30000">
                      <a:srgbClr val="505050"/>
                    </a:gs>
                  </a:gsLst>
                  <a:lin ang="5400000" scaled="0"/>
                </a:gradFill>
              </a:rPr>
              <a:t>Eco-driving</a:t>
            </a:r>
          </a:p>
          <a:p>
            <a:pPr>
              <a:lnSpc>
                <a:spcPct val="90000"/>
              </a:lnSpc>
              <a:spcAft>
                <a:spcPts val="600"/>
              </a:spcAft>
            </a:pPr>
            <a:r>
              <a:rPr lang="en-US" sz="1600" i="1" dirty="0">
                <a:solidFill>
                  <a:schemeClr val="accent1"/>
                </a:solidFill>
              </a:rPr>
              <a:t>14/15 vehicles meet </a:t>
            </a:r>
            <a:br>
              <a:rPr lang="en-US" sz="1600" i="1" dirty="0">
                <a:solidFill>
                  <a:schemeClr val="accent1"/>
                </a:solidFill>
              </a:rPr>
            </a:br>
            <a:r>
              <a:rPr lang="en-US" sz="1600" i="1" dirty="0">
                <a:solidFill>
                  <a:schemeClr val="accent1"/>
                </a:solidFill>
              </a:rPr>
              <a:t>standards and 1 is scheduled</a:t>
            </a:r>
            <a:br>
              <a:rPr lang="en-US" sz="1600" i="1" dirty="0">
                <a:solidFill>
                  <a:schemeClr val="accent1"/>
                </a:solidFill>
              </a:rPr>
            </a:br>
            <a:r>
              <a:rPr lang="en-US" sz="1600" i="1" dirty="0">
                <a:solidFill>
                  <a:schemeClr val="accent1"/>
                </a:solidFill>
              </a:rPr>
              <a:t>for maintenance </a:t>
            </a:r>
          </a:p>
        </p:txBody>
      </p:sp>
      <p:sp>
        <p:nvSpPr>
          <p:cNvPr id="77" name="TextBox 76"/>
          <p:cNvSpPr txBox="1"/>
          <p:nvPr/>
        </p:nvSpPr>
        <p:spPr>
          <a:xfrm>
            <a:off x="4644425" y="5098088"/>
            <a:ext cx="2761975" cy="1064907"/>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rgbClr val="505050"/>
                    </a:gs>
                    <a:gs pos="30000">
                      <a:srgbClr val="505050"/>
                    </a:gs>
                  </a:gsLst>
                  <a:lin ang="5400000" scaled="0"/>
                </a:gradFill>
              </a:rPr>
              <a:t>Engine performance</a:t>
            </a:r>
          </a:p>
          <a:p>
            <a:pPr>
              <a:lnSpc>
                <a:spcPct val="90000"/>
              </a:lnSpc>
              <a:spcAft>
                <a:spcPts val="600"/>
              </a:spcAft>
            </a:pPr>
            <a:r>
              <a:rPr lang="en-US" sz="1600" i="1" dirty="0">
                <a:solidFill>
                  <a:schemeClr val="accent1"/>
                </a:solidFill>
              </a:rPr>
              <a:t>Temperature is beyond the </a:t>
            </a:r>
            <a:br>
              <a:rPr lang="en-US" sz="1600" i="1" dirty="0">
                <a:solidFill>
                  <a:schemeClr val="accent1"/>
                </a:solidFill>
              </a:rPr>
            </a:br>
            <a:r>
              <a:rPr lang="en-US" sz="1600" i="1" dirty="0">
                <a:solidFill>
                  <a:schemeClr val="accent1"/>
                </a:solidFill>
              </a:rPr>
              <a:t>ideal range for 13 vehicles</a:t>
            </a:r>
          </a:p>
        </p:txBody>
      </p:sp>
      <p:sp>
        <p:nvSpPr>
          <p:cNvPr id="78" name="TextBox 77"/>
          <p:cNvSpPr txBox="1"/>
          <p:nvPr/>
        </p:nvSpPr>
        <p:spPr>
          <a:xfrm>
            <a:off x="8974059" y="3871124"/>
            <a:ext cx="2793265" cy="1064907"/>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rgbClr val="505050"/>
                    </a:gs>
                    <a:gs pos="30000">
                      <a:srgbClr val="505050"/>
                    </a:gs>
                  </a:gsLst>
                  <a:lin ang="5400000" scaled="0"/>
                </a:gradFill>
              </a:rPr>
              <a:t>Engine emission control</a:t>
            </a:r>
          </a:p>
          <a:p>
            <a:pPr>
              <a:lnSpc>
                <a:spcPct val="90000"/>
              </a:lnSpc>
              <a:spcAft>
                <a:spcPts val="600"/>
              </a:spcAft>
            </a:pPr>
            <a:r>
              <a:rPr lang="en-US" sz="1600" i="1" dirty="0">
                <a:solidFill>
                  <a:schemeClr val="accent1"/>
                </a:solidFill>
              </a:rPr>
              <a:t>Vehicle B204 is driving in </a:t>
            </a:r>
            <a:br>
              <a:rPr lang="en-US" sz="1600" i="1" dirty="0">
                <a:solidFill>
                  <a:schemeClr val="accent1"/>
                </a:solidFill>
              </a:rPr>
            </a:br>
            <a:r>
              <a:rPr lang="en-US" sz="1600" i="1" dirty="0">
                <a:solidFill>
                  <a:schemeClr val="accent1"/>
                </a:solidFill>
              </a:rPr>
              <a:t>eco-mode 78% of the time</a:t>
            </a:r>
          </a:p>
        </p:txBody>
      </p:sp>
      <p:sp>
        <p:nvSpPr>
          <p:cNvPr id="69" name="Freeform 5"/>
          <p:cNvSpPr>
            <a:spLocks noEditPoints="1"/>
          </p:cNvSpPr>
          <p:nvPr/>
        </p:nvSpPr>
        <p:spPr bwMode="auto">
          <a:xfrm>
            <a:off x="1795015" y="2749782"/>
            <a:ext cx="2293336" cy="1042424"/>
          </a:xfrm>
          <a:custGeom>
            <a:avLst/>
            <a:gdLst>
              <a:gd name="T0" fmla="*/ 92 w 128"/>
              <a:gd name="T1" fmla="*/ 16 h 56"/>
              <a:gd name="T2" fmla="*/ 84 w 128"/>
              <a:gd name="T3" fmla="*/ 16 h 56"/>
              <a:gd name="T4" fmla="*/ 68 w 128"/>
              <a:gd name="T5" fmla="*/ 0 h 56"/>
              <a:gd name="T6" fmla="*/ 36 w 128"/>
              <a:gd name="T7" fmla="*/ 0 h 56"/>
              <a:gd name="T8" fmla="*/ 14 w 128"/>
              <a:gd name="T9" fmla="*/ 12 h 56"/>
              <a:gd name="T10" fmla="*/ 12 w 128"/>
              <a:gd name="T11" fmla="*/ 10 h 56"/>
              <a:gd name="T12" fmla="*/ 12 w 128"/>
              <a:gd name="T13" fmla="*/ 4 h 56"/>
              <a:gd name="T14" fmla="*/ 0 w 128"/>
              <a:gd name="T15" fmla="*/ 4 h 56"/>
              <a:gd name="T16" fmla="*/ 0 w 128"/>
              <a:gd name="T17" fmla="*/ 12 h 56"/>
              <a:gd name="T18" fmla="*/ 2 w 128"/>
              <a:gd name="T19" fmla="*/ 12 h 56"/>
              <a:gd name="T20" fmla="*/ 6 w 128"/>
              <a:gd name="T21" fmla="*/ 16 h 56"/>
              <a:gd name="T22" fmla="*/ 0 w 128"/>
              <a:gd name="T23" fmla="*/ 16 h 56"/>
              <a:gd name="T24" fmla="*/ 0 w 128"/>
              <a:gd name="T25" fmla="*/ 32 h 56"/>
              <a:gd name="T26" fmla="*/ 13 w 128"/>
              <a:gd name="T27" fmla="*/ 48 h 56"/>
              <a:gd name="T28" fmla="*/ 24 w 128"/>
              <a:gd name="T29" fmla="*/ 56 h 56"/>
              <a:gd name="T30" fmla="*/ 35 w 128"/>
              <a:gd name="T31" fmla="*/ 48 h 56"/>
              <a:gd name="T32" fmla="*/ 81 w 128"/>
              <a:gd name="T33" fmla="*/ 48 h 56"/>
              <a:gd name="T34" fmla="*/ 92 w 128"/>
              <a:gd name="T35" fmla="*/ 56 h 56"/>
              <a:gd name="T36" fmla="*/ 103 w 128"/>
              <a:gd name="T37" fmla="*/ 48 h 56"/>
              <a:gd name="T38" fmla="*/ 128 w 128"/>
              <a:gd name="T39" fmla="*/ 48 h 56"/>
              <a:gd name="T40" fmla="*/ 128 w 128"/>
              <a:gd name="T41" fmla="*/ 35 h 56"/>
              <a:gd name="T42" fmla="*/ 127 w 128"/>
              <a:gd name="T43" fmla="*/ 33 h 56"/>
              <a:gd name="T44" fmla="*/ 92 w 128"/>
              <a:gd name="T45" fmla="*/ 16 h 56"/>
              <a:gd name="T46" fmla="*/ 73 w 128"/>
              <a:gd name="T47" fmla="*/ 16 h 56"/>
              <a:gd name="T48" fmla="*/ 44 w 128"/>
              <a:gd name="T49" fmla="*/ 16 h 56"/>
              <a:gd name="T50" fmla="*/ 44 w 128"/>
              <a:gd name="T51" fmla="*/ 8 h 56"/>
              <a:gd name="T52" fmla="*/ 65 w 128"/>
              <a:gd name="T53" fmla="*/ 8 h 56"/>
              <a:gd name="T54" fmla="*/ 73 w 128"/>
              <a:gd name="T55" fmla="*/ 16 h 56"/>
              <a:gd name="T56" fmla="*/ 36 w 128"/>
              <a:gd name="T57" fmla="*/ 9 h 56"/>
              <a:gd name="T58" fmla="*/ 36 w 128"/>
              <a:gd name="T59" fmla="*/ 16 h 56"/>
              <a:gd name="T60" fmla="*/ 24 w 128"/>
              <a:gd name="T61" fmla="*/ 16 h 56"/>
              <a:gd name="T62" fmla="*/ 36 w 128"/>
              <a:gd name="T63" fmla="*/ 9 h 56"/>
              <a:gd name="T64" fmla="*/ 24 w 128"/>
              <a:gd name="T65" fmla="*/ 48 h 56"/>
              <a:gd name="T66" fmla="*/ 20 w 128"/>
              <a:gd name="T67" fmla="*/ 44 h 56"/>
              <a:gd name="T68" fmla="*/ 24 w 128"/>
              <a:gd name="T69" fmla="*/ 40 h 56"/>
              <a:gd name="T70" fmla="*/ 28 w 128"/>
              <a:gd name="T71" fmla="*/ 44 h 56"/>
              <a:gd name="T72" fmla="*/ 24 w 128"/>
              <a:gd name="T73" fmla="*/ 48 h 56"/>
              <a:gd name="T74" fmla="*/ 92 w 128"/>
              <a:gd name="T75" fmla="*/ 48 h 56"/>
              <a:gd name="T76" fmla="*/ 88 w 128"/>
              <a:gd name="T77" fmla="*/ 44 h 56"/>
              <a:gd name="T78" fmla="*/ 92 w 128"/>
              <a:gd name="T79" fmla="*/ 40 h 56"/>
              <a:gd name="T80" fmla="*/ 96 w 128"/>
              <a:gd name="T81" fmla="*/ 44 h 56"/>
              <a:gd name="T82" fmla="*/ 92 w 128"/>
              <a:gd name="T83" fmla="*/ 48 h 56"/>
              <a:gd name="T84" fmla="*/ 120 w 128"/>
              <a:gd name="T85" fmla="*/ 40 h 56"/>
              <a:gd name="T86" fmla="*/ 103 w 128"/>
              <a:gd name="T87" fmla="*/ 40 h 56"/>
              <a:gd name="T88" fmla="*/ 92 w 128"/>
              <a:gd name="T89" fmla="*/ 32 h 56"/>
              <a:gd name="T90" fmla="*/ 81 w 128"/>
              <a:gd name="T91" fmla="*/ 40 h 56"/>
              <a:gd name="T92" fmla="*/ 35 w 128"/>
              <a:gd name="T93" fmla="*/ 40 h 56"/>
              <a:gd name="T94" fmla="*/ 24 w 128"/>
              <a:gd name="T95" fmla="*/ 32 h 56"/>
              <a:gd name="T96" fmla="*/ 13 w 128"/>
              <a:gd name="T97" fmla="*/ 39 h 56"/>
              <a:gd name="T98" fmla="*/ 8 w 128"/>
              <a:gd name="T99" fmla="*/ 32 h 56"/>
              <a:gd name="T100" fmla="*/ 8 w 128"/>
              <a:gd name="T101" fmla="*/ 24 h 56"/>
              <a:gd name="T102" fmla="*/ 84 w 128"/>
              <a:gd name="T103" fmla="*/ 24 h 56"/>
              <a:gd name="T104" fmla="*/ 92 w 128"/>
              <a:gd name="T105" fmla="*/ 24 h 56"/>
              <a:gd name="T106" fmla="*/ 120 w 128"/>
              <a:gd name="T107" fmla="*/ 37 h 56"/>
              <a:gd name="T108" fmla="*/ 120 w 128"/>
              <a:gd name="T109" fmla="*/ 4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8" h="56">
                <a:moveTo>
                  <a:pt x="92" y="16"/>
                </a:moveTo>
                <a:cubicBezTo>
                  <a:pt x="84" y="16"/>
                  <a:pt x="84" y="16"/>
                  <a:pt x="84" y="16"/>
                </a:cubicBezTo>
                <a:cubicBezTo>
                  <a:pt x="68" y="0"/>
                  <a:pt x="68" y="0"/>
                  <a:pt x="68" y="0"/>
                </a:cubicBezTo>
                <a:cubicBezTo>
                  <a:pt x="36" y="0"/>
                  <a:pt x="36" y="0"/>
                  <a:pt x="36" y="0"/>
                </a:cubicBezTo>
                <a:cubicBezTo>
                  <a:pt x="14" y="12"/>
                  <a:pt x="14" y="12"/>
                  <a:pt x="14" y="12"/>
                </a:cubicBezTo>
                <a:cubicBezTo>
                  <a:pt x="12" y="10"/>
                  <a:pt x="12" y="10"/>
                  <a:pt x="12" y="10"/>
                </a:cubicBezTo>
                <a:cubicBezTo>
                  <a:pt x="12" y="4"/>
                  <a:pt x="12" y="4"/>
                  <a:pt x="12" y="4"/>
                </a:cubicBezTo>
                <a:cubicBezTo>
                  <a:pt x="0" y="4"/>
                  <a:pt x="0" y="4"/>
                  <a:pt x="0" y="4"/>
                </a:cubicBezTo>
                <a:cubicBezTo>
                  <a:pt x="0" y="12"/>
                  <a:pt x="0" y="12"/>
                  <a:pt x="0" y="12"/>
                </a:cubicBezTo>
                <a:cubicBezTo>
                  <a:pt x="2" y="12"/>
                  <a:pt x="2" y="12"/>
                  <a:pt x="2" y="12"/>
                </a:cubicBezTo>
                <a:cubicBezTo>
                  <a:pt x="6" y="16"/>
                  <a:pt x="6" y="16"/>
                  <a:pt x="6" y="16"/>
                </a:cubicBezTo>
                <a:cubicBezTo>
                  <a:pt x="0" y="16"/>
                  <a:pt x="0" y="16"/>
                  <a:pt x="0" y="16"/>
                </a:cubicBezTo>
                <a:cubicBezTo>
                  <a:pt x="0" y="32"/>
                  <a:pt x="0" y="32"/>
                  <a:pt x="0" y="32"/>
                </a:cubicBezTo>
                <a:cubicBezTo>
                  <a:pt x="0" y="40"/>
                  <a:pt x="5" y="46"/>
                  <a:pt x="13" y="48"/>
                </a:cubicBezTo>
                <a:cubicBezTo>
                  <a:pt x="14" y="52"/>
                  <a:pt x="19" y="56"/>
                  <a:pt x="24" y="56"/>
                </a:cubicBezTo>
                <a:cubicBezTo>
                  <a:pt x="29" y="56"/>
                  <a:pt x="34" y="53"/>
                  <a:pt x="35" y="48"/>
                </a:cubicBezTo>
                <a:cubicBezTo>
                  <a:pt x="81" y="48"/>
                  <a:pt x="81" y="48"/>
                  <a:pt x="81" y="48"/>
                </a:cubicBezTo>
                <a:cubicBezTo>
                  <a:pt x="82" y="53"/>
                  <a:pt x="87" y="56"/>
                  <a:pt x="92" y="56"/>
                </a:cubicBezTo>
                <a:cubicBezTo>
                  <a:pt x="97" y="56"/>
                  <a:pt x="102" y="53"/>
                  <a:pt x="103" y="48"/>
                </a:cubicBezTo>
                <a:cubicBezTo>
                  <a:pt x="128" y="48"/>
                  <a:pt x="128" y="48"/>
                  <a:pt x="128" y="48"/>
                </a:cubicBezTo>
                <a:cubicBezTo>
                  <a:pt x="128" y="35"/>
                  <a:pt x="128" y="35"/>
                  <a:pt x="128" y="35"/>
                </a:cubicBezTo>
                <a:cubicBezTo>
                  <a:pt x="127" y="33"/>
                  <a:pt x="127" y="33"/>
                  <a:pt x="127" y="33"/>
                </a:cubicBezTo>
                <a:cubicBezTo>
                  <a:pt x="118" y="22"/>
                  <a:pt x="105" y="16"/>
                  <a:pt x="92" y="16"/>
                </a:cubicBezTo>
                <a:close/>
                <a:moveTo>
                  <a:pt x="73" y="16"/>
                </a:moveTo>
                <a:cubicBezTo>
                  <a:pt x="44" y="16"/>
                  <a:pt x="44" y="16"/>
                  <a:pt x="44" y="16"/>
                </a:cubicBezTo>
                <a:cubicBezTo>
                  <a:pt x="44" y="8"/>
                  <a:pt x="44" y="8"/>
                  <a:pt x="44" y="8"/>
                </a:cubicBezTo>
                <a:cubicBezTo>
                  <a:pt x="65" y="8"/>
                  <a:pt x="65" y="8"/>
                  <a:pt x="65" y="8"/>
                </a:cubicBezTo>
                <a:lnTo>
                  <a:pt x="73" y="16"/>
                </a:lnTo>
                <a:close/>
                <a:moveTo>
                  <a:pt x="36" y="9"/>
                </a:moveTo>
                <a:cubicBezTo>
                  <a:pt x="36" y="16"/>
                  <a:pt x="36" y="16"/>
                  <a:pt x="36" y="16"/>
                </a:cubicBezTo>
                <a:cubicBezTo>
                  <a:pt x="24" y="16"/>
                  <a:pt x="24" y="16"/>
                  <a:pt x="24" y="16"/>
                </a:cubicBezTo>
                <a:lnTo>
                  <a:pt x="36" y="9"/>
                </a:lnTo>
                <a:close/>
                <a:moveTo>
                  <a:pt x="24" y="48"/>
                </a:moveTo>
                <a:cubicBezTo>
                  <a:pt x="22" y="48"/>
                  <a:pt x="20" y="46"/>
                  <a:pt x="20" y="44"/>
                </a:cubicBezTo>
                <a:cubicBezTo>
                  <a:pt x="20" y="42"/>
                  <a:pt x="22" y="40"/>
                  <a:pt x="24" y="40"/>
                </a:cubicBezTo>
                <a:cubicBezTo>
                  <a:pt x="26" y="40"/>
                  <a:pt x="28" y="42"/>
                  <a:pt x="28" y="44"/>
                </a:cubicBezTo>
                <a:cubicBezTo>
                  <a:pt x="28" y="46"/>
                  <a:pt x="26" y="48"/>
                  <a:pt x="24" y="48"/>
                </a:cubicBezTo>
                <a:close/>
                <a:moveTo>
                  <a:pt x="92" y="48"/>
                </a:moveTo>
                <a:cubicBezTo>
                  <a:pt x="90" y="48"/>
                  <a:pt x="88" y="46"/>
                  <a:pt x="88" y="44"/>
                </a:cubicBezTo>
                <a:cubicBezTo>
                  <a:pt x="88" y="42"/>
                  <a:pt x="90" y="40"/>
                  <a:pt x="92" y="40"/>
                </a:cubicBezTo>
                <a:cubicBezTo>
                  <a:pt x="94" y="40"/>
                  <a:pt x="96" y="42"/>
                  <a:pt x="96" y="44"/>
                </a:cubicBezTo>
                <a:cubicBezTo>
                  <a:pt x="96" y="46"/>
                  <a:pt x="94" y="48"/>
                  <a:pt x="92" y="48"/>
                </a:cubicBezTo>
                <a:close/>
                <a:moveTo>
                  <a:pt x="120" y="40"/>
                </a:moveTo>
                <a:cubicBezTo>
                  <a:pt x="103" y="40"/>
                  <a:pt x="103" y="40"/>
                  <a:pt x="103" y="40"/>
                </a:cubicBezTo>
                <a:cubicBezTo>
                  <a:pt x="102" y="35"/>
                  <a:pt x="97" y="32"/>
                  <a:pt x="92" y="32"/>
                </a:cubicBezTo>
                <a:cubicBezTo>
                  <a:pt x="87" y="32"/>
                  <a:pt x="82" y="35"/>
                  <a:pt x="81" y="40"/>
                </a:cubicBezTo>
                <a:cubicBezTo>
                  <a:pt x="35" y="40"/>
                  <a:pt x="35" y="40"/>
                  <a:pt x="35" y="40"/>
                </a:cubicBezTo>
                <a:cubicBezTo>
                  <a:pt x="34" y="35"/>
                  <a:pt x="29" y="32"/>
                  <a:pt x="24" y="32"/>
                </a:cubicBezTo>
                <a:cubicBezTo>
                  <a:pt x="19" y="32"/>
                  <a:pt x="15" y="35"/>
                  <a:pt x="13" y="39"/>
                </a:cubicBezTo>
                <a:cubicBezTo>
                  <a:pt x="10" y="38"/>
                  <a:pt x="8" y="35"/>
                  <a:pt x="8" y="32"/>
                </a:cubicBezTo>
                <a:cubicBezTo>
                  <a:pt x="8" y="24"/>
                  <a:pt x="8" y="24"/>
                  <a:pt x="8" y="24"/>
                </a:cubicBezTo>
                <a:cubicBezTo>
                  <a:pt x="84" y="24"/>
                  <a:pt x="84" y="24"/>
                  <a:pt x="84" y="24"/>
                </a:cubicBezTo>
                <a:cubicBezTo>
                  <a:pt x="92" y="24"/>
                  <a:pt x="92" y="24"/>
                  <a:pt x="92" y="24"/>
                </a:cubicBezTo>
                <a:cubicBezTo>
                  <a:pt x="102" y="24"/>
                  <a:pt x="112" y="29"/>
                  <a:pt x="120" y="37"/>
                </a:cubicBezTo>
                <a:lnTo>
                  <a:pt x="120" y="40"/>
                </a:lnTo>
                <a:close/>
              </a:path>
            </a:pathLst>
          </a:custGeom>
          <a:solidFill>
            <a:srgbClr val="0072C6"/>
          </a:solidFill>
          <a:ln w="9525">
            <a:noFill/>
            <a:round/>
            <a:headEnd/>
            <a:tailEnd/>
          </a:ln>
        </p:spPr>
        <p:txBody>
          <a:bodyPr vert="horz" wrap="square" lIns="91440" tIns="45720" rIns="91440" bIns="45720" numCol="1" anchor="t" anchorCtr="0" compatLnSpc="1">
            <a:prstTxWarp prst="textNoShape">
              <a:avLst/>
            </a:prstTxWarp>
          </a:bodyPr>
          <a:lstStyle/>
          <a:p>
            <a:pPr defTabSz="914400">
              <a:defRPr/>
            </a:pPr>
            <a:endParaRPr lang="en-US" kern="0">
              <a:gradFill>
                <a:gsLst>
                  <a:gs pos="1250">
                    <a:srgbClr val="505050"/>
                  </a:gs>
                  <a:gs pos="76000">
                    <a:srgbClr val="505050"/>
                  </a:gs>
                </a:gsLst>
                <a:lin ang="5400000" scaled="0"/>
              </a:gradFill>
            </a:endParaRPr>
          </a:p>
        </p:txBody>
      </p:sp>
      <p:grpSp>
        <p:nvGrpSpPr>
          <p:cNvPr id="70" name="Group 8"/>
          <p:cNvGrpSpPr>
            <a:grpSpLocks noChangeAspect="1"/>
          </p:cNvGrpSpPr>
          <p:nvPr/>
        </p:nvGrpSpPr>
        <p:grpSpPr bwMode="auto">
          <a:xfrm>
            <a:off x="2194921" y="1828600"/>
            <a:ext cx="1088333" cy="600235"/>
            <a:chOff x="5218" y="1717"/>
            <a:chExt cx="330" cy="182"/>
          </a:xfrm>
          <a:solidFill>
            <a:srgbClr val="002050">
              <a:lumMod val="60000"/>
              <a:lumOff val="40000"/>
            </a:srgbClr>
          </a:solidFill>
        </p:grpSpPr>
        <p:sp>
          <p:nvSpPr>
            <p:cNvPr id="73" name="Freeform 9"/>
            <p:cNvSpPr>
              <a:spLocks/>
            </p:cNvSpPr>
            <p:nvPr/>
          </p:nvSpPr>
          <p:spPr bwMode="auto">
            <a:xfrm>
              <a:off x="5218" y="1717"/>
              <a:ext cx="330" cy="89"/>
            </a:xfrm>
            <a:custGeom>
              <a:avLst/>
              <a:gdLst>
                <a:gd name="T0" fmla="*/ 96 w 102"/>
                <a:gd name="T1" fmla="*/ 27 h 27"/>
                <a:gd name="T2" fmla="*/ 102 w 102"/>
                <a:gd name="T3" fmla="*/ 21 h 27"/>
                <a:gd name="T4" fmla="*/ 51 w 102"/>
                <a:gd name="T5" fmla="*/ 0 h 27"/>
                <a:gd name="T6" fmla="*/ 0 w 102"/>
                <a:gd name="T7" fmla="*/ 21 h 27"/>
                <a:gd name="T8" fmla="*/ 6 w 102"/>
                <a:gd name="T9" fmla="*/ 27 h 27"/>
                <a:gd name="T10" fmla="*/ 51 w 102"/>
                <a:gd name="T11" fmla="*/ 8 h 27"/>
                <a:gd name="T12" fmla="*/ 96 w 10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102" h="27">
                  <a:moveTo>
                    <a:pt x="96" y="27"/>
                  </a:moveTo>
                  <a:cubicBezTo>
                    <a:pt x="102" y="21"/>
                    <a:pt x="102" y="21"/>
                    <a:pt x="102" y="21"/>
                  </a:cubicBezTo>
                  <a:cubicBezTo>
                    <a:pt x="88" y="8"/>
                    <a:pt x="70" y="0"/>
                    <a:pt x="51" y="0"/>
                  </a:cubicBezTo>
                  <a:cubicBezTo>
                    <a:pt x="32" y="0"/>
                    <a:pt x="14" y="8"/>
                    <a:pt x="0" y="21"/>
                  </a:cubicBezTo>
                  <a:cubicBezTo>
                    <a:pt x="6" y="27"/>
                    <a:pt x="6" y="27"/>
                    <a:pt x="6" y="27"/>
                  </a:cubicBezTo>
                  <a:cubicBezTo>
                    <a:pt x="18" y="15"/>
                    <a:pt x="34" y="8"/>
                    <a:pt x="51" y="8"/>
                  </a:cubicBezTo>
                  <a:cubicBezTo>
                    <a:pt x="68" y="8"/>
                    <a:pt x="84" y="15"/>
                    <a:pt x="96" y="2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gradFill>
                  <a:gsLst>
                    <a:gs pos="1250">
                      <a:srgbClr val="505050"/>
                    </a:gs>
                    <a:gs pos="76000">
                      <a:srgbClr val="505050"/>
                    </a:gs>
                  </a:gsLst>
                  <a:lin ang="5400000" scaled="0"/>
                </a:gradFill>
              </a:endParaRPr>
            </a:p>
          </p:txBody>
        </p:sp>
        <p:sp>
          <p:nvSpPr>
            <p:cNvPr id="80" name="Freeform 10"/>
            <p:cNvSpPr>
              <a:spLocks/>
            </p:cNvSpPr>
            <p:nvPr/>
          </p:nvSpPr>
          <p:spPr bwMode="auto">
            <a:xfrm>
              <a:off x="5263" y="1783"/>
              <a:ext cx="240" cy="70"/>
            </a:xfrm>
            <a:custGeom>
              <a:avLst/>
              <a:gdLst>
                <a:gd name="T0" fmla="*/ 37 w 74"/>
                <a:gd name="T1" fmla="*/ 8 h 21"/>
                <a:gd name="T2" fmla="*/ 68 w 74"/>
                <a:gd name="T3" fmla="*/ 21 h 21"/>
                <a:gd name="T4" fmla="*/ 74 w 74"/>
                <a:gd name="T5" fmla="*/ 15 h 21"/>
                <a:gd name="T6" fmla="*/ 37 w 74"/>
                <a:gd name="T7" fmla="*/ 0 h 21"/>
                <a:gd name="T8" fmla="*/ 0 w 74"/>
                <a:gd name="T9" fmla="*/ 15 h 21"/>
                <a:gd name="T10" fmla="*/ 6 w 74"/>
                <a:gd name="T11" fmla="*/ 21 h 21"/>
                <a:gd name="T12" fmla="*/ 37 w 74"/>
                <a:gd name="T13" fmla="*/ 8 h 21"/>
              </a:gdLst>
              <a:ahLst/>
              <a:cxnLst>
                <a:cxn ang="0">
                  <a:pos x="T0" y="T1"/>
                </a:cxn>
                <a:cxn ang="0">
                  <a:pos x="T2" y="T3"/>
                </a:cxn>
                <a:cxn ang="0">
                  <a:pos x="T4" y="T5"/>
                </a:cxn>
                <a:cxn ang="0">
                  <a:pos x="T6" y="T7"/>
                </a:cxn>
                <a:cxn ang="0">
                  <a:pos x="T8" y="T9"/>
                </a:cxn>
                <a:cxn ang="0">
                  <a:pos x="T10" y="T11"/>
                </a:cxn>
                <a:cxn ang="0">
                  <a:pos x="T12" y="T13"/>
                </a:cxn>
              </a:cxnLst>
              <a:rect l="0" t="0" r="r" b="b"/>
              <a:pathLst>
                <a:path w="74" h="21">
                  <a:moveTo>
                    <a:pt x="37" y="8"/>
                  </a:moveTo>
                  <a:cubicBezTo>
                    <a:pt x="49" y="8"/>
                    <a:pt x="60" y="13"/>
                    <a:pt x="68" y="21"/>
                  </a:cubicBezTo>
                  <a:cubicBezTo>
                    <a:pt x="74" y="15"/>
                    <a:pt x="74" y="15"/>
                    <a:pt x="74" y="15"/>
                  </a:cubicBezTo>
                  <a:cubicBezTo>
                    <a:pt x="64" y="5"/>
                    <a:pt x="51" y="0"/>
                    <a:pt x="37" y="0"/>
                  </a:cubicBezTo>
                  <a:cubicBezTo>
                    <a:pt x="23" y="0"/>
                    <a:pt x="10" y="5"/>
                    <a:pt x="0" y="15"/>
                  </a:cubicBezTo>
                  <a:cubicBezTo>
                    <a:pt x="6" y="21"/>
                    <a:pt x="6" y="21"/>
                    <a:pt x="6" y="21"/>
                  </a:cubicBezTo>
                  <a:cubicBezTo>
                    <a:pt x="14" y="13"/>
                    <a:pt x="25" y="8"/>
                    <a:pt x="37" y="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gradFill>
                  <a:gsLst>
                    <a:gs pos="1250">
                      <a:srgbClr val="505050"/>
                    </a:gs>
                    <a:gs pos="76000">
                      <a:srgbClr val="505050"/>
                    </a:gs>
                  </a:gsLst>
                  <a:lin ang="5400000" scaled="0"/>
                </a:gradFill>
              </a:endParaRPr>
            </a:p>
          </p:txBody>
        </p:sp>
        <p:sp>
          <p:nvSpPr>
            <p:cNvPr id="81" name="Freeform 11"/>
            <p:cNvSpPr>
              <a:spLocks/>
            </p:cNvSpPr>
            <p:nvPr/>
          </p:nvSpPr>
          <p:spPr bwMode="auto">
            <a:xfrm>
              <a:off x="5312" y="1849"/>
              <a:ext cx="142" cy="50"/>
            </a:xfrm>
            <a:custGeom>
              <a:avLst/>
              <a:gdLst>
                <a:gd name="T0" fmla="*/ 44 w 44"/>
                <a:gd name="T1" fmla="*/ 9 h 15"/>
                <a:gd name="T2" fmla="*/ 22 w 44"/>
                <a:gd name="T3" fmla="*/ 0 h 15"/>
                <a:gd name="T4" fmla="*/ 0 w 44"/>
                <a:gd name="T5" fmla="*/ 9 h 15"/>
                <a:gd name="T6" fmla="*/ 5 w 44"/>
                <a:gd name="T7" fmla="*/ 15 h 15"/>
                <a:gd name="T8" fmla="*/ 22 w 44"/>
                <a:gd name="T9" fmla="*/ 8 h 15"/>
                <a:gd name="T10" fmla="*/ 39 w 44"/>
                <a:gd name="T11" fmla="*/ 15 h 15"/>
                <a:gd name="T12" fmla="*/ 44 w 44"/>
                <a:gd name="T13" fmla="*/ 9 h 15"/>
              </a:gdLst>
              <a:ahLst/>
              <a:cxnLst>
                <a:cxn ang="0">
                  <a:pos x="T0" y="T1"/>
                </a:cxn>
                <a:cxn ang="0">
                  <a:pos x="T2" y="T3"/>
                </a:cxn>
                <a:cxn ang="0">
                  <a:pos x="T4" y="T5"/>
                </a:cxn>
                <a:cxn ang="0">
                  <a:pos x="T6" y="T7"/>
                </a:cxn>
                <a:cxn ang="0">
                  <a:pos x="T8" y="T9"/>
                </a:cxn>
                <a:cxn ang="0">
                  <a:pos x="T10" y="T11"/>
                </a:cxn>
                <a:cxn ang="0">
                  <a:pos x="T12" y="T13"/>
                </a:cxn>
              </a:cxnLst>
              <a:rect l="0" t="0" r="r" b="b"/>
              <a:pathLst>
                <a:path w="44" h="15">
                  <a:moveTo>
                    <a:pt x="44" y="9"/>
                  </a:moveTo>
                  <a:cubicBezTo>
                    <a:pt x="38" y="3"/>
                    <a:pt x="30" y="0"/>
                    <a:pt x="22" y="0"/>
                  </a:cubicBezTo>
                  <a:cubicBezTo>
                    <a:pt x="14" y="0"/>
                    <a:pt x="6" y="3"/>
                    <a:pt x="0" y="9"/>
                  </a:cubicBezTo>
                  <a:cubicBezTo>
                    <a:pt x="5" y="15"/>
                    <a:pt x="5" y="15"/>
                    <a:pt x="5" y="15"/>
                  </a:cubicBezTo>
                  <a:cubicBezTo>
                    <a:pt x="10" y="10"/>
                    <a:pt x="16" y="8"/>
                    <a:pt x="22" y="8"/>
                  </a:cubicBezTo>
                  <a:cubicBezTo>
                    <a:pt x="28" y="8"/>
                    <a:pt x="34" y="10"/>
                    <a:pt x="39" y="15"/>
                  </a:cubicBezTo>
                  <a:lnTo>
                    <a:pt x="44" y="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gradFill>
                  <a:gsLst>
                    <a:gs pos="1250">
                      <a:srgbClr val="505050"/>
                    </a:gs>
                    <a:gs pos="76000">
                      <a:srgbClr val="505050"/>
                    </a:gs>
                  </a:gsLst>
                  <a:lin ang="5400000" scaled="0"/>
                </a:gradFill>
              </a:endParaRPr>
            </a:p>
          </p:txBody>
        </p:sp>
      </p:grpSp>
    </p:spTree>
    <p:extLst>
      <p:ext uri="{BB962C8B-B14F-4D97-AF65-F5344CB8AC3E}">
        <p14:creationId xmlns:p14="http://schemas.microsoft.com/office/powerpoint/2010/main" val="3464888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ustomer stories</a:t>
            </a:r>
          </a:p>
        </p:txBody>
      </p:sp>
    </p:spTree>
    <p:extLst>
      <p:ext uri="{BB962C8B-B14F-4D97-AF65-F5344CB8AC3E}">
        <p14:creationId xmlns:p14="http://schemas.microsoft.com/office/powerpoint/2010/main" val="1616248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922547" y="0"/>
            <a:ext cx="5486816" cy="6458278"/>
          </a:xfrm>
          <a:prstGeom prst="rect">
            <a:avLst/>
          </a:prstGeom>
        </p:spPr>
      </p:pic>
      <p:sp>
        <p:nvSpPr>
          <p:cNvPr id="2" name="Title 1"/>
          <p:cNvSpPr>
            <a:spLocks noGrp="1"/>
          </p:cNvSpPr>
          <p:nvPr>
            <p:ph type="title"/>
          </p:nvPr>
        </p:nvSpPr>
        <p:spPr/>
        <p:txBody>
          <a:bodyPr/>
          <a:lstStyle/>
          <a:p>
            <a:r>
              <a:rPr lang="en-US" dirty="0"/>
              <a:t>Improve visibility and make</a:t>
            </a:r>
            <a:br>
              <a:rPr lang="en-US" dirty="0"/>
            </a:br>
            <a:r>
              <a:rPr lang="en-US" dirty="0"/>
              <a:t>accurate predictions</a:t>
            </a:r>
          </a:p>
        </p:txBody>
      </p:sp>
      <p:sp>
        <p:nvSpPr>
          <p:cNvPr id="3" name="Content Placeholder 2"/>
          <p:cNvSpPr>
            <a:spLocks noGrp="1"/>
          </p:cNvSpPr>
          <p:nvPr>
            <p:ph sz="quarter" idx="4294967295"/>
          </p:nvPr>
        </p:nvSpPr>
        <p:spPr>
          <a:xfrm>
            <a:off x="452612" y="1710004"/>
            <a:ext cx="6469936" cy="753411"/>
          </a:xfrm>
        </p:spPr>
        <p:txBody>
          <a:bodyPr vert="horz" wrap="square" lIns="0" tIns="0" rIns="0" bIns="0" rtlCol="0">
            <a:spAutoFit/>
          </a:bodyPr>
          <a:lstStyle/>
          <a:p>
            <a:pPr marL="0" indent="0">
              <a:lnSpc>
                <a:spcPct val="100000"/>
              </a:lnSpc>
              <a:spcBef>
                <a:spcPts val="0"/>
              </a:spcBef>
              <a:buNone/>
            </a:pPr>
            <a:r>
              <a:rPr lang="en-US" sz="2448" i="1" dirty="0">
                <a:solidFill>
                  <a:schemeClr val="accent1"/>
                </a:solidFill>
              </a:rPr>
              <a:t>Dartmouth-Hitchcock revolutionizes </a:t>
            </a:r>
            <a:br>
              <a:rPr lang="en-US" sz="2448" i="1" dirty="0">
                <a:solidFill>
                  <a:schemeClr val="accent1"/>
                </a:solidFill>
              </a:rPr>
            </a:br>
            <a:r>
              <a:rPr lang="en-US" sz="2448" i="1" dirty="0">
                <a:solidFill>
                  <a:schemeClr val="accent1"/>
                </a:solidFill>
              </a:rPr>
              <a:t>personalized healthcare</a:t>
            </a:r>
          </a:p>
        </p:txBody>
      </p:sp>
      <p:sp>
        <p:nvSpPr>
          <p:cNvPr id="5" name="Rectangle 4"/>
          <p:cNvSpPr/>
          <p:nvPr/>
        </p:nvSpPr>
        <p:spPr bwMode="auto">
          <a:xfrm>
            <a:off x="10702982" y="279071"/>
            <a:ext cx="265048" cy="265049"/>
          </a:xfrm>
          <a:prstGeom prst="rect">
            <a:avLst/>
          </a:prstGeom>
          <a:solidFill>
            <a:srgbClr val="3393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6" name="Rectangle 5"/>
          <p:cNvSpPr/>
          <p:nvPr/>
        </p:nvSpPr>
        <p:spPr bwMode="auto">
          <a:xfrm>
            <a:off x="11001815"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7" name="Rectangle 6"/>
          <p:cNvSpPr/>
          <p:nvPr/>
        </p:nvSpPr>
        <p:spPr bwMode="auto">
          <a:xfrm>
            <a:off x="11300647"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8" name="Rectangle 7"/>
          <p:cNvSpPr/>
          <p:nvPr/>
        </p:nvSpPr>
        <p:spPr bwMode="auto">
          <a:xfrm>
            <a:off x="11599480" y="279071"/>
            <a:ext cx="265048" cy="265049"/>
          </a:xfrm>
          <a:prstGeom prst="rect">
            <a:avLst/>
          </a:prstGeom>
          <a:solidFill>
            <a:srgbClr val="9696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9" name="Rectangle 8"/>
          <p:cNvSpPr/>
          <p:nvPr/>
        </p:nvSpPr>
        <p:spPr bwMode="auto">
          <a:xfrm>
            <a:off x="11898311"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pic>
        <p:nvPicPr>
          <p:cNvPr id="2050" name="Picture 2" descr="https://intake.hitchcock.org/NewStudy/Images/DHMC%20Logo.pn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52612" y="5898393"/>
            <a:ext cx="2594163" cy="387633"/>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1"/>
          <p:cNvSpPr/>
          <p:nvPr/>
        </p:nvSpPr>
        <p:spPr>
          <a:xfrm>
            <a:off x="6922548" y="2208798"/>
            <a:ext cx="5513045" cy="4249334"/>
          </a:xfrm>
          <a:prstGeom prst="rect">
            <a:avLst/>
          </a:prstGeom>
          <a:gradFill flip="none" rotWithShape="1">
            <a:gsLst>
              <a:gs pos="47100">
                <a:srgbClr val="000000">
                  <a:alpha val="56000"/>
                </a:srgbClr>
              </a:gs>
              <a:gs pos="0">
                <a:schemeClr val="tx1">
                  <a:alpha val="0"/>
                </a:schemeClr>
              </a:gs>
              <a:gs pos="100000">
                <a:sysClr val="windowText" lastClr="000000">
                  <a:alpha val="56000"/>
                </a:sysClr>
              </a:gs>
            </a:gsLst>
            <a:lin ang="5400000" scaled="1"/>
            <a:tileRect/>
          </a:gradFill>
        </p:spPr>
        <p:txBody>
          <a:bodyPr wrap="square" rIns="186521" bIns="285351" anchor="b">
            <a:noAutofit/>
          </a:bodyPr>
          <a:lstStyle/>
          <a:p>
            <a:pPr algn="r" defTabSz="951156">
              <a:spcBef>
                <a:spcPts val="1248"/>
              </a:spcBef>
              <a:defRPr/>
            </a:pPr>
            <a:endParaRPr lang="en-US" sz="1428" i="1" kern="0" dirty="0">
              <a:solidFill>
                <a:prstClr val="white"/>
              </a:solidFill>
            </a:endParaRPr>
          </a:p>
        </p:txBody>
      </p:sp>
      <p:graphicFrame>
        <p:nvGraphicFramePr>
          <p:cNvPr id="27" name="Table 26"/>
          <p:cNvGraphicFramePr>
            <a:graphicFrameLocks noGrp="1"/>
          </p:cNvGraphicFramePr>
          <p:nvPr>
            <p:extLst/>
          </p:nvPr>
        </p:nvGraphicFramePr>
        <p:xfrm>
          <a:off x="479915" y="2728394"/>
          <a:ext cx="5738323" cy="3393639"/>
        </p:xfrm>
        <a:graphic>
          <a:graphicData uri="http://schemas.openxmlformats.org/drawingml/2006/table">
            <a:tbl>
              <a:tblPr firstRow="1" bandRow="1">
                <a:tableStyleId>{2D5ABB26-0587-4C30-8999-92F81FD0307C}</a:tableStyleId>
              </a:tblPr>
              <a:tblGrid>
                <a:gridCol w="1003989">
                  <a:extLst>
                    <a:ext uri="{9D8B030D-6E8A-4147-A177-3AD203B41FA5}">
                      <a16:colId xmlns:a16="http://schemas.microsoft.com/office/drawing/2014/main" val="20000"/>
                    </a:ext>
                  </a:extLst>
                </a:gridCol>
                <a:gridCol w="4734334">
                  <a:extLst>
                    <a:ext uri="{9D8B030D-6E8A-4147-A177-3AD203B41FA5}">
                      <a16:colId xmlns:a16="http://schemas.microsoft.com/office/drawing/2014/main" val="20001"/>
                    </a:ext>
                  </a:extLst>
                </a:gridCol>
              </a:tblGrid>
              <a:tr h="378222">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Scenario</a:t>
                      </a:r>
                    </a:p>
                  </a:txBody>
                  <a:tcPr marL="0" marR="0" marT="46630" marB="46630" anchor="ctr">
                    <a:lnR w="19050" cap="flat" cmpd="sng" algn="ctr">
                      <a:solidFill>
                        <a:schemeClr val="tx1"/>
                      </a:solidFill>
                      <a:prstDash val="solid"/>
                      <a:round/>
                      <a:headEnd type="none" w="med" len="med"/>
                      <a:tailEnd type="none" w="med" len="med"/>
                    </a:lnR>
                    <a:lnB w="9525" cap="flat" cmpd="sng" algn="ctr">
                      <a:solidFill>
                        <a:schemeClr val="tx1">
                          <a:lumMod val="75000"/>
                        </a:schemeClr>
                      </a:solidFill>
                      <a:prstDash val="sysDot"/>
                      <a:round/>
                      <a:headEnd type="none" w="med" len="med"/>
                      <a:tailEnd type="none" w="med" len="med"/>
                    </a:lnB>
                  </a:tcPr>
                </a:tc>
                <a:tc>
                  <a:txBody>
                    <a:bodyPr/>
                    <a:lstStyle/>
                    <a:p>
                      <a:r>
                        <a:rPr lang="en-US" sz="1400" kern="0" dirty="0">
                          <a:solidFill>
                            <a:schemeClr val="bg1"/>
                          </a:solidFill>
                          <a:latin typeface="+mn-lt"/>
                          <a:ea typeface="+mn-ea"/>
                          <a:cs typeface="+mn-cs"/>
                        </a:rPr>
                        <a:t>Static treatment plans | Outdated, generic data</a:t>
                      </a:r>
                    </a:p>
                  </a:txBody>
                  <a:tcPr marL="0" marR="0" marT="46630" marB="46630" anchor="ctr">
                    <a:lnL w="19050" cap="flat" cmpd="sng" algn="ctr">
                      <a:solidFill>
                        <a:schemeClr val="tx1"/>
                      </a:solidFill>
                      <a:prstDash val="solid"/>
                      <a:round/>
                      <a:headEnd type="none" w="med" len="med"/>
                      <a:tailEnd type="none" w="med" len="med"/>
                    </a:lnL>
                    <a:lnB w="9525" cap="flat" cmpd="sng" algn="ctr">
                      <a:solidFill>
                        <a:schemeClr val="tx1">
                          <a:lumMod val="75000"/>
                        </a:schemeClr>
                      </a:solidFill>
                      <a:prstDash val="sysDot"/>
                      <a:round/>
                      <a:headEnd type="none" w="med" len="med"/>
                      <a:tailEnd type="none" w="med" len="med"/>
                    </a:lnB>
                  </a:tcPr>
                </a:tc>
                <a:extLst>
                  <a:ext uri="{0D108BD9-81ED-4DB2-BD59-A6C34878D82A}">
                    <a16:rowId xmlns:a16="http://schemas.microsoft.com/office/drawing/2014/main" val="10000"/>
                  </a:ext>
                </a:extLst>
              </a:tr>
              <a:tr h="963690">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Solution</a:t>
                      </a:r>
                    </a:p>
                  </a:txBody>
                  <a:tcPr marL="0" marR="0" marT="46630" marB="46630" anchor="ctr">
                    <a:lnR w="19050" cap="flat" cmpd="sng" algn="ctr">
                      <a:solidFill>
                        <a:schemeClr val="tx1"/>
                      </a:solidFill>
                      <a:prstDash val="solid"/>
                      <a:round/>
                      <a:headEnd type="none" w="med" len="med"/>
                      <a:tailEnd type="none" w="med" len="med"/>
                    </a:lnR>
                    <a:lnT w="9525" cap="flat" cmpd="sng" algn="ctr">
                      <a:solidFill>
                        <a:schemeClr val="tx1">
                          <a:lumMod val="75000"/>
                        </a:schemeClr>
                      </a:solidFill>
                      <a:prstDash val="sysDot"/>
                      <a:round/>
                      <a:headEnd type="none" w="med" len="med"/>
                      <a:tailEnd type="none" w="med" len="med"/>
                    </a:lnT>
                    <a:lnB w="9525" cap="flat" cmpd="sng" algn="ctr">
                      <a:solidFill>
                        <a:schemeClr val="tx1">
                          <a:lumMod val="75000"/>
                        </a:schemeClr>
                      </a:solidFill>
                      <a:prstDash val="sysDot"/>
                      <a:round/>
                      <a:headEnd type="none" w="med" len="med"/>
                      <a:tailEnd type="none" w="med" len="med"/>
                    </a:lnB>
                  </a:tcPr>
                </a:tc>
                <a:tc>
                  <a:txBody>
                    <a:bodyPr/>
                    <a:lstStyle/>
                    <a:p>
                      <a:r>
                        <a:rPr lang="en-US" sz="1400" kern="0" dirty="0">
                          <a:solidFill>
                            <a:schemeClr val="bg1"/>
                          </a:solidFill>
                          <a:latin typeface="+mn-lt"/>
                          <a:ea typeface="+mn-ea"/>
                          <a:cs typeface="+mn-cs"/>
                        </a:rPr>
                        <a:t>ImagineCare collects and analyzes real-time and historical data from across</a:t>
                      </a:r>
                      <a:r>
                        <a:rPr lang="en-US" sz="1400" kern="0" baseline="0" dirty="0">
                          <a:solidFill>
                            <a:schemeClr val="bg1"/>
                          </a:solidFill>
                          <a:latin typeface="+mn-lt"/>
                          <a:ea typeface="+mn-ea"/>
                          <a:cs typeface="+mn-cs"/>
                        </a:rPr>
                        <a:t> </a:t>
                      </a:r>
                      <a:r>
                        <a:rPr lang="en-US" sz="1400" kern="0" dirty="0">
                          <a:solidFill>
                            <a:schemeClr val="bg1"/>
                          </a:solidFill>
                          <a:latin typeface="+mn-lt"/>
                          <a:ea typeface="+mn-ea"/>
                          <a:cs typeface="+mn-cs"/>
                        </a:rPr>
                        <a:t>devices</a:t>
                      </a:r>
                      <a:r>
                        <a:rPr lang="en-US" sz="1400" kern="0" baseline="0" dirty="0">
                          <a:solidFill>
                            <a:schemeClr val="bg1"/>
                          </a:solidFill>
                          <a:latin typeface="+mn-lt"/>
                          <a:ea typeface="+mn-ea"/>
                          <a:cs typeface="+mn-cs"/>
                        </a:rPr>
                        <a:t> and records</a:t>
                      </a:r>
                      <a:r>
                        <a:rPr lang="en-US" sz="1400" kern="0" dirty="0">
                          <a:solidFill>
                            <a:schemeClr val="bg1"/>
                          </a:solidFill>
                          <a:latin typeface="+mn-lt"/>
                          <a:ea typeface="+mn-ea"/>
                          <a:cs typeface="+mn-cs"/>
                        </a:rPr>
                        <a:t>, then surfaces metrics in clinical dashboards and mobile</a:t>
                      </a:r>
                      <a:r>
                        <a:rPr lang="en-US" sz="1400" kern="0" baseline="0" dirty="0">
                          <a:solidFill>
                            <a:schemeClr val="bg1"/>
                          </a:solidFill>
                          <a:latin typeface="+mn-lt"/>
                          <a:ea typeface="+mn-ea"/>
                          <a:cs typeface="+mn-cs"/>
                        </a:rPr>
                        <a:t> </a:t>
                      </a:r>
                      <a:r>
                        <a:rPr lang="en-US" sz="1400" kern="0" dirty="0">
                          <a:solidFill>
                            <a:schemeClr val="bg1"/>
                          </a:solidFill>
                          <a:latin typeface="+mn-lt"/>
                          <a:ea typeface="+mn-ea"/>
                          <a:cs typeface="+mn-cs"/>
                        </a:rPr>
                        <a:t>apps for a consumer-focused, personalized treatment plan. </a:t>
                      </a:r>
                    </a:p>
                  </a:txBody>
                  <a:tcPr marL="0" marR="0" marT="46630" marB="46630" anchor="ctr">
                    <a:lnL w="19050" cap="flat" cmpd="sng" algn="ctr">
                      <a:solidFill>
                        <a:schemeClr val="tx1"/>
                      </a:solidFill>
                      <a:prstDash val="solid"/>
                      <a:round/>
                      <a:headEnd type="none" w="med" len="med"/>
                      <a:tailEnd type="none" w="med" len="med"/>
                    </a:lnL>
                    <a:lnT w="9525" cap="flat" cmpd="sng" algn="ctr">
                      <a:solidFill>
                        <a:schemeClr val="tx1">
                          <a:lumMod val="75000"/>
                        </a:schemeClr>
                      </a:solidFill>
                      <a:prstDash val="sysDot"/>
                      <a:round/>
                      <a:headEnd type="none" w="med" len="med"/>
                      <a:tailEnd type="none" w="med" len="med"/>
                    </a:lnT>
                    <a:lnB w="9525" cap="flat" cmpd="sng" algn="ctr">
                      <a:solidFill>
                        <a:schemeClr val="tx1">
                          <a:lumMod val="75000"/>
                        </a:schemeClr>
                      </a:solidFill>
                      <a:prstDash val="sysDot"/>
                      <a:round/>
                      <a:headEnd type="none" w="med" len="med"/>
                      <a:tailEnd type="none" w="med" len="med"/>
                    </a:lnB>
                  </a:tcPr>
                </a:tc>
                <a:extLst>
                  <a:ext uri="{0D108BD9-81ED-4DB2-BD59-A6C34878D82A}">
                    <a16:rowId xmlns:a16="http://schemas.microsoft.com/office/drawing/2014/main" val="10001"/>
                  </a:ext>
                </a:extLst>
              </a:tr>
              <a:tr h="2051727">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Result</a:t>
                      </a:r>
                    </a:p>
                  </a:txBody>
                  <a:tcPr marL="0" marR="0" marT="46630" marB="46630" anchor="ctr">
                    <a:lnR w="19050" cap="flat" cmpd="sng" algn="ctr">
                      <a:solidFill>
                        <a:schemeClr val="tx1"/>
                      </a:solidFill>
                      <a:prstDash val="solid"/>
                      <a:round/>
                      <a:headEnd type="none" w="med" len="med"/>
                      <a:tailEnd type="none" w="med" len="med"/>
                    </a:lnR>
                    <a:lnT w="9525" cap="flat" cmpd="sng" algn="ctr">
                      <a:solidFill>
                        <a:schemeClr val="tx1">
                          <a:lumMod val="75000"/>
                        </a:schemeClr>
                      </a:solidFill>
                      <a:prstDash val="sysDot"/>
                      <a:round/>
                      <a:headEnd type="none" w="med" len="med"/>
                      <a:tailEnd type="none" w="med" len="med"/>
                    </a:lnT>
                  </a:tcPr>
                </a:tc>
                <a:tc>
                  <a:txBody>
                    <a:bodyPr/>
                    <a:lstStyle/>
                    <a:p>
                      <a:pPr marL="177800" indent="-177800">
                        <a:buFont typeface="Arial" panose="020B0604020202020204" pitchFamily="34" charset="0"/>
                        <a:buChar char="•"/>
                      </a:pPr>
                      <a:r>
                        <a:rPr lang="en-US" sz="1400" kern="0" dirty="0">
                          <a:solidFill>
                            <a:schemeClr val="bg1"/>
                          </a:solidFill>
                          <a:latin typeface="+mn-lt"/>
                          <a:ea typeface="+mn-ea"/>
                          <a:cs typeface="+mn-cs"/>
                        </a:rPr>
                        <a:t>Empowered, healthier patients with personalized, evidence-based treatment plans</a:t>
                      </a:r>
                    </a:p>
                    <a:p>
                      <a:pPr marL="177800" marR="0" indent="-1778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0" dirty="0">
                          <a:solidFill>
                            <a:schemeClr val="bg1"/>
                          </a:solidFill>
                          <a:latin typeface="+mn-lt"/>
                          <a:ea typeface="+mn-ea"/>
                          <a:cs typeface="+mn-cs"/>
                        </a:rPr>
                        <a:t>The ability to identify issues like heart attacks before they happen</a:t>
                      </a:r>
                    </a:p>
                    <a:p>
                      <a:pPr marL="177800" indent="-177800">
                        <a:buFont typeface="Arial" panose="020B0604020202020204" pitchFamily="34" charset="0"/>
                        <a:buChar char="•"/>
                      </a:pPr>
                      <a:r>
                        <a:rPr lang="en-US" sz="1400" kern="0" dirty="0">
                          <a:solidFill>
                            <a:schemeClr val="bg1"/>
                          </a:solidFill>
                          <a:latin typeface="+mn-lt"/>
                          <a:ea typeface="+mn-ea"/>
                          <a:cs typeface="+mn-cs"/>
                        </a:rPr>
                        <a:t>Millions of dollars saved in readmission costs, unnecessary ER and doctor visits, and less missed work</a:t>
                      </a:r>
                    </a:p>
                    <a:p>
                      <a:pPr marL="177800" indent="-177800">
                        <a:buFont typeface="Arial" panose="020B0604020202020204" pitchFamily="34" charset="0"/>
                        <a:buChar char="•"/>
                      </a:pPr>
                      <a:r>
                        <a:rPr lang="en-US" sz="1400" kern="0" dirty="0">
                          <a:solidFill>
                            <a:schemeClr val="bg1"/>
                          </a:solidFill>
                          <a:latin typeface="+mn-lt"/>
                          <a:ea typeface="+mn-ea"/>
                          <a:cs typeface="+mn-cs"/>
                        </a:rPr>
                        <a:t>Improved quality of life with 360° views of patient health</a:t>
                      </a:r>
                    </a:p>
                    <a:p>
                      <a:pPr marL="177800" indent="-177800">
                        <a:buFont typeface="Arial" panose="020B0604020202020204" pitchFamily="34" charset="0"/>
                        <a:buChar char="•"/>
                      </a:pPr>
                      <a:r>
                        <a:rPr lang="en-US" sz="1400" kern="0" dirty="0">
                          <a:solidFill>
                            <a:schemeClr val="bg1"/>
                          </a:solidFill>
                          <a:latin typeface="+mn-lt"/>
                          <a:ea typeface="+mn-ea"/>
                          <a:cs typeface="+mn-cs"/>
                        </a:rPr>
                        <a:t>More effective population health management</a:t>
                      </a:r>
                    </a:p>
                    <a:p>
                      <a:pPr marL="177800" indent="-177800">
                        <a:buFont typeface="Arial" panose="020B0604020202020204" pitchFamily="34" charset="0"/>
                        <a:buChar char="•"/>
                      </a:pPr>
                      <a:endParaRPr lang="en-US" sz="1400" kern="0" dirty="0">
                        <a:solidFill>
                          <a:schemeClr val="bg1"/>
                        </a:solidFill>
                        <a:latin typeface="+mn-lt"/>
                        <a:ea typeface="+mn-ea"/>
                        <a:cs typeface="+mn-cs"/>
                      </a:endParaRPr>
                    </a:p>
                  </a:txBody>
                  <a:tcPr marL="0" marR="0" marT="46630" marB="46630" anchor="ctr">
                    <a:lnL w="19050" cap="flat" cmpd="sng" algn="ctr">
                      <a:solidFill>
                        <a:schemeClr val="tx1"/>
                      </a:solidFill>
                      <a:prstDash val="solid"/>
                      <a:round/>
                      <a:headEnd type="none" w="med" len="med"/>
                      <a:tailEnd type="none" w="med" len="med"/>
                    </a:lnL>
                    <a:lnT w="9525" cap="flat" cmpd="sng" algn="ctr">
                      <a:solidFill>
                        <a:schemeClr val="tx1">
                          <a:lumMod val="75000"/>
                        </a:schemeClr>
                      </a:solidFill>
                      <a:prstDash val="sysDot"/>
                      <a:round/>
                      <a:headEnd type="none" w="med" len="med"/>
                      <a:tailEnd type="none" w="med" len="med"/>
                    </a:lnT>
                    <a:noFill/>
                  </a:tcPr>
                </a:tc>
                <a:extLst>
                  <a:ext uri="{0D108BD9-81ED-4DB2-BD59-A6C34878D82A}">
                    <a16:rowId xmlns:a16="http://schemas.microsoft.com/office/drawing/2014/main" val="10002"/>
                  </a:ext>
                </a:extLst>
              </a:tr>
            </a:tbl>
          </a:graphicData>
        </a:graphic>
      </p:graphicFrame>
      <p:sp>
        <p:nvSpPr>
          <p:cNvPr id="4" name="Rectangle 3"/>
          <p:cNvSpPr/>
          <p:nvPr/>
        </p:nvSpPr>
        <p:spPr>
          <a:xfrm>
            <a:off x="7409062" y="4277042"/>
            <a:ext cx="4754297" cy="2008983"/>
          </a:xfrm>
          <a:prstGeom prst="rect">
            <a:avLst/>
          </a:prstGeom>
        </p:spPr>
        <p:txBody>
          <a:bodyPr wrap="square">
            <a:spAutoFit/>
          </a:bodyPr>
          <a:lstStyle/>
          <a:p>
            <a:pPr algn="r" defTabSz="951156">
              <a:spcBef>
                <a:spcPts val="1248"/>
              </a:spcBef>
              <a:defRPr/>
            </a:pPr>
            <a:r>
              <a:rPr lang="en-US" sz="1632" kern="0" dirty="0">
                <a:solidFill>
                  <a:prstClr val="white"/>
                </a:solidFill>
              </a:rPr>
              <a:t>“This system is really transforming how we can deliver health and wellness to the population. Despite all of the technology involved, </a:t>
            </a:r>
            <a:r>
              <a:rPr lang="en-US" sz="1632" kern="0" dirty="0" err="1">
                <a:solidFill>
                  <a:prstClr val="white"/>
                </a:solidFill>
              </a:rPr>
              <a:t>ImagineCare</a:t>
            </a:r>
            <a:r>
              <a:rPr lang="en-US" sz="1632" kern="0" dirty="0">
                <a:solidFill>
                  <a:prstClr val="white"/>
                </a:solidFill>
              </a:rPr>
              <a:t> does not lose</a:t>
            </a:r>
            <a:br>
              <a:rPr lang="en-US" sz="1632" kern="0" dirty="0">
                <a:solidFill>
                  <a:prstClr val="white"/>
                </a:solidFill>
              </a:rPr>
            </a:br>
            <a:r>
              <a:rPr lang="en-US" sz="1632" kern="0" dirty="0">
                <a:solidFill>
                  <a:prstClr val="white"/>
                </a:solidFill>
              </a:rPr>
              <a:t>that human touch, which is so important.”</a:t>
            </a:r>
            <a:endParaRPr lang="en-US" sz="2040" kern="0" dirty="0">
              <a:solidFill>
                <a:prstClr val="white"/>
              </a:solidFill>
            </a:endParaRPr>
          </a:p>
          <a:p>
            <a:pPr algn="r" defTabSz="951156">
              <a:spcBef>
                <a:spcPts val="1224"/>
              </a:spcBef>
              <a:defRPr/>
            </a:pPr>
            <a:r>
              <a:rPr lang="en-US" sz="1428" i="1" kern="0" dirty="0">
                <a:solidFill>
                  <a:prstClr val="white"/>
                </a:solidFill>
              </a:rPr>
              <a:t>Nathan Larson,</a:t>
            </a:r>
            <a:br>
              <a:rPr lang="en-US" sz="1428" kern="0" dirty="0">
                <a:solidFill>
                  <a:prstClr val="white"/>
                </a:solidFill>
              </a:rPr>
            </a:br>
            <a:r>
              <a:rPr lang="en-US" sz="1428" i="1" kern="0" dirty="0">
                <a:solidFill>
                  <a:prstClr val="white"/>
                </a:solidFill>
              </a:rPr>
              <a:t>Director of Remote Medical Sensing</a:t>
            </a:r>
          </a:p>
        </p:txBody>
      </p:sp>
    </p:spTree>
    <p:extLst>
      <p:ext uri="{BB962C8B-B14F-4D97-AF65-F5344CB8AC3E}">
        <p14:creationId xmlns:p14="http://schemas.microsoft.com/office/powerpoint/2010/main" val="1594994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220971" y="1669943"/>
            <a:ext cx="6216384" cy="3309073"/>
          </a:xfrm>
          <a:prstGeom prst="rect">
            <a:avLst/>
          </a:prstGeom>
        </p:spPr>
      </p:pic>
      <p:sp>
        <p:nvSpPr>
          <p:cNvPr id="2" name="Title 1"/>
          <p:cNvSpPr>
            <a:spLocks noGrp="1"/>
          </p:cNvSpPr>
          <p:nvPr>
            <p:ph type="title"/>
          </p:nvPr>
        </p:nvSpPr>
        <p:spPr/>
        <p:txBody>
          <a:bodyPr/>
          <a:lstStyle/>
          <a:p>
            <a:r>
              <a:rPr lang="en-US"/>
              <a:t>Dartmouth-Hitchcock Demo + Video</a:t>
            </a:r>
            <a:endParaRPr lang="en-US" dirty="0"/>
          </a:p>
        </p:txBody>
      </p:sp>
      <p:pic>
        <p:nvPicPr>
          <p:cNvPr id="5" name="Picture 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456737" y="1468353"/>
            <a:ext cx="7744853" cy="4494110"/>
          </a:xfrm>
          <a:prstGeom prst="rect">
            <a:avLst/>
          </a:prstGeom>
        </p:spPr>
      </p:pic>
      <p:pic>
        <p:nvPicPr>
          <p:cNvPr id="10" name="Picture 9">
            <a:hlinkClick r:id="rId5"/>
          </p:cNvPr>
          <p:cNvPicPr>
            <a:picLocks noChangeAspect="1"/>
          </p:cNvPicPr>
          <p:nvPr/>
        </p:nvPicPr>
        <p:blipFill rotWithShape="1">
          <a:blip r:embed="rId6" cstate="email">
            <a:extLst>
              <a:ext uri="{28A0092B-C50C-407E-A947-70E740481C1C}">
                <a14:useLocalDpi xmlns:a14="http://schemas.microsoft.com/office/drawing/2010/main"/>
              </a:ext>
            </a:extLst>
          </a:blip>
          <a:srcRect l="32532" b="675"/>
          <a:stretch/>
        </p:blipFill>
        <p:spPr>
          <a:xfrm>
            <a:off x="5850357" y="2962287"/>
            <a:ext cx="1352290" cy="432785"/>
          </a:xfrm>
          <a:prstGeom prst="rect">
            <a:avLst/>
          </a:prstGeom>
        </p:spPr>
      </p:pic>
      <p:sp>
        <p:nvSpPr>
          <p:cNvPr id="11" name="Freeform 101">
            <a:hlinkClick r:id="rId5"/>
          </p:cNvPr>
          <p:cNvSpPr>
            <a:spLocks/>
          </p:cNvSpPr>
          <p:nvPr/>
        </p:nvSpPr>
        <p:spPr bwMode="black">
          <a:xfrm rot="10800000">
            <a:off x="5455680" y="2985229"/>
            <a:ext cx="315856" cy="460919"/>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ysClr val="window" lastClr="FFFFFF"/>
          </a:solidFill>
          <a:ln>
            <a:noFill/>
          </a:ln>
          <a:extLst/>
        </p:spPr>
        <p:txBody>
          <a:bodyPr vert="horz" wrap="square" lIns="91403" tIns="45702" rIns="91403" bIns="45702" numCol="1" anchor="t" anchorCtr="0" compatLnSpc="1">
            <a:prstTxWarp prst="textNoShape">
              <a:avLst/>
            </a:prstTxWarp>
          </a:bodyPr>
          <a:lstStyle/>
          <a:p>
            <a:pPr>
              <a:defRPr/>
            </a:pPr>
            <a:endParaRPr lang="en-US" sz="2199" kern="0">
              <a:solidFill>
                <a:srgbClr val="505050"/>
              </a:solidFill>
            </a:endParaRPr>
          </a:p>
        </p:txBody>
      </p:sp>
    </p:spTree>
    <p:extLst>
      <p:ext uri="{BB962C8B-B14F-4D97-AF65-F5344CB8AC3E}">
        <p14:creationId xmlns:p14="http://schemas.microsoft.com/office/powerpoint/2010/main" val="413224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s://customers.microsoft.com/Assets/3aa0bc91-79b8-e411-8afe-6c3be5a8e740/jj%20food%20service%20logo.png"/>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451523" y="5765625"/>
            <a:ext cx="1524134" cy="567872"/>
          </a:xfrm>
          <a:prstGeom prst="rect">
            <a:avLst/>
          </a:prstGeom>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948776" y="0"/>
            <a:ext cx="5486816" cy="6458278"/>
          </a:xfrm>
          <a:prstGeom prst="rect">
            <a:avLst/>
          </a:prstGeom>
        </p:spPr>
      </p:pic>
      <p:sp>
        <p:nvSpPr>
          <p:cNvPr id="2" name="Title 1"/>
          <p:cNvSpPr>
            <a:spLocks noGrp="1"/>
          </p:cNvSpPr>
          <p:nvPr>
            <p:ph type="title"/>
          </p:nvPr>
        </p:nvSpPr>
        <p:spPr/>
        <p:txBody>
          <a:bodyPr/>
          <a:lstStyle/>
          <a:p>
            <a:r>
              <a:rPr lang="en-US" dirty="0"/>
              <a:t>Get the right products to </a:t>
            </a:r>
            <a:br>
              <a:rPr lang="en-US" dirty="0"/>
            </a:br>
            <a:r>
              <a:rPr lang="en-US" dirty="0"/>
              <a:t>the right places</a:t>
            </a:r>
          </a:p>
        </p:txBody>
      </p:sp>
      <p:sp>
        <p:nvSpPr>
          <p:cNvPr id="3" name="Content Placeholder 2"/>
          <p:cNvSpPr>
            <a:spLocks noGrp="1"/>
          </p:cNvSpPr>
          <p:nvPr>
            <p:ph sz="quarter" idx="4294967295"/>
          </p:nvPr>
        </p:nvSpPr>
        <p:spPr>
          <a:xfrm>
            <a:off x="452612" y="1709773"/>
            <a:ext cx="6129924" cy="753411"/>
          </a:xfrm>
        </p:spPr>
        <p:txBody>
          <a:bodyPr vert="horz" wrap="square" lIns="0" tIns="0" rIns="0" bIns="0" rtlCol="0">
            <a:spAutoFit/>
          </a:bodyPr>
          <a:lstStyle/>
          <a:p>
            <a:pPr marL="0" indent="0">
              <a:lnSpc>
                <a:spcPct val="100000"/>
              </a:lnSpc>
              <a:spcBef>
                <a:spcPts val="0"/>
              </a:spcBef>
              <a:buNone/>
            </a:pPr>
            <a:r>
              <a:rPr lang="en-US" sz="2448" i="1" dirty="0">
                <a:solidFill>
                  <a:schemeClr val="accent1"/>
                </a:solidFill>
              </a:rPr>
              <a:t>JJ Food Service optimizes their</a:t>
            </a:r>
            <a:br>
              <a:rPr lang="en-US" sz="2448" i="1" dirty="0">
                <a:solidFill>
                  <a:schemeClr val="accent1"/>
                </a:solidFill>
              </a:rPr>
            </a:br>
            <a:r>
              <a:rPr lang="en-US" sz="2448" i="1" dirty="0">
                <a:solidFill>
                  <a:schemeClr val="accent1"/>
                </a:solidFill>
              </a:rPr>
              <a:t>supply chain</a:t>
            </a:r>
          </a:p>
        </p:txBody>
      </p:sp>
      <p:sp>
        <p:nvSpPr>
          <p:cNvPr id="5" name="Rectangle 4"/>
          <p:cNvSpPr/>
          <p:nvPr/>
        </p:nvSpPr>
        <p:spPr bwMode="auto">
          <a:xfrm>
            <a:off x="10702982"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6" name="Rectangle 5"/>
          <p:cNvSpPr/>
          <p:nvPr/>
        </p:nvSpPr>
        <p:spPr bwMode="auto">
          <a:xfrm>
            <a:off x="11001815" y="279071"/>
            <a:ext cx="265048" cy="265049"/>
          </a:xfrm>
          <a:prstGeom prst="rect">
            <a:avLst/>
          </a:prstGeom>
          <a:solidFill>
            <a:srgbClr val="3393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7" name="Rectangle 6"/>
          <p:cNvSpPr/>
          <p:nvPr/>
        </p:nvSpPr>
        <p:spPr bwMode="auto">
          <a:xfrm>
            <a:off x="11300647"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8" name="Rectangle 7"/>
          <p:cNvSpPr/>
          <p:nvPr/>
        </p:nvSpPr>
        <p:spPr bwMode="auto">
          <a:xfrm>
            <a:off x="11599480" y="279071"/>
            <a:ext cx="265048" cy="265049"/>
          </a:xfrm>
          <a:prstGeom prst="rect">
            <a:avLst/>
          </a:prstGeom>
          <a:solidFill>
            <a:srgbClr val="9696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9" name="Rectangle 8"/>
          <p:cNvSpPr/>
          <p:nvPr/>
        </p:nvSpPr>
        <p:spPr bwMode="auto">
          <a:xfrm>
            <a:off x="11898311"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19" name="Rectangle 11"/>
          <p:cNvSpPr/>
          <p:nvPr/>
        </p:nvSpPr>
        <p:spPr>
          <a:xfrm>
            <a:off x="6949645" y="942420"/>
            <a:ext cx="5485947" cy="5508086"/>
          </a:xfrm>
          <a:prstGeom prst="rect">
            <a:avLst/>
          </a:prstGeom>
          <a:gradFill flip="none" rotWithShape="1">
            <a:gsLst>
              <a:gs pos="71000">
                <a:srgbClr val="000000">
                  <a:alpha val="70000"/>
                </a:srgbClr>
              </a:gs>
              <a:gs pos="0">
                <a:schemeClr val="tx1">
                  <a:alpha val="0"/>
                </a:schemeClr>
              </a:gs>
              <a:gs pos="97000">
                <a:sysClr val="windowText" lastClr="000000">
                  <a:alpha val="52000"/>
                </a:sysClr>
              </a:gs>
            </a:gsLst>
            <a:lin ang="5400000" scaled="1"/>
            <a:tileRect/>
          </a:gradFill>
        </p:spPr>
        <p:txBody>
          <a:bodyPr wrap="square" rIns="186521" bIns="285351" anchor="b">
            <a:noAutofit/>
          </a:bodyPr>
          <a:lstStyle/>
          <a:p>
            <a:pPr algn="r" defTabSz="951156">
              <a:spcBef>
                <a:spcPts val="1248"/>
              </a:spcBef>
              <a:defRPr/>
            </a:pPr>
            <a:r>
              <a:rPr lang="en-US" sz="1632" kern="0" dirty="0">
                <a:solidFill>
                  <a:prstClr val="white"/>
                </a:solidFill>
              </a:rPr>
              <a:t>“With Azure Machine Learning, the wow factor</a:t>
            </a:r>
            <a:br>
              <a:rPr lang="en-US" sz="1632" kern="0" dirty="0">
                <a:solidFill>
                  <a:prstClr val="white"/>
                </a:solidFill>
              </a:rPr>
            </a:br>
            <a:r>
              <a:rPr lang="en-US" sz="1632" kern="0" dirty="0">
                <a:solidFill>
                  <a:prstClr val="white"/>
                </a:solidFill>
              </a:rPr>
              <a:t>is huge. Customers are amazed that we can</a:t>
            </a:r>
            <a:br>
              <a:rPr lang="en-US" sz="1632" kern="0" dirty="0">
                <a:solidFill>
                  <a:prstClr val="white"/>
                </a:solidFill>
              </a:rPr>
            </a:br>
            <a:r>
              <a:rPr lang="en-US" sz="1632" kern="0" dirty="0">
                <a:solidFill>
                  <a:prstClr val="white"/>
                </a:solidFill>
              </a:rPr>
              <a:t>predict so accurately what they need.”</a:t>
            </a:r>
          </a:p>
          <a:p>
            <a:pPr algn="r" defTabSz="951156">
              <a:spcBef>
                <a:spcPts val="1248"/>
              </a:spcBef>
              <a:defRPr/>
            </a:pPr>
            <a:r>
              <a:rPr lang="en-US" sz="1632" i="1" kern="0" dirty="0" err="1">
                <a:solidFill>
                  <a:prstClr val="white"/>
                </a:solidFill>
                <a:cs typeface="Segoe UI" panose="020B0502040204020203" pitchFamily="34" charset="0"/>
              </a:rPr>
              <a:t>Mushtaque</a:t>
            </a:r>
            <a:r>
              <a:rPr lang="en-US" sz="1632" i="1" kern="0" dirty="0">
                <a:solidFill>
                  <a:prstClr val="white"/>
                </a:solidFill>
                <a:cs typeface="Segoe UI" panose="020B0502040204020203" pitchFamily="34" charset="0"/>
              </a:rPr>
              <a:t> Ahmed,</a:t>
            </a:r>
            <a:br>
              <a:rPr lang="en-US" sz="1632" i="1" kern="0" dirty="0">
                <a:solidFill>
                  <a:prstClr val="white"/>
                </a:solidFill>
                <a:cs typeface="Segoe UI" panose="020B0502040204020203" pitchFamily="34" charset="0"/>
              </a:rPr>
            </a:br>
            <a:r>
              <a:rPr lang="en-US" sz="1632" i="1" kern="0" dirty="0">
                <a:solidFill>
                  <a:prstClr val="white"/>
                </a:solidFill>
                <a:cs typeface="Segoe UI" panose="020B0502040204020203" pitchFamily="34" charset="0"/>
              </a:rPr>
              <a:t>COO, JJ Food Service</a:t>
            </a:r>
          </a:p>
        </p:txBody>
      </p:sp>
      <p:graphicFrame>
        <p:nvGraphicFramePr>
          <p:cNvPr id="27" name="Table 26"/>
          <p:cNvGraphicFramePr>
            <a:graphicFrameLocks noGrp="1"/>
          </p:cNvGraphicFramePr>
          <p:nvPr>
            <p:extLst/>
          </p:nvPr>
        </p:nvGraphicFramePr>
        <p:xfrm>
          <a:off x="452612" y="2665691"/>
          <a:ext cx="5488445" cy="2953244"/>
        </p:xfrm>
        <a:graphic>
          <a:graphicData uri="http://schemas.openxmlformats.org/drawingml/2006/table">
            <a:tbl>
              <a:tblPr firstRow="1" bandRow="1">
                <a:tableStyleId>{2D5ABB26-0587-4C30-8999-92F81FD0307C}</a:tableStyleId>
              </a:tblPr>
              <a:tblGrid>
                <a:gridCol w="960270">
                  <a:extLst>
                    <a:ext uri="{9D8B030D-6E8A-4147-A177-3AD203B41FA5}">
                      <a16:colId xmlns:a16="http://schemas.microsoft.com/office/drawing/2014/main" val="20000"/>
                    </a:ext>
                  </a:extLst>
                </a:gridCol>
                <a:gridCol w="4528175">
                  <a:extLst>
                    <a:ext uri="{9D8B030D-6E8A-4147-A177-3AD203B41FA5}">
                      <a16:colId xmlns:a16="http://schemas.microsoft.com/office/drawing/2014/main" val="20001"/>
                    </a:ext>
                  </a:extLst>
                </a:gridCol>
              </a:tblGrid>
              <a:tr h="621736">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Scenario</a:t>
                      </a:r>
                    </a:p>
                  </a:txBody>
                  <a:tcPr marL="0" marR="0" marT="93260" marB="93260" anchor="ctr">
                    <a:lnR w="19050" cap="flat" cmpd="sng" algn="ctr">
                      <a:solidFill>
                        <a:schemeClr val="tx1"/>
                      </a:solidFill>
                      <a:prstDash val="solid"/>
                      <a:round/>
                      <a:headEnd type="none" w="med" len="med"/>
                      <a:tailEnd type="none" w="med" len="med"/>
                    </a:lnR>
                    <a:lnB w="9525" cap="flat" cmpd="sng" algn="ctr">
                      <a:solidFill>
                        <a:schemeClr val="tx1">
                          <a:lumMod val="75000"/>
                        </a:schemeClr>
                      </a:solidFill>
                      <a:prstDash val="sysDot"/>
                      <a:round/>
                      <a:headEnd type="none" w="med" len="med"/>
                      <a:tailEnd type="none" w="med" len="med"/>
                    </a:lnB>
                  </a:tcPr>
                </a:tc>
                <a:tc>
                  <a:txBody>
                    <a:bodyPr/>
                    <a:lstStyle/>
                    <a:p>
                      <a:r>
                        <a:rPr lang="en-US" sz="1400" kern="0" dirty="0">
                          <a:solidFill>
                            <a:schemeClr val="bg1"/>
                          </a:solidFill>
                          <a:latin typeface="+mn-lt"/>
                          <a:ea typeface="+mn-ea"/>
                          <a:cs typeface="+mn-cs"/>
                        </a:rPr>
                        <a:t>Outdated legacy systems | Manual processes |</a:t>
                      </a:r>
                      <a:br>
                        <a:rPr lang="en-US" sz="1400" kern="0" dirty="0">
                          <a:solidFill>
                            <a:schemeClr val="bg1"/>
                          </a:solidFill>
                          <a:latin typeface="+mn-lt"/>
                          <a:ea typeface="+mn-ea"/>
                          <a:cs typeface="+mn-cs"/>
                        </a:rPr>
                      </a:br>
                      <a:r>
                        <a:rPr lang="en-US" sz="1400" kern="0" dirty="0">
                          <a:solidFill>
                            <a:schemeClr val="bg1"/>
                          </a:solidFill>
                          <a:latin typeface="+mn-lt"/>
                          <a:ea typeface="+mn-ea"/>
                          <a:cs typeface="+mn-cs"/>
                        </a:rPr>
                        <a:t>Lack of supply chain visibility</a:t>
                      </a:r>
                    </a:p>
                  </a:txBody>
                  <a:tcPr marL="0" marR="0" marT="93260" marB="93260" anchor="ctr">
                    <a:lnL w="19050" cap="flat" cmpd="sng" algn="ctr">
                      <a:solidFill>
                        <a:schemeClr val="tx1"/>
                      </a:solidFill>
                      <a:prstDash val="solid"/>
                      <a:round/>
                      <a:headEnd type="none" w="med" len="med"/>
                      <a:tailEnd type="none" w="med" len="med"/>
                    </a:lnL>
                    <a:lnB w="9525" cap="flat" cmpd="sng" algn="ctr">
                      <a:solidFill>
                        <a:schemeClr val="tx1">
                          <a:lumMod val="75000"/>
                        </a:schemeClr>
                      </a:solidFill>
                      <a:prstDash val="sysDot"/>
                      <a:round/>
                      <a:headEnd type="none" w="med" len="med"/>
                      <a:tailEnd type="none" w="med" len="med"/>
                    </a:lnB>
                  </a:tcPr>
                </a:tc>
                <a:extLst>
                  <a:ext uri="{0D108BD9-81ED-4DB2-BD59-A6C34878D82A}">
                    <a16:rowId xmlns:a16="http://schemas.microsoft.com/office/drawing/2014/main" val="10000"/>
                  </a:ext>
                </a:extLst>
              </a:tr>
              <a:tr h="1056950">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Solution</a:t>
                      </a:r>
                    </a:p>
                  </a:txBody>
                  <a:tcPr marL="0" marR="0" marT="93260" marB="93260" anchor="ctr">
                    <a:lnR w="19050" cap="flat" cmpd="sng" algn="ctr">
                      <a:solidFill>
                        <a:schemeClr val="tx1"/>
                      </a:solidFill>
                      <a:prstDash val="solid"/>
                      <a:round/>
                      <a:headEnd type="none" w="med" len="med"/>
                      <a:tailEnd type="none" w="med" len="med"/>
                    </a:lnR>
                    <a:lnT w="9525" cap="flat" cmpd="sng" algn="ctr">
                      <a:solidFill>
                        <a:schemeClr val="tx1">
                          <a:lumMod val="75000"/>
                        </a:schemeClr>
                      </a:solidFill>
                      <a:prstDash val="sysDot"/>
                      <a:round/>
                      <a:headEnd type="none" w="med" len="med"/>
                      <a:tailEnd type="none" w="med" len="med"/>
                    </a:lnT>
                    <a:lnB w="9525" cap="flat" cmpd="sng" algn="ctr">
                      <a:solidFill>
                        <a:schemeClr val="tx1">
                          <a:lumMod val="75000"/>
                        </a:schemeClr>
                      </a:solidFill>
                      <a:prstDash val="sysDot"/>
                      <a:round/>
                      <a:headEnd type="none" w="med" len="med"/>
                      <a:tailEnd type="none" w="med" len="med"/>
                    </a:lnB>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400" kern="0" dirty="0">
                          <a:solidFill>
                            <a:schemeClr val="bg1"/>
                          </a:solidFill>
                          <a:latin typeface="+mn-lt"/>
                          <a:ea typeface="+mn-ea"/>
                          <a:cs typeface="+mn-cs"/>
                        </a:rPr>
                        <a:t>Dynamic AX end-to-end with Azure Machine Learning analyzing</a:t>
                      </a:r>
                      <a:r>
                        <a:rPr lang="en-US" sz="1400" kern="0" baseline="0" dirty="0">
                          <a:solidFill>
                            <a:schemeClr val="bg1"/>
                          </a:solidFill>
                          <a:latin typeface="+mn-lt"/>
                          <a:ea typeface="+mn-ea"/>
                          <a:cs typeface="+mn-cs"/>
                        </a:rPr>
                        <a:t> </a:t>
                      </a:r>
                      <a:r>
                        <a:rPr lang="en-US" sz="1400" kern="0" dirty="0">
                          <a:solidFill>
                            <a:schemeClr val="bg1"/>
                          </a:solidFill>
                          <a:latin typeface="+mn-lt"/>
                          <a:ea typeface="+mn-ea"/>
                          <a:cs typeface="+mn-cs"/>
                        </a:rPr>
                        <a:t>real-time and historical customer data to create predictive shopping lists and provide product recommendations based on cart contents</a:t>
                      </a:r>
                    </a:p>
                  </a:txBody>
                  <a:tcPr marL="0" marR="0" marT="93260" marB="93260" anchor="ctr">
                    <a:lnL w="19050" cap="flat" cmpd="sng" algn="ctr">
                      <a:solidFill>
                        <a:schemeClr val="tx1"/>
                      </a:solidFill>
                      <a:prstDash val="solid"/>
                      <a:round/>
                      <a:headEnd type="none" w="med" len="med"/>
                      <a:tailEnd type="none" w="med" len="med"/>
                    </a:lnL>
                    <a:lnT w="9525" cap="flat" cmpd="sng" algn="ctr">
                      <a:solidFill>
                        <a:schemeClr val="tx1">
                          <a:lumMod val="75000"/>
                        </a:schemeClr>
                      </a:solidFill>
                      <a:prstDash val="sysDot"/>
                      <a:round/>
                      <a:headEnd type="none" w="med" len="med"/>
                      <a:tailEnd type="none" w="med" len="med"/>
                    </a:lnT>
                    <a:lnB w="9525" cap="flat" cmpd="sng" algn="ctr">
                      <a:solidFill>
                        <a:schemeClr val="tx1">
                          <a:lumMod val="75000"/>
                        </a:schemeClr>
                      </a:solidFill>
                      <a:prstDash val="sysDot"/>
                      <a:round/>
                      <a:headEnd type="none" w="med" len="med"/>
                      <a:tailEnd type="none" w="med" len="med"/>
                    </a:lnB>
                  </a:tcPr>
                </a:tc>
                <a:extLst>
                  <a:ext uri="{0D108BD9-81ED-4DB2-BD59-A6C34878D82A}">
                    <a16:rowId xmlns:a16="http://schemas.microsoft.com/office/drawing/2014/main" val="10001"/>
                  </a:ext>
                </a:extLst>
              </a:tr>
              <a:tr h="1274558">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Result</a:t>
                      </a:r>
                    </a:p>
                  </a:txBody>
                  <a:tcPr marL="0" marR="0" marT="93260" marB="93260" anchor="ctr">
                    <a:lnR w="19050" cap="flat" cmpd="sng" algn="ctr">
                      <a:solidFill>
                        <a:schemeClr val="tx1"/>
                      </a:solidFill>
                      <a:prstDash val="solid"/>
                      <a:round/>
                      <a:headEnd type="none" w="med" len="med"/>
                      <a:tailEnd type="none" w="med" len="med"/>
                    </a:lnR>
                    <a:lnT w="9525" cap="flat" cmpd="sng" algn="ctr">
                      <a:solidFill>
                        <a:schemeClr val="tx1">
                          <a:lumMod val="75000"/>
                        </a:schemeClr>
                      </a:solidFill>
                      <a:prstDash val="sysDot"/>
                      <a:round/>
                      <a:headEnd type="none" w="med" len="med"/>
                      <a:tailEnd type="none" w="med" len="med"/>
                    </a:lnT>
                  </a:tcPr>
                </a:tc>
                <a:tc>
                  <a:txBody>
                    <a:bodyPr/>
                    <a:lstStyle/>
                    <a:p>
                      <a:pPr marL="177800" indent="-177800">
                        <a:buFont typeface="Arial" panose="020B0604020202020204" pitchFamily="34" charset="0"/>
                        <a:buChar char="•"/>
                      </a:pPr>
                      <a:r>
                        <a:rPr lang="en-US" sz="1400" kern="0" dirty="0">
                          <a:solidFill>
                            <a:schemeClr val="bg1"/>
                          </a:solidFill>
                          <a:latin typeface="+mn-lt"/>
                          <a:ea typeface="+mn-ea"/>
                          <a:cs typeface="+mn-cs"/>
                        </a:rPr>
                        <a:t>Accurate predictions</a:t>
                      </a:r>
                      <a:r>
                        <a:rPr lang="en-US" sz="1400" kern="0" baseline="0" dirty="0">
                          <a:solidFill>
                            <a:schemeClr val="bg1"/>
                          </a:solidFill>
                          <a:latin typeface="+mn-lt"/>
                          <a:ea typeface="+mn-ea"/>
                          <a:cs typeface="+mn-cs"/>
                        </a:rPr>
                        <a:t> of customers’ needs</a:t>
                      </a:r>
                      <a:endParaRPr lang="en-US" sz="1400" kern="0" dirty="0">
                        <a:solidFill>
                          <a:schemeClr val="bg1"/>
                        </a:solidFill>
                        <a:latin typeface="+mn-lt"/>
                        <a:ea typeface="+mn-ea"/>
                        <a:cs typeface="+mn-cs"/>
                      </a:endParaRPr>
                    </a:p>
                    <a:p>
                      <a:pPr marL="177800" indent="-177800">
                        <a:buFont typeface="Arial" panose="020B0604020202020204" pitchFamily="34" charset="0"/>
                        <a:buChar char="•"/>
                      </a:pPr>
                      <a:r>
                        <a:rPr lang="en-US" sz="1400" kern="0" dirty="0">
                          <a:solidFill>
                            <a:schemeClr val="bg1"/>
                          </a:solidFill>
                          <a:latin typeface="+mn-lt"/>
                          <a:ea typeface="+mn-ea"/>
                          <a:cs typeface="+mn-cs"/>
                        </a:rPr>
                        <a:t>IoT-enabled cab sensors</a:t>
                      </a:r>
                    </a:p>
                    <a:p>
                      <a:pPr marL="177800" indent="-177800">
                        <a:buFont typeface="Arial" panose="020B0604020202020204" pitchFamily="34" charset="0"/>
                        <a:buChar char="•"/>
                      </a:pPr>
                      <a:r>
                        <a:rPr lang="en-US" sz="1400" kern="0" dirty="0">
                          <a:solidFill>
                            <a:schemeClr val="bg1"/>
                          </a:solidFill>
                          <a:latin typeface="+mn-lt"/>
                          <a:ea typeface="+mn-ea"/>
                          <a:cs typeface="+mn-cs"/>
                        </a:rPr>
                        <a:t>Arrival of foods in peak condition</a:t>
                      </a:r>
                    </a:p>
                    <a:p>
                      <a:pPr marL="177800" indent="-177800">
                        <a:buFont typeface="Arial" panose="020B0604020202020204" pitchFamily="34" charset="0"/>
                        <a:buChar char="•"/>
                      </a:pPr>
                      <a:r>
                        <a:rPr lang="en-US" sz="1400" kern="0" dirty="0">
                          <a:solidFill>
                            <a:schemeClr val="bg1"/>
                          </a:solidFill>
                          <a:latin typeface="+mn-lt"/>
                          <a:ea typeface="+mn-ea"/>
                          <a:cs typeface="+mn-cs"/>
                        </a:rPr>
                        <a:t>Increase in basket value through upsell with</a:t>
                      </a:r>
                      <a:r>
                        <a:rPr lang="en-US" sz="1400" kern="0" baseline="0" dirty="0">
                          <a:solidFill>
                            <a:schemeClr val="bg1"/>
                          </a:solidFill>
                          <a:latin typeface="+mn-lt"/>
                          <a:ea typeface="+mn-ea"/>
                          <a:cs typeface="+mn-cs"/>
                        </a:rPr>
                        <a:t> d</a:t>
                      </a:r>
                      <a:r>
                        <a:rPr lang="en-US" sz="1400" kern="0" dirty="0">
                          <a:solidFill>
                            <a:schemeClr val="bg1"/>
                          </a:solidFill>
                          <a:latin typeface="+mn-lt"/>
                          <a:ea typeface="+mn-ea"/>
                          <a:cs typeface="+mn-cs"/>
                        </a:rPr>
                        <a:t>ecreased checkout times</a:t>
                      </a:r>
                    </a:p>
                  </a:txBody>
                  <a:tcPr marL="0" marR="0" marT="93260" marB="93260" anchor="ctr">
                    <a:lnL w="19050" cap="flat" cmpd="sng" algn="ctr">
                      <a:solidFill>
                        <a:schemeClr val="tx1"/>
                      </a:solidFill>
                      <a:prstDash val="solid"/>
                      <a:round/>
                      <a:headEnd type="none" w="med" len="med"/>
                      <a:tailEnd type="none" w="med" len="med"/>
                    </a:lnL>
                    <a:lnT w="9525" cap="flat" cmpd="sng" algn="ctr">
                      <a:solidFill>
                        <a:schemeClr val="tx1">
                          <a:lumMod val="75000"/>
                        </a:schemeClr>
                      </a:solidFill>
                      <a:prstDash val="sysDot"/>
                      <a:round/>
                      <a:headEnd type="none" w="med" len="med"/>
                      <a:tailEnd type="none" w="med" len="med"/>
                    </a:lnT>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712487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336976" y="1677649"/>
            <a:ext cx="5984374" cy="3076079"/>
          </a:xfrm>
          <a:prstGeom prst="rect">
            <a:avLst/>
          </a:prstGeom>
        </p:spPr>
      </p:pic>
      <p:sp>
        <p:nvSpPr>
          <p:cNvPr id="2" name="Title 1"/>
          <p:cNvSpPr>
            <a:spLocks noGrp="1"/>
          </p:cNvSpPr>
          <p:nvPr>
            <p:ph type="title"/>
          </p:nvPr>
        </p:nvSpPr>
        <p:spPr/>
        <p:txBody>
          <a:bodyPr/>
          <a:lstStyle/>
          <a:p>
            <a:r>
              <a:rPr lang="en-US" dirty="0"/>
              <a:t>JJ Food Service Video</a:t>
            </a:r>
          </a:p>
        </p:txBody>
      </p:sp>
      <p:pic>
        <p:nvPicPr>
          <p:cNvPr id="5" name="Picture 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456737" y="1468353"/>
            <a:ext cx="7744853" cy="4494110"/>
          </a:xfrm>
          <a:prstGeom prst="rect">
            <a:avLst/>
          </a:prstGeom>
        </p:spPr>
      </p:pic>
      <p:pic>
        <p:nvPicPr>
          <p:cNvPr id="7" name="Picture 6">
            <a:hlinkClick r:id="rId5"/>
          </p:cNvPr>
          <p:cNvPicPr>
            <a:picLocks noChangeAspect="1"/>
          </p:cNvPicPr>
          <p:nvPr/>
        </p:nvPicPr>
        <p:blipFill rotWithShape="1">
          <a:blip r:embed="rId6" cstate="email">
            <a:extLst>
              <a:ext uri="{28A0092B-C50C-407E-A947-70E740481C1C}">
                <a14:useLocalDpi xmlns:a14="http://schemas.microsoft.com/office/drawing/2010/main"/>
              </a:ext>
            </a:extLst>
          </a:blip>
          <a:srcRect l="32532" b="675"/>
          <a:stretch/>
        </p:blipFill>
        <p:spPr>
          <a:xfrm>
            <a:off x="5850357" y="2962287"/>
            <a:ext cx="1352290" cy="432785"/>
          </a:xfrm>
          <a:prstGeom prst="rect">
            <a:avLst/>
          </a:prstGeom>
        </p:spPr>
      </p:pic>
      <p:sp>
        <p:nvSpPr>
          <p:cNvPr id="8" name="Freeform 101">
            <a:hlinkClick r:id="rId5"/>
          </p:cNvPr>
          <p:cNvSpPr>
            <a:spLocks/>
          </p:cNvSpPr>
          <p:nvPr/>
        </p:nvSpPr>
        <p:spPr bwMode="black">
          <a:xfrm rot="10800000">
            <a:off x="5455680" y="2985229"/>
            <a:ext cx="315856" cy="460919"/>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ysClr val="window" lastClr="FFFFFF"/>
          </a:solidFill>
          <a:ln>
            <a:noFill/>
          </a:ln>
          <a:extLst/>
        </p:spPr>
        <p:txBody>
          <a:bodyPr vert="horz" wrap="square" lIns="91403" tIns="45702" rIns="91403" bIns="45702" numCol="1" anchor="t" anchorCtr="0" compatLnSpc="1">
            <a:prstTxWarp prst="textNoShape">
              <a:avLst/>
            </a:prstTxWarp>
          </a:bodyPr>
          <a:lstStyle/>
          <a:p>
            <a:pPr>
              <a:defRPr/>
            </a:pPr>
            <a:endParaRPr lang="en-US" sz="2199" kern="0">
              <a:solidFill>
                <a:srgbClr val="505050"/>
              </a:solidFill>
            </a:endParaRPr>
          </a:p>
        </p:txBody>
      </p:sp>
    </p:spTree>
    <p:extLst>
      <p:ext uri="{BB962C8B-B14F-4D97-AF65-F5344CB8AC3E}">
        <p14:creationId xmlns:p14="http://schemas.microsoft.com/office/powerpoint/2010/main" val="1468125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re are some examples of how </a:t>
            </a:r>
            <a:br>
              <a:rPr lang="en-US" dirty="0"/>
            </a:br>
            <a:r>
              <a:rPr lang="en-US" dirty="0"/>
              <a:t>our customers are staying ahead </a:t>
            </a:r>
          </a:p>
        </p:txBody>
      </p:sp>
      <p:grpSp>
        <p:nvGrpSpPr>
          <p:cNvPr id="9" name="Group 8"/>
          <p:cNvGrpSpPr/>
          <p:nvPr/>
        </p:nvGrpSpPr>
        <p:grpSpPr>
          <a:xfrm>
            <a:off x="10121303" y="2736674"/>
            <a:ext cx="1954849" cy="1810128"/>
            <a:chOff x="9922882" y="2683258"/>
            <a:chExt cx="1916693" cy="1774796"/>
          </a:xfrm>
        </p:grpSpPr>
        <p:sp>
          <p:nvSpPr>
            <p:cNvPr id="52" name="Rectangle 51"/>
            <p:cNvSpPr/>
            <p:nvPr/>
          </p:nvSpPr>
          <p:spPr bwMode="auto">
            <a:xfrm>
              <a:off x="9922882" y="3977042"/>
              <a:ext cx="1916693" cy="4810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563">
                <a:spcAft>
                  <a:spcPts val="1224"/>
                </a:spcAft>
                <a:buSzPct val="90000"/>
              </a:pPr>
              <a:r>
                <a:rPr lang="en-US" sz="1428" dirty="0">
                  <a:solidFill>
                    <a:schemeClr val="bg1"/>
                  </a:solidFill>
                </a:rPr>
                <a:t>Exploring new business opportunities with </a:t>
              </a:r>
              <a:r>
                <a:rPr lang="en-US" sz="1428" b="1" dirty="0">
                  <a:solidFill>
                    <a:schemeClr val="bg1"/>
                  </a:solidFill>
                </a:rPr>
                <a:t>data-driven services</a:t>
              </a:r>
            </a:p>
          </p:txBody>
        </p:sp>
        <p:grpSp>
          <p:nvGrpSpPr>
            <p:cNvPr id="5" name="Group 4"/>
            <p:cNvGrpSpPr/>
            <p:nvPr/>
          </p:nvGrpSpPr>
          <p:grpSpPr>
            <a:xfrm>
              <a:off x="10138840" y="2683258"/>
              <a:ext cx="1293820" cy="856568"/>
              <a:chOff x="9996890" y="2240429"/>
              <a:chExt cx="1381772" cy="914796"/>
            </a:xfrm>
          </p:grpSpPr>
          <p:sp>
            <p:nvSpPr>
              <p:cNvPr id="69" name="Line 19"/>
              <p:cNvSpPr>
                <a:spLocks noChangeShapeType="1"/>
              </p:cNvSpPr>
              <p:nvPr/>
            </p:nvSpPr>
            <p:spPr bwMode="auto">
              <a:xfrm flipV="1">
                <a:off x="10148547" y="2404029"/>
                <a:ext cx="249019" cy="312050"/>
              </a:xfrm>
              <a:prstGeom prst="line">
                <a:avLst/>
              </a:prstGeom>
              <a:noFill/>
              <a:ln w="349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72" name="Line 22"/>
              <p:cNvSpPr>
                <a:spLocks noChangeShapeType="1"/>
              </p:cNvSpPr>
              <p:nvPr/>
            </p:nvSpPr>
            <p:spPr bwMode="auto">
              <a:xfrm>
                <a:off x="10505871" y="2404031"/>
                <a:ext cx="350073" cy="570544"/>
              </a:xfrm>
              <a:prstGeom prst="line">
                <a:avLst/>
              </a:prstGeom>
              <a:noFill/>
              <a:ln w="349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57" name="Oval 16"/>
              <p:cNvSpPr>
                <a:spLocks noChangeArrowheads="1"/>
              </p:cNvSpPr>
              <p:nvPr/>
            </p:nvSpPr>
            <p:spPr bwMode="auto">
              <a:xfrm>
                <a:off x="10373753" y="2240429"/>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68" name="Oval 18"/>
              <p:cNvSpPr>
                <a:spLocks noChangeArrowheads="1"/>
              </p:cNvSpPr>
              <p:nvPr/>
            </p:nvSpPr>
            <p:spPr bwMode="auto">
              <a:xfrm>
                <a:off x="9996890" y="2697453"/>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73" name="Line 19"/>
              <p:cNvSpPr>
                <a:spLocks noChangeShapeType="1"/>
              </p:cNvSpPr>
              <p:nvPr/>
            </p:nvSpPr>
            <p:spPr bwMode="auto">
              <a:xfrm flipV="1">
                <a:off x="10990642" y="2689303"/>
                <a:ext cx="249019" cy="312050"/>
              </a:xfrm>
              <a:prstGeom prst="line">
                <a:avLst/>
              </a:prstGeom>
              <a:noFill/>
              <a:ln w="349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56" name="Oval 15"/>
              <p:cNvSpPr>
                <a:spLocks noChangeArrowheads="1"/>
              </p:cNvSpPr>
              <p:nvPr/>
            </p:nvSpPr>
            <p:spPr bwMode="auto">
              <a:xfrm>
                <a:off x="11195782" y="2541006"/>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67" name="Oval 17"/>
              <p:cNvSpPr>
                <a:spLocks noChangeArrowheads="1"/>
              </p:cNvSpPr>
              <p:nvPr/>
            </p:nvSpPr>
            <p:spPr bwMode="auto">
              <a:xfrm>
                <a:off x="10825725" y="2972345"/>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grpSp>
      <p:grpSp>
        <p:nvGrpSpPr>
          <p:cNvPr id="3" name="Group 2"/>
          <p:cNvGrpSpPr/>
          <p:nvPr/>
        </p:nvGrpSpPr>
        <p:grpSpPr>
          <a:xfrm>
            <a:off x="433875" y="2489433"/>
            <a:ext cx="1941094" cy="2611289"/>
            <a:chOff x="424542" y="2440842"/>
            <a:chExt cx="1903206" cy="2560320"/>
          </a:xfrm>
        </p:grpSpPr>
        <p:sp>
          <p:nvSpPr>
            <p:cNvPr id="47" name="Rectangle 46"/>
            <p:cNvSpPr/>
            <p:nvPr/>
          </p:nvSpPr>
          <p:spPr bwMode="auto">
            <a:xfrm>
              <a:off x="424542" y="3977041"/>
              <a:ext cx="1694329" cy="8022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563">
                <a:spcAft>
                  <a:spcPts val="1224"/>
                </a:spcAft>
                <a:buSzPct val="90000"/>
              </a:pPr>
              <a:r>
                <a:rPr lang="en-US" sz="1428" dirty="0">
                  <a:solidFill>
                    <a:schemeClr val="bg1"/>
                  </a:solidFill>
                </a:rPr>
                <a:t>Improving visibility</a:t>
              </a:r>
              <a:br>
                <a:rPr lang="en-US" sz="1428" dirty="0">
                  <a:solidFill>
                    <a:schemeClr val="bg1"/>
                  </a:solidFill>
                </a:rPr>
              </a:br>
              <a:r>
                <a:rPr lang="en-US" sz="1428" dirty="0">
                  <a:solidFill>
                    <a:schemeClr val="bg1"/>
                  </a:solidFill>
                </a:rPr>
                <a:t>and making accurate predictions with </a:t>
              </a:r>
              <a:r>
                <a:rPr lang="en-US" sz="1428" b="1" dirty="0">
                  <a:solidFill>
                    <a:schemeClr val="bg1"/>
                  </a:solidFill>
                </a:rPr>
                <a:t>remote monitoring</a:t>
              </a:r>
            </a:p>
            <a:p>
              <a:pPr marL="93260" indent="-93260" defTabSz="932563">
                <a:spcAft>
                  <a:spcPts val="1224"/>
                </a:spcAft>
                <a:buClr>
                  <a:srgbClr val="0078D7"/>
                </a:buClr>
                <a:buSzPct val="90000"/>
                <a:buFont typeface="Arial" panose="020B0604020202020204" pitchFamily="34" charset="0"/>
                <a:buChar char="•"/>
              </a:pPr>
              <a:endParaRPr lang="en-US" sz="1428" dirty="0">
                <a:solidFill>
                  <a:schemeClr val="bg1"/>
                </a:solidFill>
              </a:endParaRPr>
            </a:p>
            <a:p>
              <a:pPr defTabSz="932563">
                <a:spcAft>
                  <a:spcPts val="1224"/>
                </a:spcAft>
                <a:buSzPct val="90000"/>
              </a:pPr>
              <a:endParaRPr lang="en-US" sz="1428" dirty="0">
                <a:solidFill>
                  <a:schemeClr val="bg1"/>
                </a:solidFill>
              </a:endParaRPr>
            </a:p>
          </p:txBody>
        </p:sp>
        <p:grpSp>
          <p:nvGrpSpPr>
            <p:cNvPr id="36" name="Group 35"/>
            <p:cNvGrpSpPr/>
            <p:nvPr/>
          </p:nvGrpSpPr>
          <p:grpSpPr>
            <a:xfrm>
              <a:off x="478014" y="2556750"/>
              <a:ext cx="1111100" cy="1109584"/>
              <a:chOff x="-4075112" y="-1241425"/>
              <a:chExt cx="1162050" cy="1160463"/>
            </a:xfrm>
          </p:grpSpPr>
          <p:sp>
            <p:nvSpPr>
              <p:cNvPr id="37" name="Oval 7"/>
              <p:cNvSpPr>
                <a:spLocks noChangeArrowheads="1"/>
              </p:cNvSpPr>
              <p:nvPr/>
            </p:nvSpPr>
            <p:spPr bwMode="auto">
              <a:xfrm>
                <a:off x="-4075112" y="-1241425"/>
                <a:ext cx="744538" cy="755650"/>
              </a:xfrm>
              <a:prstGeom prst="ellipse">
                <a:avLst/>
              </a:prstGeom>
              <a:noFill/>
              <a:ln w="349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38" name="Line 8"/>
              <p:cNvSpPr>
                <a:spLocks noChangeShapeType="1"/>
              </p:cNvSpPr>
              <p:nvPr/>
            </p:nvSpPr>
            <p:spPr bwMode="auto">
              <a:xfrm>
                <a:off x="-3443287" y="-598487"/>
                <a:ext cx="112713" cy="112713"/>
              </a:xfrm>
              <a:prstGeom prst="line">
                <a:avLst/>
              </a:prstGeom>
              <a:noFill/>
              <a:ln w="349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39" name="Freeform 9"/>
              <p:cNvSpPr>
                <a:spLocks/>
              </p:cNvSpPr>
              <p:nvPr/>
            </p:nvSpPr>
            <p:spPr bwMode="auto">
              <a:xfrm>
                <a:off x="-3387725" y="-542925"/>
                <a:ext cx="474663" cy="461963"/>
              </a:xfrm>
              <a:custGeom>
                <a:avLst/>
                <a:gdLst>
                  <a:gd name="T0" fmla="*/ 299 w 299"/>
                  <a:gd name="T1" fmla="*/ 220 h 291"/>
                  <a:gd name="T2" fmla="*/ 228 w 299"/>
                  <a:gd name="T3" fmla="*/ 291 h 291"/>
                  <a:gd name="T4" fmla="*/ 0 w 299"/>
                  <a:gd name="T5" fmla="*/ 64 h 291"/>
                  <a:gd name="T6" fmla="*/ 71 w 299"/>
                  <a:gd name="T7" fmla="*/ 0 h 291"/>
                  <a:gd name="T8" fmla="*/ 299 w 299"/>
                  <a:gd name="T9" fmla="*/ 220 h 291"/>
                </a:gdLst>
                <a:ahLst/>
                <a:cxnLst>
                  <a:cxn ang="0">
                    <a:pos x="T0" y="T1"/>
                  </a:cxn>
                  <a:cxn ang="0">
                    <a:pos x="T2" y="T3"/>
                  </a:cxn>
                  <a:cxn ang="0">
                    <a:pos x="T4" y="T5"/>
                  </a:cxn>
                  <a:cxn ang="0">
                    <a:pos x="T6" y="T7"/>
                  </a:cxn>
                  <a:cxn ang="0">
                    <a:pos x="T8" y="T9"/>
                  </a:cxn>
                </a:cxnLst>
                <a:rect l="0" t="0" r="r" b="b"/>
                <a:pathLst>
                  <a:path w="299" h="291">
                    <a:moveTo>
                      <a:pt x="299" y="220"/>
                    </a:moveTo>
                    <a:lnTo>
                      <a:pt x="228" y="291"/>
                    </a:lnTo>
                    <a:lnTo>
                      <a:pt x="0" y="64"/>
                    </a:lnTo>
                    <a:lnTo>
                      <a:pt x="71" y="0"/>
                    </a:lnTo>
                    <a:lnTo>
                      <a:pt x="299" y="220"/>
                    </a:lnTo>
                    <a:close/>
                  </a:path>
                </a:pathLst>
              </a:cu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cxnSp>
          <p:nvCxnSpPr>
            <p:cNvPr id="7" name="Straight Connector 6"/>
            <p:cNvCxnSpPr/>
            <p:nvPr/>
          </p:nvCxnSpPr>
          <p:spPr>
            <a:xfrm>
              <a:off x="2327748" y="2440842"/>
              <a:ext cx="0" cy="2560320"/>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 name="Group 3"/>
          <p:cNvGrpSpPr/>
          <p:nvPr/>
        </p:nvGrpSpPr>
        <p:grpSpPr>
          <a:xfrm>
            <a:off x="2588005" y="2489433"/>
            <a:ext cx="2278325" cy="2611289"/>
            <a:chOff x="2536625" y="2440842"/>
            <a:chExt cx="2233855" cy="2560320"/>
          </a:xfrm>
        </p:grpSpPr>
        <p:cxnSp>
          <p:nvCxnSpPr>
            <p:cNvPr id="74" name="Straight Connector 73"/>
            <p:cNvCxnSpPr/>
            <p:nvPr/>
          </p:nvCxnSpPr>
          <p:spPr>
            <a:xfrm>
              <a:off x="4770480" y="2440842"/>
              <a:ext cx="0" cy="2560320"/>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bwMode="auto">
            <a:xfrm>
              <a:off x="2536625" y="3977042"/>
              <a:ext cx="2024978" cy="8022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563">
                <a:spcAft>
                  <a:spcPts val="1224"/>
                </a:spcAft>
                <a:buSzPct val="90000"/>
              </a:pPr>
              <a:r>
                <a:rPr lang="en-US" sz="1428" dirty="0">
                  <a:solidFill>
                    <a:schemeClr val="bg1"/>
                  </a:solidFill>
                </a:rPr>
                <a:t>Getting the right products to the right places with </a:t>
              </a:r>
              <a:r>
                <a:rPr lang="en-US" sz="1428" b="1" dirty="0">
                  <a:solidFill>
                    <a:schemeClr val="bg1"/>
                  </a:solidFill>
                </a:rPr>
                <a:t>inventory management</a:t>
              </a:r>
            </a:p>
          </p:txBody>
        </p:sp>
        <p:grpSp>
          <p:nvGrpSpPr>
            <p:cNvPr id="33" name="Group 32"/>
            <p:cNvGrpSpPr/>
            <p:nvPr/>
          </p:nvGrpSpPr>
          <p:grpSpPr>
            <a:xfrm>
              <a:off x="3179731" y="2563043"/>
              <a:ext cx="738766" cy="1096998"/>
              <a:chOff x="-2406650" y="179388"/>
              <a:chExt cx="788988" cy="1171575"/>
            </a:xfrm>
          </p:grpSpPr>
          <p:sp>
            <p:nvSpPr>
              <p:cNvPr id="34" name="Oval 5"/>
              <p:cNvSpPr>
                <a:spLocks noChangeArrowheads="1"/>
              </p:cNvSpPr>
              <p:nvPr/>
            </p:nvSpPr>
            <p:spPr bwMode="auto">
              <a:xfrm>
                <a:off x="-2124075" y="460375"/>
                <a:ext cx="225425" cy="225425"/>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35" name="Freeform 6"/>
              <p:cNvSpPr>
                <a:spLocks/>
              </p:cNvSpPr>
              <p:nvPr/>
            </p:nvSpPr>
            <p:spPr bwMode="auto">
              <a:xfrm>
                <a:off x="-2406650" y="179388"/>
                <a:ext cx="788988" cy="1171575"/>
              </a:xfrm>
              <a:custGeom>
                <a:avLst/>
                <a:gdLst>
                  <a:gd name="T0" fmla="*/ 70 w 70"/>
                  <a:gd name="T1" fmla="*/ 37 h 104"/>
                  <a:gd name="T2" fmla="*/ 35 w 70"/>
                  <a:gd name="T3" fmla="*/ 0 h 104"/>
                  <a:gd name="T4" fmla="*/ 0 w 70"/>
                  <a:gd name="T5" fmla="*/ 37 h 104"/>
                  <a:gd name="T6" fmla="*/ 35 w 70"/>
                  <a:gd name="T7" fmla="*/ 104 h 104"/>
                  <a:gd name="T8" fmla="*/ 70 w 70"/>
                  <a:gd name="T9" fmla="*/ 37 h 104"/>
                </a:gdLst>
                <a:ahLst/>
                <a:cxnLst>
                  <a:cxn ang="0">
                    <a:pos x="T0" y="T1"/>
                  </a:cxn>
                  <a:cxn ang="0">
                    <a:pos x="T2" y="T3"/>
                  </a:cxn>
                  <a:cxn ang="0">
                    <a:pos x="T4" y="T5"/>
                  </a:cxn>
                  <a:cxn ang="0">
                    <a:pos x="T6" y="T7"/>
                  </a:cxn>
                  <a:cxn ang="0">
                    <a:pos x="T8" y="T9"/>
                  </a:cxn>
                </a:cxnLst>
                <a:rect l="0" t="0" r="r" b="b"/>
                <a:pathLst>
                  <a:path w="70" h="104">
                    <a:moveTo>
                      <a:pt x="70" y="37"/>
                    </a:moveTo>
                    <a:cubicBezTo>
                      <a:pt x="70" y="17"/>
                      <a:pt x="54" y="0"/>
                      <a:pt x="35" y="0"/>
                    </a:cubicBezTo>
                    <a:cubicBezTo>
                      <a:pt x="16" y="0"/>
                      <a:pt x="0" y="17"/>
                      <a:pt x="0" y="37"/>
                    </a:cubicBezTo>
                    <a:cubicBezTo>
                      <a:pt x="0" y="62"/>
                      <a:pt x="35" y="104"/>
                      <a:pt x="35" y="104"/>
                    </a:cubicBezTo>
                    <a:cubicBezTo>
                      <a:pt x="35" y="104"/>
                      <a:pt x="70" y="62"/>
                      <a:pt x="70" y="37"/>
                    </a:cubicBezTo>
                    <a:close/>
                  </a:path>
                </a:pathLst>
              </a:custGeom>
              <a:noFill/>
              <a:ln w="349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grpSp>
      <p:grpSp>
        <p:nvGrpSpPr>
          <p:cNvPr id="6" name="Group 5"/>
          <p:cNvGrpSpPr/>
          <p:nvPr/>
        </p:nvGrpSpPr>
        <p:grpSpPr>
          <a:xfrm>
            <a:off x="5079365" y="2489433"/>
            <a:ext cx="2245260" cy="2611289"/>
            <a:chOff x="4979357" y="2440842"/>
            <a:chExt cx="2201435" cy="2560320"/>
          </a:xfrm>
        </p:grpSpPr>
        <p:cxnSp>
          <p:nvCxnSpPr>
            <p:cNvPr id="75" name="Straight Connector 74"/>
            <p:cNvCxnSpPr/>
            <p:nvPr/>
          </p:nvCxnSpPr>
          <p:spPr>
            <a:xfrm>
              <a:off x="7180792" y="2440842"/>
              <a:ext cx="0" cy="2560320"/>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0" name="Rectangle 49"/>
            <p:cNvSpPr/>
            <p:nvPr/>
          </p:nvSpPr>
          <p:spPr bwMode="auto">
            <a:xfrm>
              <a:off x="4979357" y="3977041"/>
              <a:ext cx="1992558" cy="9620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563">
                <a:spcAft>
                  <a:spcPts val="1224"/>
                </a:spcAft>
                <a:buSzPct val="90000"/>
              </a:pPr>
              <a:r>
                <a:rPr lang="en-US" sz="1428" dirty="0">
                  <a:solidFill>
                    <a:schemeClr val="bg1"/>
                  </a:solidFill>
                </a:rPr>
                <a:t>Offering customers exactly what they want, when they want it, with </a:t>
              </a:r>
              <a:r>
                <a:rPr lang="en-US" sz="1428" b="1" dirty="0">
                  <a:solidFill>
                    <a:schemeClr val="bg1"/>
                  </a:solidFill>
                </a:rPr>
                <a:t>personalization</a:t>
              </a:r>
            </a:p>
          </p:txBody>
        </p:sp>
        <p:grpSp>
          <p:nvGrpSpPr>
            <p:cNvPr id="40" name="Group 39"/>
            <p:cNvGrpSpPr/>
            <p:nvPr/>
          </p:nvGrpSpPr>
          <p:grpSpPr>
            <a:xfrm>
              <a:off x="5347610" y="2482848"/>
              <a:ext cx="1256052" cy="1171324"/>
              <a:chOff x="-1357312" y="-1714500"/>
              <a:chExt cx="1341438" cy="1250951"/>
            </a:xfrm>
          </p:grpSpPr>
          <p:sp>
            <p:nvSpPr>
              <p:cNvPr id="42" name="Freeform 11"/>
              <p:cNvSpPr>
                <a:spLocks/>
              </p:cNvSpPr>
              <p:nvPr/>
            </p:nvSpPr>
            <p:spPr bwMode="auto">
              <a:xfrm>
                <a:off x="-985837" y="-1714500"/>
                <a:ext cx="969963" cy="1239838"/>
              </a:xfrm>
              <a:custGeom>
                <a:avLst/>
                <a:gdLst>
                  <a:gd name="T0" fmla="*/ 6 w 86"/>
                  <a:gd name="T1" fmla="*/ 52 h 110"/>
                  <a:gd name="T2" fmla="*/ 24 w 86"/>
                  <a:gd name="T3" fmla="*/ 25 h 110"/>
                  <a:gd name="T4" fmla="*/ 24 w 86"/>
                  <a:gd name="T5" fmla="*/ 10 h 110"/>
                  <a:gd name="T6" fmla="*/ 31 w 86"/>
                  <a:gd name="T7" fmla="*/ 3 h 110"/>
                  <a:gd name="T8" fmla="*/ 43 w 86"/>
                  <a:gd name="T9" fmla="*/ 6 h 110"/>
                  <a:gd name="T10" fmla="*/ 50 w 86"/>
                  <a:gd name="T11" fmla="*/ 26 h 110"/>
                  <a:gd name="T12" fmla="*/ 47 w 86"/>
                  <a:gd name="T13" fmla="*/ 43 h 110"/>
                  <a:gd name="T14" fmla="*/ 76 w 86"/>
                  <a:gd name="T15" fmla="*/ 43 h 110"/>
                  <a:gd name="T16" fmla="*/ 86 w 86"/>
                  <a:gd name="T17" fmla="*/ 52 h 110"/>
                  <a:gd name="T18" fmla="*/ 78 w 86"/>
                  <a:gd name="T19" fmla="*/ 63 h 110"/>
                  <a:gd name="T20" fmla="*/ 83 w 86"/>
                  <a:gd name="T21" fmla="*/ 69 h 110"/>
                  <a:gd name="T22" fmla="*/ 76 w 86"/>
                  <a:gd name="T23" fmla="*/ 76 h 110"/>
                  <a:gd name="T24" fmla="*/ 81 w 86"/>
                  <a:gd name="T25" fmla="*/ 82 h 110"/>
                  <a:gd name="T26" fmla="*/ 75 w 86"/>
                  <a:gd name="T27" fmla="*/ 90 h 110"/>
                  <a:gd name="T28" fmla="*/ 78 w 86"/>
                  <a:gd name="T29" fmla="*/ 97 h 110"/>
                  <a:gd name="T30" fmla="*/ 63 w 86"/>
                  <a:gd name="T31" fmla="*/ 108 h 110"/>
                  <a:gd name="T32" fmla="*/ 14 w 86"/>
                  <a:gd name="T33" fmla="*/ 108 h 110"/>
                  <a:gd name="T34" fmla="*/ 0 w 86"/>
                  <a:gd name="T35" fmla="*/ 104 h 110"/>
                  <a:gd name="T36" fmla="*/ 0 w 86"/>
                  <a:gd name="T37" fmla="*/ 61 h 110"/>
                  <a:gd name="T38" fmla="*/ 6 w 86"/>
                  <a:gd name="T39" fmla="*/ 5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110">
                    <a:moveTo>
                      <a:pt x="6" y="52"/>
                    </a:moveTo>
                    <a:cubicBezTo>
                      <a:pt x="6" y="52"/>
                      <a:pt x="22" y="33"/>
                      <a:pt x="24" y="25"/>
                    </a:cubicBezTo>
                    <a:cubicBezTo>
                      <a:pt x="25" y="21"/>
                      <a:pt x="24" y="10"/>
                      <a:pt x="24" y="10"/>
                    </a:cubicBezTo>
                    <a:cubicBezTo>
                      <a:pt x="24" y="10"/>
                      <a:pt x="22" y="6"/>
                      <a:pt x="31" y="3"/>
                    </a:cubicBezTo>
                    <a:cubicBezTo>
                      <a:pt x="40" y="0"/>
                      <a:pt x="43" y="6"/>
                      <a:pt x="43" y="6"/>
                    </a:cubicBezTo>
                    <a:cubicBezTo>
                      <a:pt x="43" y="6"/>
                      <a:pt x="49" y="15"/>
                      <a:pt x="50" y="26"/>
                    </a:cubicBezTo>
                    <a:cubicBezTo>
                      <a:pt x="50" y="37"/>
                      <a:pt x="47" y="43"/>
                      <a:pt x="47" y="43"/>
                    </a:cubicBezTo>
                    <a:cubicBezTo>
                      <a:pt x="76" y="43"/>
                      <a:pt x="76" y="43"/>
                      <a:pt x="76" y="43"/>
                    </a:cubicBezTo>
                    <a:cubicBezTo>
                      <a:pt x="76" y="43"/>
                      <a:pt x="85" y="43"/>
                      <a:pt x="86" y="52"/>
                    </a:cubicBezTo>
                    <a:cubicBezTo>
                      <a:pt x="86" y="61"/>
                      <a:pt x="78" y="63"/>
                      <a:pt x="78" y="63"/>
                    </a:cubicBezTo>
                    <a:cubicBezTo>
                      <a:pt x="78" y="63"/>
                      <a:pt x="83" y="65"/>
                      <a:pt x="83" y="69"/>
                    </a:cubicBezTo>
                    <a:cubicBezTo>
                      <a:pt x="83" y="74"/>
                      <a:pt x="76" y="76"/>
                      <a:pt x="76" y="76"/>
                    </a:cubicBezTo>
                    <a:cubicBezTo>
                      <a:pt x="76" y="76"/>
                      <a:pt x="81" y="79"/>
                      <a:pt x="81" y="82"/>
                    </a:cubicBezTo>
                    <a:cubicBezTo>
                      <a:pt x="81" y="88"/>
                      <a:pt x="75" y="90"/>
                      <a:pt x="75" y="90"/>
                    </a:cubicBezTo>
                    <a:cubicBezTo>
                      <a:pt x="75" y="90"/>
                      <a:pt x="78" y="91"/>
                      <a:pt x="78" y="97"/>
                    </a:cubicBezTo>
                    <a:cubicBezTo>
                      <a:pt x="78" y="103"/>
                      <a:pt x="74" y="108"/>
                      <a:pt x="63" y="108"/>
                    </a:cubicBezTo>
                    <a:cubicBezTo>
                      <a:pt x="52" y="108"/>
                      <a:pt x="19" y="110"/>
                      <a:pt x="14" y="108"/>
                    </a:cubicBezTo>
                    <a:cubicBezTo>
                      <a:pt x="0" y="104"/>
                      <a:pt x="0" y="104"/>
                      <a:pt x="0" y="104"/>
                    </a:cubicBezTo>
                    <a:cubicBezTo>
                      <a:pt x="0" y="61"/>
                      <a:pt x="0" y="61"/>
                      <a:pt x="0" y="61"/>
                    </a:cubicBezTo>
                    <a:lnTo>
                      <a:pt x="6" y="52"/>
                    </a:lnTo>
                    <a:close/>
                  </a:path>
                </a:pathLst>
              </a:custGeom>
              <a:noFill/>
              <a:ln w="349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41" name="Freeform 10"/>
              <p:cNvSpPr>
                <a:spLocks/>
              </p:cNvSpPr>
              <p:nvPr/>
            </p:nvSpPr>
            <p:spPr bwMode="auto">
              <a:xfrm>
                <a:off x="-1357312" y="-1128712"/>
                <a:ext cx="360363" cy="665163"/>
              </a:xfrm>
              <a:custGeom>
                <a:avLst/>
                <a:gdLst>
                  <a:gd name="T0" fmla="*/ 24 w 32"/>
                  <a:gd name="T1" fmla="*/ 59 h 59"/>
                  <a:gd name="T2" fmla="*/ 7 w 32"/>
                  <a:gd name="T3" fmla="*/ 59 h 59"/>
                  <a:gd name="T4" fmla="*/ 0 w 32"/>
                  <a:gd name="T5" fmla="*/ 52 h 59"/>
                  <a:gd name="T6" fmla="*/ 0 w 32"/>
                  <a:gd name="T7" fmla="*/ 8 h 59"/>
                  <a:gd name="T8" fmla="*/ 7 w 32"/>
                  <a:gd name="T9" fmla="*/ 0 h 59"/>
                  <a:gd name="T10" fmla="*/ 24 w 32"/>
                  <a:gd name="T11" fmla="*/ 0 h 59"/>
                  <a:gd name="T12" fmla="*/ 32 w 32"/>
                  <a:gd name="T13" fmla="*/ 8 h 59"/>
                  <a:gd name="T14" fmla="*/ 32 w 32"/>
                  <a:gd name="T15" fmla="*/ 52 h 59"/>
                  <a:gd name="T16" fmla="*/ 24 w 32"/>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9">
                    <a:moveTo>
                      <a:pt x="24" y="59"/>
                    </a:moveTo>
                    <a:cubicBezTo>
                      <a:pt x="7" y="59"/>
                      <a:pt x="7" y="59"/>
                      <a:pt x="7" y="59"/>
                    </a:cubicBezTo>
                    <a:cubicBezTo>
                      <a:pt x="3" y="59"/>
                      <a:pt x="0" y="56"/>
                      <a:pt x="0" y="52"/>
                    </a:cubicBezTo>
                    <a:cubicBezTo>
                      <a:pt x="0" y="8"/>
                      <a:pt x="0" y="8"/>
                      <a:pt x="0" y="8"/>
                    </a:cubicBezTo>
                    <a:cubicBezTo>
                      <a:pt x="0" y="4"/>
                      <a:pt x="3" y="0"/>
                      <a:pt x="7" y="0"/>
                    </a:cubicBezTo>
                    <a:cubicBezTo>
                      <a:pt x="24" y="0"/>
                      <a:pt x="24" y="0"/>
                      <a:pt x="24" y="0"/>
                    </a:cubicBezTo>
                    <a:cubicBezTo>
                      <a:pt x="28" y="0"/>
                      <a:pt x="32" y="4"/>
                      <a:pt x="32" y="8"/>
                    </a:cubicBezTo>
                    <a:cubicBezTo>
                      <a:pt x="32" y="52"/>
                      <a:pt x="32" y="52"/>
                      <a:pt x="32" y="52"/>
                    </a:cubicBezTo>
                    <a:cubicBezTo>
                      <a:pt x="32" y="56"/>
                      <a:pt x="28" y="59"/>
                      <a:pt x="24" y="59"/>
                    </a:cubicBezTo>
                    <a:close/>
                  </a:path>
                </a:pathLst>
              </a:cu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grpSp>
      <p:grpSp>
        <p:nvGrpSpPr>
          <p:cNvPr id="8" name="Group 7"/>
          <p:cNvGrpSpPr/>
          <p:nvPr/>
        </p:nvGrpSpPr>
        <p:grpSpPr>
          <a:xfrm>
            <a:off x="7537661" y="2489433"/>
            <a:ext cx="2370605" cy="2611289"/>
            <a:chOff x="7389670" y="2440842"/>
            <a:chExt cx="2324334" cy="2560320"/>
          </a:xfrm>
        </p:grpSpPr>
        <p:cxnSp>
          <p:nvCxnSpPr>
            <p:cNvPr id="76" name="Straight Connector 75"/>
            <p:cNvCxnSpPr/>
            <p:nvPr/>
          </p:nvCxnSpPr>
          <p:spPr>
            <a:xfrm>
              <a:off x="9714004" y="2440842"/>
              <a:ext cx="0" cy="2560320"/>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bwMode="auto">
            <a:xfrm>
              <a:off x="7389670" y="3977041"/>
              <a:ext cx="2115457" cy="7191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563">
                <a:spcAft>
                  <a:spcPts val="1224"/>
                </a:spcAft>
                <a:buSzPct val="90000"/>
              </a:pPr>
              <a:r>
                <a:rPr lang="en-US" sz="1428" dirty="0">
                  <a:solidFill>
                    <a:schemeClr val="bg1"/>
                  </a:solidFill>
                </a:rPr>
                <a:t>Fixing problems proactively before they start with </a:t>
              </a:r>
              <a:r>
                <a:rPr lang="en-US" sz="1428" b="1" dirty="0">
                  <a:solidFill>
                    <a:schemeClr val="bg1"/>
                  </a:solidFill>
                </a:rPr>
                <a:t>predictive maintenance</a:t>
              </a:r>
            </a:p>
          </p:txBody>
        </p:sp>
        <p:grpSp>
          <p:nvGrpSpPr>
            <p:cNvPr id="43" name="Group 42"/>
            <p:cNvGrpSpPr/>
            <p:nvPr/>
          </p:nvGrpSpPr>
          <p:grpSpPr>
            <a:xfrm>
              <a:off x="7851331" y="2514732"/>
              <a:ext cx="1192136" cy="1193620"/>
              <a:chOff x="-5133975" y="584200"/>
              <a:chExt cx="1273175" cy="1274763"/>
            </a:xfrm>
          </p:grpSpPr>
          <p:sp>
            <p:nvSpPr>
              <p:cNvPr id="44" name="Freeform 12"/>
              <p:cNvSpPr>
                <a:spLocks/>
              </p:cNvSpPr>
              <p:nvPr/>
            </p:nvSpPr>
            <p:spPr bwMode="auto">
              <a:xfrm>
                <a:off x="-5133975" y="584200"/>
                <a:ext cx="1273175" cy="1274763"/>
              </a:xfrm>
              <a:custGeom>
                <a:avLst/>
                <a:gdLst>
                  <a:gd name="T0" fmla="*/ 93 w 113"/>
                  <a:gd name="T1" fmla="*/ 20 h 113"/>
                  <a:gd name="T2" fmla="*/ 93 w 113"/>
                  <a:gd name="T3" fmla="*/ 93 h 113"/>
                  <a:gd name="T4" fmla="*/ 20 w 113"/>
                  <a:gd name="T5" fmla="*/ 93 h 113"/>
                  <a:gd name="T6" fmla="*/ 20 w 113"/>
                  <a:gd name="T7" fmla="*/ 20 h 113"/>
                  <a:gd name="T8" fmla="*/ 93 w 113"/>
                  <a:gd name="T9" fmla="*/ 20 h 113"/>
                </a:gdLst>
                <a:ahLst/>
                <a:cxnLst>
                  <a:cxn ang="0">
                    <a:pos x="T0" y="T1"/>
                  </a:cxn>
                  <a:cxn ang="0">
                    <a:pos x="T2" y="T3"/>
                  </a:cxn>
                  <a:cxn ang="0">
                    <a:pos x="T4" y="T5"/>
                  </a:cxn>
                  <a:cxn ang="0">
                    <a:pos x="T6" y="T7"/>
                  </a:cxn>
                  <a:cxn ang="0">
                    <a:pos x="T8" y="T9"/>
                  </a:cxn>
                </a:cxnLst>
                <a:rect l="0" t="0" r="r" b="b"/>
                <a:pathLst>
                  <a:path w="113" h="113">
                    <a:moveTo>
                      <a:pt x="93" y="20"/>
                    </a:moveTo>
                    <a:cubicBezTo>
                      <a:pt x="113" y="40"/>
                      <a:pt x="113" y="73"/>
                      <a:pt x="93" y="93"/>
                    </a:cubicBezTo>
                    <a:cubicBezTo>
                      <a:pt x="73" y="113"/>
                      <a:pt x="40" y="113"/>
                      <a:pt x="20" y="93"/>
                    </a:cubicBezTo>
                    <a:cubicBezTo>
                      <a:pt x="0" y="73"/>
                      <a:pt x="0" y="40"/>
                      <a:pt x="20" y="20"/>
                    </a:cubicBezTo>
                    <a:cubicBezTo>
                      <a:pt x="40" y="0"/>
                      <a:pt x="73" y="0"/>
                      <a:pt x="93" y="20"/>
                    </a:cubicBezTo>
                    <a:close/>
                  </a:path>
                </a:pathLst>
              </a:custGeom>
              <a:noFill/>
              <a:ln w="349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45" name="Line 13"/>
              <p:cNvSpPr>
                <a:spLocks noChangeShapeType="1"/>
              </p:cNvSpPr>
              <p:nvPr/>
            </p:nvSpPr>
            <p:spPr bwMode="auto">
              <a:xfrm>
                <a:off x="-4503737" y="935038"/>
                <a:ext cx="0" cy="415925"/>
              </a:xfrm>
              <a:prstGeom prst="line">
                <a:avLst/>
              </a:prstGeom>
              <a:noFill/>
              <a:ln w="34925"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46" name="Line 14"/>
              <p:cNvSpPr>
                <a:spLocks noChangeShapeType="1"/>
              </p:cNvSpPr>
              <p:nvPr/>
            </p:nvSpPr>
            <p:spPr bwMode="auto">
              <a:xfrm>
                <a:off x="-4503737" y="1430338"/>
                <a:ext cx="0" cy="68263"/>
              </a:xfrm>
              <a:prstGeom prst="line">
                <a:avLst/>
              </a:prstGeom>
              <a:noFill/>
              <a:ln w="34925"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endParaRPr lang="en-US" sz="1836"/>
              </a:p>
            </p:txBody>
          </p:sp>
        </p:grpSp>
      </p:grpSp>
    </p:spTree>
    <p:extLst>
      <p:ext uri="{BB962C8B-B14F-4D97-AF65-F5344CB8AC3E}">
        <p14:creationId xmlns:p14="http://schemas.microsoft.com/office/powerpoint/2010/main" val="961941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5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nodeType="withEffect">
                                  <p:stCondLst>
                                    <p:cond delay="7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100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nodeType="withEffect">
                                  <p:stCondLst>
                                    <p:cond delay="125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948777" y="1"/>
            <a:ext cx="5486815" cy="6463458"/>
          </a:xfrm>
          <a:prstGeom prst="rect">
            <a:avLst/>
          </a:prstGeom>
        </p:spPr>
      </p:pic>
      <p:sp>
        <p:nvSpPr>
          <p:cNvPr id="2" name="Title 1"/>
          <p:cNvSpPr>
            <a:spLocks noGrp="1"/>
          </p:cNvSpPr>
          <p:nvPr>
            <p:ph type="title"/>
          </p:nvPr>
        </p:nvSpPr>
        <p:spPr>
          <a:xfrm>
            <a:off x="275481" y="295274"/>
            <a:ext cx="6533729" cy="917575"/>
          </a:xfrm>
        </p:spPr>
        <p:txBody>
          <a:bodyPr/>
          <a:lstStyle/>
          <a:p>
            <a:r>
              <a:rPr lang="en-US" dirty="0"/>
              <a:t>Offer customers exactly what they want, when they want it</a:t>
            </a:r>
          </a:p>
        </p:txBody>
      </p:sp>
      <p:sp>
        <p:nvSpPr>
          <p:cNvPr id="3" name="Content Placeholder 2"/>
          <p:cNvSpPr>
            <a:spLocks noGrp="1"/>
          </p:cNvSpPr>
          <p:nvPr>
            <p:ph sz="quarter" idx="4294967295"/>
          </p:nvPr>
        </p:nvSpPr>
        <p:spPr>
          <a:xfrm>
            <a:off x="452612" y="1709773"/>
            <a:ext cx="6469936" cy="753411"/>
          </a:xfrm>
        </p:spPr>
        <p:txBody>
          <a:bodyPr vert="horz" wrap="square" lIns="0" tIns="0" rIns="0" bIns="0" rtlCol="0">
            <a:spAutoFit/>
          </a:bodyPr>
          <a:lstStyle/>
          <a:p>
            <a:pPr marL="0" indent="0">
              <a:lnSpc>
                <a:spcPct val="100000"/>
              </a:lnSpc>
              <a:spcBef>
                <a:spcPts val="0"/>
              </a:spcBef>
              <a:buNone/>
            </a:pPr>
            <a:r>
              <a:rPr lang="en-US" sz="2448" i="1" dirty="0">
                <a:solidFill>
                  <a:schemeClr val="accent1"/>
                </a:solidFill>
              </a:rPr>
              <a:t>Tangerine instantly adapts to</a:t>
            </a:r>
            <a:br>
              <a:rPr lang="en-US" sz="2448" i="1" dirty="0">
                <a:solidFill>
                  <a:schemeClr val="accent1"/>
                </a:solidFill>
              </a:rPr>
            </a:br>
            <a:r>
              <a:rPr lang="en-US" sz="2448" i="1" dirty="0">
                <a:solidFill>
                  <a:schemeClr val="accent1"/>
                </a:solidFill>
              </a:rPr>
              <a:t>customer feedback</a:t>
            </a:r>
          </a:p>
        </p:txBody>
      </p:sp>
      <p:sp>
        <p:nvSpPr>
          <p:cNvPr id="5" name="Rectangle 4"/>
          <p:cNvSpPr/>
          <p:nvPr/>
        </p:nvSpPr>
        <p:spPr bwMode="auto">
          <a:xfrm>
            <a:off x="10702982"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6" name="Rectangle 5"/>
          <p:cNvSpPr/>
          <p:nvPr/>
        </p:nvSpPr>
        <p:spPr bwMode="auto">
          <a:xfrm>
            <a:off x="11001815"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7" name="Rectangle 6"/>
          <p:cNvSpPr/>
          <p:nvPr/>
        </p:nvSpPr>
        <p:spPr bwMode="auto">
          <a:xfrm>
            <a:off x="11300647" y="279071"/>
            <a:ext cx="265048" cy="265049"/>
          </a:xfrm>
          <a:prstGeom prst="rect">
            <a:avLst/>
          </a:prstGeom>
          <a:solidFill>
            <a:srgbClr val="3393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8" name="Rectangle 7"/>
          <p:cNvSpPr/>
          <p:nvPr/>
        </p:nvSpPr>
        <p:spPr bwMode="auto">
          <a:xfrm>
            <a:off x="11599480" y="279071"/>
            <a:ext cx="265048" cy="265049"/>
          </a:xfrm>
          <a:prstGeom prst="rect">
            <a:avLst/>
          </a:prstGeom>
          <a:solidFill>
            <a:srgbClr val="9696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9" name="Rectangle 8"/>
          <p:cNvSpPr/>
          <p:nvPr/>
        </p:nvSpPr>
        <p:spPr bwMode="auto">
          <a:xfrm>
            <a:off x="11898311"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19" name="Rectangle 11"/>
          <p:cNvSpPr/>
          <p:nvPr/>
        </p:nvSpPr>
        <p:spPr>
          <a:xfrm>
            <a:off x="6949645" y="2051727"/>
            <a:ext cx="5485947" cy="4411732"/>
          </a:xfrm>
          <a:prstGeom prst="rect">
            <a:avLst/>
          </a:prstGeom>
          <a:gradFill flip="none" rotWithShape="1">
            <a:gsLst>
              <a:gs pos="46000">
                <a:srgbClr val="000000">
                  <a:alpha val="38000"/>
                </a:srgbClr>
              </a:gs>
              <a:gs pos="0">
                <a:schemeClr val="tx1">
                  <a:alpha val="0"/>
                </a:schemeClr>
              </a:gs>
              <a:gs pos="84000">
                <a:sysClr val="windowText" lastClr="000000">
                  <a:alpha val="54000"/>
                </a:sysClr>
              </a:gs>
            </a:gsLst>
            <a:lin ang="5400000" scaled="1"/>
            <a:tileRect/>
          </a:gradFill>
        </p:spPr>
        <p:txBody>
          <a:bodyPr wrap="square" rIns="186521" bIns="285351" anchor="b">
            <a:noAutofit/>
          </a:bodyPr>
          <a:lstStyle/>
          <a:p>
            <a:pPr algn="r" defTabSz="951156">
              <a:spcBef>
                <a:spcPts val="1248"/>
              </a:spcBef>
              <a:defRPr/>
            </a:pPr>
            <a:r>
              <a:rPr lang="en-US" sz="1632" dirty="0"/>
              <a:t>“I can see us…creating predictive, context-aware financial services applications that give information based on the time and where the customer is.”</a:t>
            </a:r>
            <a:endParaRPr lang="en-US" sz="1632" kern="0" dirty="0">
              <a:solidFill>
                <a:prstClr val="white"/>
              </a:solidFill>
            </a:endParaRPr>
          </a:p>
          <a:p>
            <a:pPr algn="r" defTabSz="951156">
              <a:spcBef>
                <a:spcPts val="1248"/>
              </a:spcBef>
              <a:defRPr/>
            </a:pPr>
            <a:r>
              <a:rPr lang="en-US" sz="1428" i="1" kern="0" dirty="0">
                <a:solidFill>
                  <a:prstClr val="white"/>
                </a:solidFill>
                <a:cs typeface="Segoe UI" panose="020B0502040204020203" pitchFamily="34" charset="0"/>
              </a:rPr>
              <a:t>Billy Lo</a:t>
            </a:r>
            <a:br>
              <a:rPr lang="en-US" sz="1428" i="1" kern="0" dirty="0">
                <a:solidFill>
                  <a:prstClr val="white"/>
                </a:solidFill>
                <a:cs typeface="Segoe UI" panose="020B0502040204020203" pitchFamily="34" charset="0"/>
              </a:rPr>
            </a:br>
            <a:r>
              <a:rPr lang="en-US" sz="1428" i="1" kern="0" dirty="0">
                <a:solidFill>
                  <a:prstClr val="white"/>
                </a:solidFill>
                <a:cs typeface="Segoe UI" panose="020B0502040204020203" pitchFamily="34" charset="0"/>
              </a:rPr>
              <a:t>Head of Enterprise Architecture</a:t>
            </a:r>
            <a:endParaRPr lang="en-US" sz="1632" i="1" kern="0" dirty="0">
              <a:solidFill>
                <a:prstClr val="white"/>
              </a:solidFill>
              <a:cs typeface="Segoe UI" panose="020B0502040204020203" pitchFamily="34" charset="0"/>
            </a:endParaRPr>
          </a:p>
        </p:txBody>
      </p:sp>
      <p:graphicFrame>
        <p:nvGraphicFramePr>
          <p:cNvPr id="27" name="Table 26"/>
          <p:cNvGraphicFramePr>
            <a:graphicFrameLocks noGrp="1"/>
          </p:cNvGraphicFramePr>
          <p:nvPr>
            <p:extLst/>
          </p:nvPr>
        </p:nvGraphicFramePr>
        <p:xfrm>
          <a:off x="479915" y="2845835"/>
          <a:ext cx="5738323" cy="2943348"/>
        </p:xfrm>
        <a:graphic>
          <a:graphicData uri="http://schemas.openxmlformats.org/drawingml/2006/table">
            <a:tbl>
              <a:tblPr firstRow="1" bandRow="1">
                <a:tableStyleId>{2D5ABB26-0587-4C30-8999-92F81FD0307C}</a:tableStyleId>
              </a:tblPr>
              <a:tblGrid>
                <a:gridCol w="1003989">
                  <a:extLst>
                    <a:ext uri="{9D8B030D-6E8A-4147-A177-3AD203B41FA5}">
                      <a16:colId xmlns:a16="http://schemas.microsoft.com/office/drawing/2014/main" val="20000"/>
                    </a:ext>
                  </a:extLst>
                </a:gridCol>
                <a:gridCol w="4734334">
                  <a:extLst>
                    <a:ext uri="{9D8B030D-6E8A-4147-A177-3AD203B41FA5}">
                      <a16:colId xmlns:a16="http://schemas.microsoft.com/office/drawing/2014/main" val="20001"/>
                    </a:ext>
                  </a:extLst>
                </a:gridCol>
              </a:tblGrid>
              <a:tr h="611894">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Scenario</a:t>
                      </a:r>
                    </a:p>
                  </a:txBody>
                  <a:tcPr marL="0" marR="0" marT="46630" marB="46630" anchor="ctr">
                    <a:lnR w="19050" cap="flat" cmpd="sng" algn="ctr">
                      <a:solidFill>
                        <a:schemeClr val="tx1"/>
                      </a:solidFill>
                      <a:prstDash val="solid"/>
                      <a:round/>
                      <a:headEnd type="none" w="med" len="med"/>
                      <a:tailEnd type="none" w="med" len="med"/>
                    </a:lnR>
                    <a:lnB w="9525" cap="flat" cmpd="sng" algn="ctr">
                      <a:solidFill>
                        <a:schemeClr val="tx1">
                          <a:lumMod val="75000"/>
                        </a:schemeClr>
                      </a:solidFill>
                      <a:prstDash val="sysDot"/>
                      <a:round/>
                      <a:headEnd type="none" w="med" len="med"/>
                      <a:tailEnd type="none" w="med" len="med"/>
                    </a:lnB>
                  </a:tcPr>
                </a:tc>
                <a:tc>
                  <a:txBody>
                    <a:bodyPr/>
                    <a:lstStyle/>
                    <a:p>
                      <a:r>
                        <a:rPr lang="en-US" sz="1400" kern="0" dirty="0">
                          <a:solidFill>
                            <a:schemeClr val="bg1"/>
                          </a:solidFill>
                          <a:latin typeface="+mn-lt"/>
                          <a:ea typeface="+mn-ea"/>
                          <a:cs typeface="+mn-cs"/>
                        </a:rPr>
                        <a:t>Lack of insight for targeted campaigns | </a:t>
                      </a:r>
                      <a:br>
                        <a:rPr lang="en-US" sz="1400" kern="0" dirty="0">
                          <a:solidFill>
                            <a:schemeClr val="bg1"/>
                          </a:solidFill>
                          <a:latin typeface="+mn-lt"/>
                          <a:ea typeface="+mn-ea"/>
                          <a:cs typeface="+mn-cs"/>
                        </a:rPr>
                      </a:br>
                      <a:r>
                        <a:rPr lang="en-US" sz="1400" kern="0" dirty="0">
                          <a:solidFill>
                            <a:schemeClr val="bg1"/>
                          </a:solidFill>
                          <a:latin typeface="+mn-lt"/>
                          <a:ea typeface="+mn-ea"/>
                          <a:cs typeface="+mn-cs"/>
                        </a:rPr>
                        <a:t>Inability to support data growth</a:t>
                      </a:r>
                    </a:p>
                  </a:txBody>
                  <a:tcPr marL="0" marR="0" marT="46630" marB="46630" anchor="ctr">
                    <a:lnL w="19050" cap="flat" cmpd="sng" algn="ctr">
                      <a:solidFill>
                        <a:schemeClr val="tx1"/>
                      </a:solidFill>
                      <a:prstDash val="solid"/>
                      <a:round/>
                      <a:headEnd type="none" w="med" len="med"/>
                      <a:tailEnd type="none" w="med" len="med"/>
                    </a:lnL>
                    <a:lnB w="9525" cap="flat" cmpd="sng" algn="ctr">
                      <a:solidFill>
                        <a:schemeClr val="tx1">
                          <a:lumMod val="75000"/>
                        </a:schemeClr>
                      </a:solidFill>
                      <a:prstDash val="sysDot"/>
                      <a:round/>
                      <a:headEnd type="none" w="med" len="med"/>
                      <a:tailEnd type="none" w="med" len="med"/>
                    </a:lnB>
                  </a:tcPr>
                </a:tc>
                <a:extLst>
                  <a:ext uri="{0D108BD9-81ED-4DB2-BD59-A6C34878D82A}">
                    <a16:rowId xmlns:a16="http://schemas.microsoft.com/office/drawing/2014/main" val="10000"/>
                  </a:ext>
                </a:extLst>
              </a:tr>
              <a:tr h="963690">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Solution</a:t>
                      </a:r>
                    </a:p>
                  </a:txBody>
                  <a:tcPr marL="0" marR="0" marT="46630" marB="46630" anchor="ctr">
                    <a:lnR w="19050" cap="flat" cmpd="sng" algn="ctr">
                      <a:solidFill>
                        <a:schemeClr val="tx1"/>
                      </a:solidFill>
                      <a:prstDash val="solid"/>
                      <a:round/>
                      <a:headEnd type="none" w="med" len="med"/>
                      <a:tailEnd type="none" w="med" len="med"/>
                    </a:lnR>
                    <a:lnT w="9525" cap="flat" cmpd="sng" algn="ctr">
                      <a:solidFill>
                        <a:schemeClr val="tx1">
                          <a:lumMod val="75000"/>
                        </a:schemeClr>
                      </a:solidFill>
                      <a:prstDash val="sysDot"/>
                      <a:round/>
                      <a:headEnd type="none" w="med" len="med"/>
                      <a:tailEnd type="none" w="med" len="med"/>
                    </a:lnT>
                    <a:lnB w="9525" cap="flat" cmpd="sng" algn="ctr">
                      <a:solidFill>
                        <a:schemeClr val="tx1">
                          <a:lumMod val="75000"/>
                        </a:schemeClr>
                      </a:solidFill>
                      <a:prstDash val="sysDot"/>
                      <a:round/>
                      <a:headEnd type="none" w="med" len="med"/>
                      <a:tailEnd type="none" w="med" len="med"/>
                    </a:lnB>
                  </a:tcPr>
                </a:tc>
                <a:tc>
                  <a:txBody>
                    <a:bodyPr/>
                    <a:lstStyle/>
                    <a:p>
                      <a:r>
                        <a:rPr lang="en-US" sz="1400" kern="0" dirty="0">
                          <a:solidFill>
                            <a:schemeClr val="bg1"/>
                          </a:solidFill>
                          <a:latin typeface="+mn-lt"/>
                          <a:ea typeface="+mn-ea"/>
                          <a:cs typeface="+mn-cs"/>
                        </a:rPr>
                        <a:t>Microsoft</a:t>
                      </a:r>
                      <a:r>
                        <a:rPr lang="en-US" sz="1400" kern="0" baseline="0" dirty="0">
                          <a:solidFill>
                            <a:schemeClr val="bg1"/>
                          </a:solidFill>
                          <a:latin typeface="+mn-lt"/>
                          <a:ea typeface="+mn-ea"/>
                          <a:cs typeface="+mn-cs"/>
                        </a:rPr>
                        <a:t> </a:t>
                      </a:r>
                      <a:r>
                        <a:rPr lang="en-US" sz="1400" kern="0" dirty="0">
                          <a:solidFill>
                            <a:schemeClr val="bg1"/>
                          </a:solidFill>
                          <a:latin typeface="+mn-lt"/>
                          <a:ea typeface="+mn-ea"/>
                          <a:cs typeface="+mn-cs"/>
                        </a:rPr>
                        <a:t>Analytics Platform System (APS) along</a:t>
                      </a:r>
                      <a:r>
                        <a:rPr lang="en-US" sz="1400" kern="0" baseline="0" dirty="0">
                          <a:solidFill>
                            <a:schemeClr val="bg1"/>
                          </a:solidFill>
                          <a:latin typeface="+mn-lt"/>
                          <a:ea typeface="+mn-ea"/>
                          <a:cs typeface="+mn-cs"/>
                        </a:rPr>
                        <a:t> with Azure HDInsight</a:t>
                      </a:r>
                      <a:r>
                        <a:rPr lang="en-US" sz="1400" kern="0" dirty="0">
                          <a:solidFill>
                            <a:schemeClr val="bg1"/>
                          </a:solidFill>
                          <a:latin typeface="+mn-lt"/>
                          <a:ea typeface="+mn-ea"/>
                          <a:cs typeface="+mn-cs"/>
                        </a:rPr>
                        <a:t> (Hadoop-as-a-service)</a:t>
                      </a:r>
                      <a:r>
                        <a:rPr lang="en-US" sz="1400" kern="0" baseline="0" dirty="0">
                          <a:solidFill>
                            <a:schemeClr val="bg1"/>
                          </a:solidFill>
                          <a:latin typeface="+mn-lt"/>
                          <a:ea typeface="+mn-ea"/>
                          <a:cs typeface="+mn-cs"/>
                        </a:rPr>
                        <a:t> </a:t>
                      </a:r>
                      <a:r>
                        <a:rPr lang="en-US" sz="1400" kern="0" dirty="0">
                          <a:solidFill>
                            <a:schemeClr val="bg1"/>
                          </a:solidFill>
                          <a:latin typeface="+mn-lt"/>
                          <a:ea typeface="+mn-ea"/>
                          <a:cs typeface="+mn-cs"/>
                        </a:rPr>
                        <a:t>enables instant analysis of social sentiment and customer feedback </a:t>
                      </a:r>
                      <a:r>
                        <a:rPr lang="en-US" sz="1400" kern="0" baseline="0" dirty="0">
                          <a:solidFill>
                            <a:schemeClr val="bg1"/>
                          </a:solidFill>
                          <a:latin typeface="+mn-lt"/>
                          <a:ea typeface="+mn-ea"/>
                          <a:cs typeface="+mn-cs"/>
                        </a:rPr>
                        <a:t>across </a:t>
                      </a:r>
                      <a:r>
                        <a:rPr lang="en-US" sz="1400" kern="0" dirty="0">
                          <a:solidFill>
                            <a:schemeClr val="bg1"/>
                          </a:solidFill>
                          <a:latin typeface="+mn-lt"/>
                          <a:ea typeface="+mn-ea"/>
                          <a:cs typeface="+mn-cs"/>
                        </a:rPr>
                        <a:t>digital, face-to-face and phone interactions. </a:t>
                      </a:r>
                    </a:p>
                  </a:txBody>
                  <a:tcPr marL="0" marR="0" marT="46630" marB="46630" anchor="ctr">
                    <a:lnL w="19050" cap="flat" cmpd="sng" algn="ctr">
                      <a:solidFill>
                        <a:schemeClr val="tx1"/>
                      </a:solidFill>
                      <a:prstDash val="solid"/>
                      <a:round/>
                      <a:headEnd type="none" w="med" len="med"/>
                      <a:tailEnd type="none" w="med" len="med"/>
                    </a:lnL>
                    <a:lnT w="9525" cap="flat" cmpd="sng" algn="ctr">
                      <a:solidFill>
                        <a:schemeClr val="tx1">
                          <a:lumMod val="75000"/>
                        </a:schemeClr>
                      </a:solidFill>
                      <a:prstDash val="sysDot"/>
                      <a:round/>
                      <a:headEnd type="none" w="med" len="med"/>
                      <a:tailEnd type="none" w="med" len="med"/>
                    </a:lnT>
                    <a:lnB w="9525" cap="flat" cmpd="sng" algn="ctr">
                      <a:solidFill>
                        <a:schemeClr val="tx1">
                          <a:lumMod val="75000"/>
                        </a:schemeClr>
                      </a:solidFill>
                      <a:prstDash val="sysDot"/>
                      <a:round/>
                      <a:headEnd type="none" w="med" len="med"/>
                      <a:tailEnd type="none" w="med" len="med"/>
                    </a:lnB>
                  </a:tcPr>
                </a:tc>
                <a:extLst>
                  <a:ext uri="{0D108BD9-81ED-4DB2-BD59-A6C34878D82A}">
                    <a16:rowId xmlns:a16="http://schemas.microsoft.com/office/drawing/2014/main" val="10001"/>
                  </a:ext>
                </a:extLst>
              </a:tr>
              <a:tr h="1367764">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Result</a:t>
                      </a:r>
                    </a:p>
                  </a:txBody>
                  <a:tcPr marL="0" marR="0" marT="46630" marB="46630" anchor="ctr">
                    <a:lnR w="19050" cap="flat" cmpd="sng" algn="ctr">
                      <a:solidFill>
                        <a:schemeClr val="tx1"/>
                      </a:solidFill>
                      <a:prstDash val="solid"/>
                      <a:round/>
                      <a:headEnd type="none" w="med" len="med"/>
                      <a:tailEnd type="none" w="med" len="med"/>
                    </a:lnR>
                    <a:lnT w="9525" cap="flat" cmpd="sng" algn="ctr">
                      <a:solidFill>
                        <a:schemeClr val="tx1">
                          <a:lumMod val="75000"/>
                        </a:schemeClr>
                      </a:solidFill>
                      <a:prstDash val="sysDot"/>
                      <a:round/>
                      <a:headEnd type="none" w="med" len="med"/>
                      <a:tailEnd type="none" w="med" len="med"/>
                    </a:lnT>
                  </a:tcPr>
                </a:tc>
                <a:tc>
                  <a:txBody>
                    <a:bodyPr/>
                    <a:lstStyle/>
                    <a:p>
                      <a:pPr marL="177800" indent="-177800">
                        <a:buFont typeface="Arial" panose="020B0604020202020204" pitchFamily="34" charset="0"/>
                        <a:buChar char="•"/>
                      </a:pPr>
                      <a:r>
                        <a:rPr lang="en-US" sz="1400" kern="0" dirty="0">
                          <a:solidFill>
                            <a:schemeClr val="bg1"/>
                          </a:solidFill>
                          <a:latin typeface="+mn-lt"/>
                          <a:ea typeface="+mn-ea"/>
                          <a:cs typeface="+mn-cs"/>
                        </a:rPr>
                        <a:t>Reduced time to customer insight</a:t>
                      </a:r>
                    </a:p>
                    <a:p>
                      <a:pPr marL="177800" indent="-177800">
                        <a:buFont typeface="Arial" panose="020B0604020202020204" pitchFamily="34" charset="0"/>
                        <a:buChar char="•"/>
                      </a:pPr>
                      <a:r>
                        <a:rPr lang="en-US" sz="1400" kern="0" dirty="0">
                          <a:solidFill>
                            <a:schemeClr val="bg1"/>
                          </a:solidFill>
                          <a:latin typeface="+mn-lt"/>
                          <a:ea typeface="+mn-ea"/>
                          <a:cs typeface="+mn-cs"/>
                        </a:rPr>
                        <a:t>Ability to</a:t>
                      </a:r>
                      <a:r>
                        <a:rPr lang="en-US" sz="1400" kern="0" baseline="0" dirty="0">
                          <a:solidFill>
                            <a:schemeClr val="bg1"/>
                          </a:solidFill>
                          <a:latin typeface="+mn-lt"/>
                          <a:ea typeface="+mn-ea"/>
                          <a:cs typeface="+mn-cs"/>
                        </a:rPr>
                        <a:t> make </a:t>
                      </a:r>
                      <a:r>
                        <a:rPr lang="en-US" sz="1400" kern="0" dirty="0">
                          <a:solidFill>
                            <a:schemeClr val="bg1"/>
                          </a:solidFill>
                          <a:latin typeface="+mn-lt"/>
                          <a:ea typeface="+mn-ea"/>
                          <a:cs typeface="+mn-cs"/>
                        </a:rPr>
                        <a:t>changes to campaigns or adjust product rollouts based on real-time customer reactions</a:t>
                      </a:r>
                    </a:p>
                    <a:p>
                      <a:pPr marL="177800" indent="-177800">
                        <a:buFont typeface="Arial" panose="020B0604020202020204" pitchFamily="34" charset="0"/>
                        <a:buChar char="•"/>
                      </a:pPr>
                      <a:r>
                        <a:rPr lang="en-US" sz="1400" kern="0" dirty="0">
                          <a:solidFill>
                            <a:schemeClr val="bg1"/>
                          </a:solidFill>
                          <a:latin typeface="+mn-lt"/>
                          <a:ea typeface="+mn-ea"/>
                          <a:cs typeface="+mn-cs"/>
                        </a:rPr>
                        <a:t>Ability to offer incentives and new services to retain—and grow—its customer base</a:t>
                      </a:r>
                    </a:p>
                  </a:txBody>
                  <a:tcPr marL="0" marR="0" marT="46630" marB="46630" anchor="ctr">
                    <a:lnL w="19050" cap="flat" cmpd="sng" algn="ctr">
                      <a:solidFill>
                        <a:schemeClr val="tx1"/>
                      </a:solidFill>
                      <a:prstDash val="solid"/>
                      <a:round/>
                      <a:headEnd type="none" w="med" len="med"/>
                      <a:tailEnd type="none" w="med" len="med"/>
                    </a:lnL>
                    <a:lnT w="9525" cap="flat" cmpd="sng" algn="ctr">
                      <a:solidFill>
                        <a:schemeClr val="tx1">
                          <a:lumMod val="75000"/>
                        </a:schemeClr>
                      </a:solidFill>
                      <a:prstDash val="sysDot"/>
                      <a:round/>
                      <a:headEnd type="none" w="med" len="med"/>
                      <a:tailEnd type="none" w="med" len="med"/>
                    </a:lnT>
                  </a:tcPr>
                </a:tc>
                <a:extLst>
                  <a:ext uri="{0D108BD9-81ED-4DB2-BD59-A6C34878D82A}">
                    <a16:rowId xmlns:a16="http://schemas.microsoft.com/office/drawing/2014/main" val="10002"/>
                  </a:ext>
                </a:extLst>
              </a:tr>
            </a:tbl>
          </a:graphicData>
        </a:graphic>
      </p:graphicFrame>
      <p:pic>
        <p:nvPicPr>
          <p:cNvPr id="20" name="Picture 19"/>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a:xfrm>
            <a:off x="452612" y="5946234"/>
            <a:ext cx="1864235" cy="448722"/>
          </a:xfrm>
          <a:custGeom>
            <a:avLst/>
            <a:gdLst>
              <a:gd name="connsiteX0" fmla="*/ 0 w 4352925"/>
              <a:gd name="connsiteY0" fmla="*/ 0 h 1047750"/>
              <a:gd name="connsiteX1" fmla="*/ 4352925 w 4352925"/>
              <a:gd name="connsiteY1" fmla="*/ 0 h 1047750"/>
              <a:gd name="connsiteX2" fmla="*/ 4352925 w 4352925"/>
              <a:gd name="connsiteY2" fmla="*/ 1047750 h 1047750"/>
              <a:gd name="connsiteX3" fmla="*/ 3998069 w 4352925"/>
              <a:gd name="connsiteY3" fmla="*/ 1047750 h 1047750"/>
              <a:gd name="connsiteX4" fmla="*/ 3998069 w 4352925"/>
              <a:gd name="connsiteY4" fmla="*/ 743334 h 1047750"/>
              <a:gd name="connsiteX5" fmla="*/ 1978769 w 4352925"/>
              <a:gd name="connsiteY5" fmla="*/ 743334 h 1047750"/>
              <a:gd name="connsiteX6" fmla="*/ 1978769 w 4352925"/>
              <a:gd name="connsiteY6" fmla="*/ 1047750 h 1047750"/>
              <a:gd name="connsiteX7" fmla="*/ 0 w 4352925"/>
              <a:gd name="connsiteY7" fmla="*/ 1047750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2925" h="1047750">
                <a:moveTo>
                  <a:pt x="0" y="0"/>
                </a:moveTo>
                <a:lnTo>
                  <a:pt x="4352925" y="0"/>
                </a:lnTo>
                <a:lnTo>
                  <a:pt x="4352925" y="1047750"/>
                </a:lnTo>
                <a:lnTo>
                  <a:pt x="3998069" y="1047750"/>
                </a:lnTo>
                <a:lnTo>
                  <a:pt x="3998069" y="743334"/>
                </a:lnTo>
                <a:lnTo>
                  <a:pt x="1978769" y="743334"/>
                </a:lnTo>
                <a:lnTo>
                  <a:pt x="1978769" y="1047750"/>
                </a:lnTo>
                <a:lnTo>
                  <a:pt x="0" y="1047750"/>
                </a:lnTo>
                <a:close/>
              </a:path>
            </a:pathLst>
          </a:custGeom>
        </p:spPr>
      </p:pic>
    </p:spTree>
    <p:extLst>
      <p:ext uri="{BB962C8B-B14F-4D97-AF65-F5344CB8AC3E}">
        <p14:creationId xmlns:p14="http://schemas.microsoft.com/office/powerpoint/2010/main" val="2954632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9"/>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948778" y="1"/>
            <a:ext cx="5486815" cy="6463458"/>
          </a:xfrm>
          <a:prstGeom prst="rect">
            <a:avLst/>
          </a:prstGeom>
        </p:spPr>
      </p:pic>
      <p:sp>
        <p:nvSpPr>
          <p:cNvPr id="2" name="Title 1"/>
          <p:cNvSpPr>
            <a:spLocks noGrp="1"/>
          </p:cNvSpPr>
          <p:nvPr>
            <p:ph type="title"/>
          </p:nvPr>
        </p:nvSpPr>
        <p:spPr/>
        <p:txBody>
          <a:bodyPr/>
          <a:lstStyle/>
          <a:p>
            <a:r>
              <a:rPr lang="en-US" dirty="0"/>
              <a:t>Fix problems proactively</a:t>
            </a:r>
            <a:br>
              <a:rPr lang="en-US" dirty="0"/>
            </a:br>
            <a:r>
              <a:rPr lang="en-US" dirty="0"/>
              <a:t>before they start</a:t>
            </a:r>
          </a:p>
        </p:txBody>
      </p:sp>
      <p:sp>
        <p:nvSpPr>
          <p:cNvPr id="3" name="Content Placeholder 2"/>
          <p:cNvSpPr>
            <a:spLocks noGrp="1"/>
          </p:cNvSpPr>
          <p:nvPr>
            <p:ph sz="quarter" idx="4294967295"/>
          </p:nvPr>
        </p:nvSpPr>
        <p:spPr>
          <a:xfrm>
            <a:off x="478841" y="1709773"/>
            <a:ext cx="6469936" cy="768409"/>
          </a:xfrm>
        </p:spPr>
        <p:txBody>
          <a:bodyPr vert="horz" wrap="square" lIns="0" tIns="0" rIns="0" bIns="0" rtlCol="0">
            <a:spAutoFit/>
          </a:bodyPr>
          <a:lstStyle/>
          <a:p>
            <a:pPr marL="0" indent="0">
              <a:lnSpc>
                <a:spcPct val="100000"/>
              </a:lnSpc>
              <a:spcBef>
                <a:spcPts val="0"/>
              </a:spcBef>
              <a:buNone/>
            </a:pPr>
            <a:r>
              <a:rPr lang="en-US" sz="2448" i="1" dirty="0" err="1">
                <a:solidFill>
                  <a:schemeClr val="accent1"/>
                </a:solidFill>
              </a:rPr>
              <a:t>eSmart</a:t>
            </a:r>
            <a:r>
              <a:rPr lang="en-US" sz="2448" i="1" dirty="0">
                <a:solidFill>
                  <a:schemeClr val="accent1"/>
                </a:solidFill>
              </a:rPr>
              <a:t> Systems helps utilities prevent </a:t>
            </a:r>
            <a:br>
              <a:rPr lang="en-US" sz="2448" i="1" dirty="0">
                <a:solidFill>
                  <a:schemeClr val="accent1"/>
                </a:solidFill>
              </a:rPr>
            </a:br>
            <a:r>
              <a:rPr lang="en-US" sz="2448" i="1" dirty="0">
                <a:solidFill>
                  <a:schemeClr val="accent1"/>
                </a:solidFill>
              </a:rPr>
              <a:t>power outages</a:t>
            </a:r>
          </a:p>
        </p:txBody>
      </p:sp>
      <p:sp>
        <p:nvSpPr>
          <p:cNvPr id="5" name="Rectangle 4"/>
          <p:cNvSpPr/>
          <p:nvPr/>
        </p:nvSpPr>
        <p:spPr bwMode="auto">
          <a:xfrm>
            <a:off x="10702982"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6" name="Rectangle 5"/>
          <p:cNvSpPr/>
          <p:nvPr/>
        </p:nvSpPr>
        <p:spPr bwMode="auto">
          <a:xfrm>
            <a:off x="11001815"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7" name="Rectangle 6"/>
          <p:cNvSpPr/>
          <p:nvPr/>
        </p:nvSpPr>
        <p:spPr bwMode="auto">
          <a:xfrm>
            <a:off x="11300647"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8" name="Rectangle 7"/>
          <p:cNvSpPr/>
          <p:nvPr/>
        </p:nvSpPr>
        <p:spPr bwMode="auto">
          <a:xfrm>
            <a:off x="11599480" y="279071"/>
            <a:ext cx="265048" cy="265049"/>
          </a:xfrm>
          <a:prstGeom prst="rect">
            <a:avLst/>
          </a:prstGeom>
          <a:solidFill>
            <a:srgbClr val="3393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9" name="Rectangle 8"/>
          <p:cNvSpPr/>
          <p:nvPr/>
        </p:nvSpPr>
        <p:spPr bwMode="auto">
          <a:xfrm>
            <a:off x="11898311"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19" name="Rectangle 11"/>
          <p:cNvSpPr/>
          <p:nvPr/>
        </p:nvSpPr>
        <p:spPr>
          <a:xfrm>
            <a:off x="6949645" y="726448"/>
            <a:ext cx="5485947" cy="5737011"/>
          </a:xfrm>
          <a:prstGeom prst="rect">
            <a:avLst/>
          </a:prstGeom>
          <a:gradFill flip="none" rotWithShape="1">
            <a:gsLst>
              <a:gs pos="9000">
                <a:srgbClr val="000000">
                  <a:alpha val="8000"/>
                </a:srgbClr>
              </a:gs>
              <a:gs pos="0">
                <a:schemeClr val="tx1">
                  <a:alpha val="0"/>
                </a:schemeClr>
              </a:gs>
              <a:gs pos="54000">
                <a:sysClr val="windowText" lastClr="000000">
                  <a:alpha val="70000"/>
                </a:sysClr>
              </a:gs>
            </a:gsLst>
            <a:lin ang="5400000" scaled="1"/>
            <a:tileRect/>
          </a:gradFill>
        </p:spPr>
        <p:txBody>
          <a:bodyPr wrap="square" rIns="186521" bIns="186521" anchor="b">
            <a:noAutofit/>
          </a:bodyPr>
          <a:lstStyle/>
          <a:p>
            <a:pPr algn="r" defTabSz="951156">
              <a:spcBef>
                <a:spcPts val="1248"/>
              </a:spcBef>
              <a:defRPr/>
            </a:pPr>
            <a:r>
              <a:rPr lang="en-US" sz="1632" kern="0" dirty="0">
                <a:solidFill>
                  <a:prstClr val="white"/>
                </a:solidFill>
              </a:rPr>
              <a:t>“</a:t>
            </a:r>
            <a:r>
              <a:rPr lang="en-US" sz="1632" dirty="0"/>
              <a:t>We’re using a lot of different Microsoft Azure technologies, including Azure Machine Learning, but the core solution is to help operators predict issues to prevent blackouts</a:t>
            </a:r>
            <a:r>
              <a:rPr lang="en-US" sz="1632" kern="0" dirty="0">
                <a:solidFill>
                  <a:prstClr val="white"/>
                </a:solidFill>
              </a:rPr>
              <a:t>.” </a:t>
            </a:r>
          </a:p>
          <a:p>
            <a:pPr algn="r" defTabSz="951156">
              <a:spcBef>
                <a:spcPts val="1224"/>
              </a:spcBef>
              <a:defRPr/>
            </a:pPr>
            <a:r>
              <a:rPr lang="en-US" sz="1632" kern="0" dirty="0">
                <a:solidFill>
                  <a:prstClr val="white"/>
                </a:solidFill>
              </a:rPr>
              <a:t> </a:t>
            </a:r>
            <a:r>
              <a:rPr lang="en-US" sz="1428" i="1" kern="0" dirty="0">
                <a:solidFill>
                  <a:prstClr val="white"/>
                </a:solidFill>
                <a:cs typeface="Segoe UI" panose="020B0502040204020203" pitchFamily="34" charset="0"/>
              </a:rPr>
              <a:t>Knut Johansen</a:t>
            </a:r>
            <a:br>
              <a:rPr lang="en-US" sz="1428" i="1" kern="0" dirty="0">
                <a:solidFill>
                  <a:prstClr val="white"/>
                </a:solidFill>
                <a:cs typeface="Segoe UI" panose="020B0502040204020203" pitchFamily="34" charset="0"/>
              </a:rPr>
            </a:br>
            <a:r>
              <a:rPr lang="en-US" sz="1428" i="1" kern="0" dirty="0">
                <a:solidFill>
                  <a:prstClr val="white"/>
                </a:solidFill>
                <a:cs typeface="Segoe UI" panose="020B0502040204020203" pitchFamily="34" charset="0"/>
              </a:rPr>
              <a:t>CEO</a:t>
            </a:r>
            <a:endParaRPr lang="en-US" sz="1632" i="1" kern="0" dirty="0">
              <a:solidFill>
                <a:prstClr val="white"/>
              </a:solidFill>
              <a:cs typeface="Segoe UI" panose="020B0502040204020203" pitchFamily="34" charset="0"/>
            </a:endParaRPr>
          </a:p>
        </p:txBody>
      </p:sp>
      <p:graphicFrame>
        <p:nvGraphicFramePr>
          <p:cNvPr id="27" name="Table 26"/>
          <p:cNvGraphicFramePr>
            <a:graphicFrameLocks noGrp="1"/>
          </p:cNvGraphicFramePr>
          <p:nvPr>
            <p:extLst/>
          </p:nvPr>
        </p:nvGraphicFramePr>
        <p:xfrm>
          <a:off x="478842" y="2583947"/>
          <a:ext cx="5910372" cy="2708660"/>
        </p:xfrm>
        <a:graphic>
          <a:graphicData uri="http://schemas.openxmlformats.org/drawingml/2006/table">
            <a:tbl>
              <a:tblPr firstRow="1" bandRow="1">
                <a:tableStyleId>{2D5ABB26-0587-4C30-8999-92F81FD0307C}</a:tableStyleId>
              </a:tblPr>
              <a:tblGrid>
                <a:gridCol w="1034091">
                  <a:extLst>
                    <a:ext uri="{9D8B030D-6E8A-4147-A177-3AD203B41FA5}">
                      <a16:colId xmlns:a16="http://schemas.microsoft.com/office/drawing/2014/main" val="20000"/>
                    </a:ext>
                  </a:extLst>
                </a:gridCol>
                <a:gridCol w="4876281">
                  <a:extLst>
                    <a:ext uri="{9D8B030D-6E8A-4147-A177-3AD203B41FA5}">
                      <a16:colId xmlns:a16="http://schemas.microsoft.com/office/drawing/2014/main" val="20001"/>
                    </a:ext>
                  </a:extLst>
                </a:gridCol>
              </a:tblGrid>
              <a:tr h="542436">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Scenario</a:t>
                      </a:r>
                    </a:p>
                  </a:txBody>
                  <a:tcPr marL="0" marR="0" marT="46630" marB="46630" anchor="ctr">
                    <a:lnR w="19050" cap="flat" cmpd="sng" algn="ctr">
                      <a:solidFill>
                        <a:schemeClr val="tx1"/>
                      </a:solidFill>
                      <a:prstDash val="solid"/>
                      <a:round/>
                      <a:headEnd type="none" w="med" len="med"/>
                      <a:tailEnd type="none" w="med" len="med"/>
                    </a:lnR>
                    <a:lnB w="9525" cap="flat" cmpd="sng" algn="ctr">
                      <a:solidFill>
                        <a:schemeClr val="tx1">
                          <a:lumMod val="75000"/>
                        </a:schemeClr>
                      </a:solidFill>
                      <a:prstDash val="sysDot"/>
                      <a:round/>
                      <a:headEnd type="none" w="med" len="med"/>
                      <a:tailEnd type="none" w="med" len="med"/>
                    </a:lnB>
                  </a:tcPr>
                </a:tc>
                <a:tc>
                  <a:txBody>
                    <a:bodyPr/>
                    <a:lstStyle/>
                    <a:p>
                      <a:r>
                        <a:rPr lang="en-US" sz="1400" kern="0" dirty="0">
                          <a:solidFill>
                            <a:schemeClr val="bg1"/>
                          </a:solidFill>
                          <a:latin typeface="+mn-lt"/>
                          <a:ea typeface="+mn-ea"/>
                          <a:cs typeface="+mn-cs"/>
                        </a:rPr>
                        <a:t>Disparate data sources |  New technologies like smart meters</a:t>
                      </a:r>
                      <a:r>
                        <a:rPr lang="en-US" sz="1400" kern="0" baseline="0" dirty="0">
                          <a:solidFill>
                            <a:schemeClr val="bg1"/>
                          </a:solidFill>
                          <a:latin typeface="+mn-lt"/>
                          <a:ea typeface="+mn-ea"/>
                          <a:cs typeface="+mn-cs"/>
                        </a:rPr>
                        <a:t>  |  Aging grid infrastructure</a:t>
                      </a:r>
                      <a:endParaRPr lang="en-US" sz="1400" kern="0" dirty="0">
                        <a:solidFill>
                          <a:schemeClr val="bg1"/>
                        </a:solidFill>
                        <a:latin typeface="+mn-lt"/>
                        <a:ea typeface="+mn-ea"/>
                        <a:cs typeface="+mn-cs"/>
                      </a:endParaRPr>
                    </a:p>
                  </a:txBody>
                  <a:tcPr marL="0" marR="0" marT="46630" marB="46630" anchor="ctr">
                    <a:lnL w="19050" cap="flat" cmpd="sng" algn="ctr">
                      <a:solidFill>
                        <a:schemeClr val="tx1"/>
                      </a:solidFill>
                      <a:prstDash val="solid"/>
                      <a:round/>
                      <a:headEnd type="none" w="med" len="med"/>
                      <a:tailEnd type="none" w="med" len="med"/>
                    </a:lnL>
                    <a:lnB w="9525" cap="flat" cmpd="sng" algn="ctr">
                      <a:solidFill>
                        <a:schemeClr val="tx1">
                          <a:lumMod val="75000"/>
                        </a:schemeClr>
                      </a:solidFill>
                      <a:prstDash val="sysDot"/>
                      <a:round/>
                      <a:headEnd type="none" w="med" len="med"/>
                      <a:tailEnd type="none" w="med" len="med"/>
                    </a:lnB>
                  </a:tcPr>
                </a:tc>
                <a:extLst>
                  <a:ext uri="{0D108BD9-81ED-4DB2-BD59-A6C34878D82A}">
                    <a16:rowId xmlns:a16="http://schemas.microsoft.com/office/drawing/2014/main" val="10000"/>
                  </a:ext>
                </a:extLst>
              </a:tr>
              <a:tr h="963690">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Solution</a:t>
                      </a:r>
                    </a:p>
                  </a:txBody>
                  <a:tcPr marL="0" marR="0" marT="46630" marB="46630" anchor="ctr">
                    <a:lnR w="19050" cap="flat" cmpd="sng" algn="ctr">
                      <a:solidFill>
                        <a:schemeClr val="tx1"/>
                      </a:solidFill>
                      <a:prstDash val="solid"/>
                      <a:round/>
                      <a:headEnd type="none" w="med" len="med"/>
                      <a:tailEnd type="none" w="med" len="med"/>
                    </a:lnR>
                    <a:lnT w="9525" cap="flat" cmpd="sng" algn="ctr">
                      <a:solidFill>
                        <a:schemeClr val="tx1">
                          <a:lumMod val="75000"/>
                        </a:schemeClr>
                      </a:solidFill>
                      <a:prstDash val="sysDot"/>
                      <a:round/>
                      <a:headEnd type="none" w="med" len="med"/>
                      <a:tailEnd type="none" w="med" len="med"/>
                    </a:lnT>
                    <a:lnB w="9525" cap="flat" cmpd="sng" algn="ctr">
                      <a:solidFill>
                        <a:schemeClr val="tx1">
                          <a:lumMod val="75000"/>
                        </a:schemeClr>
                      </a:solidFill>
                      <a:prstDash val="sysDot"/>
                      <a:round/>
                      <a:headEnd type="none" w="med" len="med"/>
                      <a:tailEnd type="none" w="med" len="med"/>
                    </a:lnB>
                  </a:tcPr>
                </a:tc>
                <a:tc>
                  <a:txBody>
                    <a:bodyPr/>
                    <a:lstStyle/>
                    <a:p>
                      <a:r>
                        <a:rPr lang="en-US" sz="1400" kern="0" dirty="0">
                          <a:solidFill>
                            <a:schemeClr val="bg1"/>
                          </a:solidFill>
                          <a:latin typeface="+mn-lt"/>
                          <a:ea typeface="+mn-ea"/>
                          <a:cs typeface="+mn-cs"/>
                        </a:rPr>
                        <a:t>A combination of Microsoft</a:t>
                      </a:r>
                      <a:r>
                        <a:rPr lang="en-US" sz="1400" kern="0" baseline="0" dirty="0">
                          <a:solidFill>
                            <a:schemeClr val="bg1"/>
                          </a:solidFill>
                          <a:latin typeface="+mn-lt"/>
                          <a:ea typeface="+mn-ea"/>
                          <a:cs typeface="+mn-cs"/>
                        </a:rPr>
                        <a:t> Azure technologies, with Azure ML extracting </a:t>
                      </a:r>
                      <a:r>
                        <a:rPr lang="en-US" sz="1400" kern="0" dirty="0">
                          <a:solidFill>
                            <a:schemeClr val="bg1"/>
                          </a:solidFill>
                          <a:latin typeface="+mn-lt"/>
                          <a:ea typeface="+mn-ea"/>
                          <a:cs typeface="+mn-cs"/>
                        </a:rPr>
                        <a:t>insights from micro-second sensor and smart meter data to predict energy usage patterns and optimize</a:t>
                      </a:r>
                      <a:r>
                        <a:rPr lang="en-US" sz="1400" kern="0" baseline="0" dirty="0">
                          <a:solidFill>
                            <a:schemeClr val="bg1"/>
                          </a:solidFill>
                          <a:latin typeface="+mn-lt"/>
                          <a:ea typeface="+mn-ea"/>
                          <a:cs typeface="+mn-cs"/>
                        </a:rPr>
                        <a:t> </a:t>
                      </a:r>
                      <a:r>
                        <a:rPr lang="en-US" sz="1400" kern="0" dirty="0">
                          <a:solidFill>
                            <a:schemeClr val="bg1"/>
                          </a:solidFill>
                          <a:latin typeface="+mn-lt"/>
                          <a:ea typeface="+mn-ea"/>
                          <a:cs typeface="+mn-cs"/>
                        </a:rPr>
                        <a:t>infrastructure maintenance</a:t>
                      </a:r>
                    </a:p>
                  </a:txBody>
                  <a:tcPr marL="0" marR="0" marT="46630" marB="46630" anchor="ctr">
                    <a:lnL w="19050" cap="flat" cmpd="sng" algn="ctr">
                      <a:solidFill>
                        <a:schemeClr val="tx1"/>
                      </a:solidFill>
                      <a:prstDash val="solid"/>
                      <a:round/>
                      <a:headEnd type="none" w="med" len="med"/>
                      <a:tailEnd type="none" w="med" len="med"/>
                    </a:lnL>
                    <a:lnT w="9525" cap="flat" cmpd="sng" algn="ctr">
                      <a:solidFill>
                        <a:schemeClr val="tx1">
                          <a:lumMod val="75000"/>
                        </a:schemeClr>
                      </a:solidFill>
                      <a:prstDash val="sysDot"/>
                      <a:round/>
                      <a:headEnd type="none" w="med" len="med"/>
                      <a:tailEnd type="none" w="med" len="med"/>
                    </a:lnT>
                    <a:lnB w="9525" cap="flat" cmpd="sng" algn="ctr">
                      <a:solidFill>
                        <a:schemeClr val="tx1">
                          <a:lumMod val="75000"/>
                        </a:schemeClr>
                      </a:solidFill>
                      <a:prstDash val="sysDot"/>
                      <a:round/>
                      <a:headEnd type="none" w="med" len="med"/>
                      <a:tailEnd type="none" w="med" len="med"/>
                    </a:lnB>
                  </a:tcPr>
                </a:tc>
                <a:extLst>
                  <a:ext uri="{0D108BD9-81ED-4DB2-BD59-A6C34878D82A}">
                    <a16:rowId xmlns:a16="http://schemas.microsoft.com/office/drawing/2014/main" val="10001"/>
                  </a:ext>
                </a:extLst>
              </a:tr>
              <a:tr h="1202534">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Result</a:t>
                      </a:r>
                    </a:p>
                  </a:txBody>
                  <a:tcPr marL="0" marR="0" marT="46630" marB="46630" anchor="ctr">
                    <a:lnR w="19050" cap="flat" cmpd="sng" algn="ctr">
                      <a:solidFill>
                        <a:schemeClr val="tx1"/>
                      </a:solidFill>
                      <a:prstDash val="solid"/>
                      <a:round/>
                      <a:headEnd type="none" w="med" len="med"/>
                      <a:tailEnd type="none" w="med" len="med"/>
                    </a:lnR>
                    <a:lnT w="9525" cap="flat" cmpd="sng" algn="ctr">
                      <a:solidFill>
                        <a:schemeClr val="tx1">
                          <a:lumMod val="75000"/>
                        </a:schemeClr>
                      </a:solidFill>
                      <a:prstDash val="sysDot"/>
                      <a:round/>
                      <a:headEnd type="none" w="med" len="med"/>
                      <a:tailEnd type="none" w="med" len="med"/>
                    </a:lnT>
                  </a:tcPr>
                </a:tc>
                <a:tc>
                  <a:txBody>
                    <a:bodyPr/>
                    <a:lstStyle/>
                    <a:p>
                      <a:pPr marL="177800" indent="-177800">
                        <a:buFont typeface="Arial" panose="020B0604020202020204" pitchFamily="34" charset="0"/>
                        <a:buChar char="•"/>
                      </a:pPr>
                      <a:r>
                        <a:rPr lang="en-US" sz="1400" kern="0" dirty="0">
                          <a:solidFill>
                            <a:schemeClr val="bg1"/>
                          </a:solidFill>
                          <a:latin typeface="+mn-lt"/>
                          <a:ea typeface="+mn-ea"/>
                          <a:cs typeface="+mn-cs"/>
                        </a:rPr>
                        <a:t>Improved grid management with demand forecasting</a:t>
                      </a:r>
                    </a:p>
                    <a:p>
                      <a:pPr marL="177800" indent="-177800">
                        <a:buFont typeface="Arial" panose="020B0604020202020204" pitchFamily="34" charset="0"/>
                        <a:buChar char="•"/>
                      </a:pPr>
                      <a:r>
                        <a:rPr lang="en-US" sz="1400" kern="0" dirty="0">
                          <a:solidFill>
                            <a:schemeClr val="bg1"/>
                          </a:solidFill>
                          <a:latin typeface="+mn-lt"/>
                          <a:ea typeface="+mn-ea"/>
                          <a:cs typeface="+mn-cs"/>
                        </a:rPr>
                        <a:t>Optimized UIs to help </a:t>
                      </a:r>
                      <a:r>
                        <a:rPr lang="en-US" sz="1400" kern="0" baseline="0" dirty="0">
                          <a:solidFill>
                            <a:schemeClr val="bg1"/>
                          </a:solidFill>
                          <a:latin typeface="+mn-lt"/>
                          <a:ea typeface="+mn-ea"/>
                          <a:cs typeface="+mn-cs"/>
                        </a:rPr>
                        <a:t>utilities </a:t>
                      </a:r>
                      <a:r>
                        <a:rPr lang="en-US" sz="1400" kern="0" dirty="0">
                          <a:solidFill>
                            <a:schemeClr val="bg1"/>
                          </a:solidFill>
                          <a:latin typeface="+mn-lt"/>
                          <a:ea typeface="+mn-ea"/>
                          <a:cs typeface="+mn-cs"/>
                        </a:rPr>
                        <a:t>better manage their data</a:t>
                      </a:r>
                    </a:p>
                    <a:p>
                      <a:pPr marL="177800" marR="0" indent="-1778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0" dirty="0">
                          <a:solidFill>
                            <a:schemeClr val="bg1"/>
                          </a:solidFill>
                          <a:latin typeface="+mn-lt"/>
                          <a:ea typeface="+mn-ea"/>
                          <a:cs typeface="+mn-cs"/>
                        </a:rPr>
                        <a:t>The ability to integrate new energy sources and technologies</a:t>
                      </a:r>
                    </a:p>
                    <a:p>
                      <a:pPr marL="177800" indent="-177800">
                        <a:buFont typeface="Arial" panose="020B0604020202020204" pitchFamily="34" charset="0"/>
                        <a:buChar char="•"/>
                      </a:pPr>
                      <a:r>
                        <a:rPr lang="en-US" sz="1400" kern="0" dirty="0">
                          <a:solidFill>
                            <a:schemeClr val="bg1"/>
                          </a:solidFill>
                          <a:latin typeface="+mn-lt"/>
                          <a:ea typeface="+mn-ea"/>
                          <a:cs typeface="+mn-cs"/>
                        </a:rPr>
                        <a:t>Cost savings </a:t>
                      </a:r>
                      <a:r>
                        <a:rPr lang="en-US" sz="1400" kern="0" baseline="0" dirty="0">
                          <a:solidFill>
                            <a:schemeClr val="bg1"/>
                          </a:solidFill>
                          <a:latin typeface="+mn-lt"/>
                          <a:ea typeface="+mn-ea"/>
                          <a:cs typeface="+mn-cs"/>
                        </a:rPr>
                        <a:t>from moving load to off-peak hours </a:t>
                      </a:r>
                    </a:p>
                  </a:txBody>
                  <a:tcPr marL="0" marR="0" marT="46630" marB="46630" anchor="ctr">
                    <a:lnL w="19050" cap="flat" cmpd="sng" algn="ctr">
                      <a:solidFill>
                        <a:schemeClr val="tx1"/>
                      </a:solidFill>
                      <a:prstDash val="solid"/>
                      <a:round/>
                      <a:headEnd type="none" w="med" len="med"/>
                      <a:tailEnd type="none" w="med" len="med"/>
                    </a:lnL>
                    <a:lnT w="9525" cap="flat" cmpd="sng" algn="ctr">
                      <a:solidFill>
                        <a:schemeClr val="tx1">
                          <a:lumMod val="75000"/>
                        </a:schemeClr>
                      </a:solidFill>
                      <a:prstDash val="sysDot"/>
                      <a:round/>
                      <a:headEnd type="none" w="med" len="med"/>
                      <a:tailEnd type="none" w="med" len="med"/>
                    </a:lnT>
                  </a:tcPr>
                </a:tc>
                <a:extLst>
                  <a:ext uri="{0D108BD9-81ED-4DB2-BD59-A6C34878D82A}">
                    <a16:rowId xmlns:a16="http://schemas.microsoft.com/office/drawing/2014/main" val="10002"/>
                  </a:ext>
                </a:extLst>
              </a:tr>
            </a:tbl>
          </a:graphicData>
        </a:graphic>
      </p:graphicFrame>
      <p:pic>
        <p:nvPicPr>
          <p:cNvPr id="5122" name="Picture 2" descr="https://customers.microsoft.com/Assets/a5f8e10b-a3c9-e411-bbbe-6c3be5a8e164/eSmart%20Systems%20Logo.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79915" y="5680032"/>
            <a:ext cx="2188737" cy="4367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1310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376388" y="1729675"/>
            <a:ext cx="5713816" cy="2927078"/>
          </a:xfrm>
          <a:prstGeom prst="rect">
            <a:avLst/>
          </a:prstGeom>
        </p:spPr>
      </p:pic>
      <p:sp>
        <p:nvSpPr>
          <p:cNvPr id="2" name="Title 1"/>
          <p:cNvSpPr>
            <a:spLocks noGrp="1"/>
          </p:cNvSpPr>
          <p:nvPr>
            <p:ph type="title"/>
          </p:nvPr>
        </p:nvSpPr>
        <p:spPr/>
        <p:txBody>
          <a:bodyPr/>
          <a:lstStyle/>
          <a:p>
            <a:r>
              <a:rPr lang="en-US" dirty="0"/>
              <a:t>eSmart Systems Video</a:t>
            </a:r>
          </a:p>
        </p:txBody>
      </p:sp>
      <p:pic>
        <p:nvPicPr>
          <p:cNvPr id="11" name="Picture 1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344489" y="1430833"/>
            <a:ext cx="7747496" cy="4495538"/>
          </a:xfrm>
          <a:prstGeom prst="rect">
            <a:avLst/>
          </a:prstGeom>
        </p:spPr>
      </p:pic>
      <p:pic>
        <p:nvPicPr>
          <p:cNvPr id="7" name="Picture 6">
            <a:hlinkClick r:id="rId5"/>
          </p:cNvPr>
          <p:cNvPicPr>
            <a:picLocks noChangeAspect="1"/>
          </p:cNvPicPr>
          <p:nvPr/>
        </p:nvPicPr>
        <p:blipFill rotWithShape="1">
          <a:blip r:embed="rId6" cstate="email">
            <a:extLst>
              <a:ext uri="{28A0092B-C50C-407E-A947-70E740481C1C}">
                <a14:useLocalDpi xmlns:a14="http://schemas.microsoft.com/office/drawing/2010/main"/>
              </a:ext>
            </a:extLst>
          </a:blip>
          <a:srcRect l="32532" b="675"/>
          <a:stretch/>
        </p:blipFill>
        <p:spPr>
          <a:xfrm>
            <a:off x="5759687" y="2625514"/>
            <a:ext cx="1352290" cy="432785"/>
          </a:xfrm>
          <a:prstGeom prst="rect">
            <a:avLst/>
          </a:prstGeom>
        </p:spPr>
      </p:pic>
      <p:sp>
        <p:nvSpPr>
          <p:cNvPr id="8" name="Freeform 101">
            <a:hlinkClick r:id="rId5"/>
          </p:cNvPr>
          <p:cNvSpPr>
            <a:spLocks/>
          </p:cNvSpPr>
          <p:nvPr/>
        </p:nvSpPr>
        <p:spPr bwMode="black">
          <a:xfrm rot="10800000">
            <a:off x="5365011" y="2648455"/>
            <a:ext cx="315856" cy="460919"/>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ysClr val="window" lastClr="FFFFFF"/>
          </a:solidFill>
          <a:ln>
            <a:noFill/>
          </a:ln>
          <a:extLst/>
        </p:spPr>
        <p:txBody>
          <a:bodyPr vert="horz" wrap="square" lIns="91403" tIns="45702" rIns="91403" bIns="45702" numCol="1" anchor="t" anchorCtr="0" compatLnSpc="1">
            <a:prstTxWarp prst="textNoShape">
              <a:avLst/>
            </a:prstTxWarp>
          </a:bodyPr>
          <a:lstStyle/>
          <a:p>
            <a:pPr>
              <a:defRPr/>
            </a:pPr>
            <a:endParaRPr lang="en-US" sz="2199" kern="0">
              <a:solidFill>
                <a:srgbClr val="505050"/>
              </a:solidFill>
            </a:endParaRPr>
          </a:p>
        </p:txBody>
      </p:sp>
    </p:spTree>
    <p:extLst>
      <p:ext uri="{BB962C8B-B14F-4D97-AF65-F5344CB8AC3E}">
        <p14:creationId xmlns:p14="http://schemas.microsoft.com/office/powerpoint/2010/main" val="3423851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948778" y="1"/>
            <a:ext cx="5486815" cy="6463458"/>
          </a:xfrm>
          <a:prstGeom prst="rect">
            <a:avLst/>
          </a:prstGeom>
        </p:spPr>
      </p:pic>
      <p:sp>
        <p:nvSpPr>
          <p:cNvPr id="2" name="Title 1"/>
          <p:cNvSpPr>
            <a:spLocks noGrp="1"/>
          </p:cNvSpPr>
          <p:nvPr>
            <p:ph type="title"/>
          </p:nvPr>
        </p:nvSpPr>
        <p:spPr>
          <a:xfrm>
            <a:off x="275481" y="295274"/>
            <a:ext cx="5942756" cy="917575"/>
          </a:xfrm>
        </p:spPr>
        <p:txBody>
          <a:bodyPr/>
          <a:lstStyle/>
          <a:p>
            <a:r>
              <a:rPr lang="en-US" dirty="0"/>
              <a:t>Explore new business opportunities</a:t>
            </a:r>
          </a:p>
        </p:txBody>
      </p:sp>
      <p:sp>
        <p:nvSpPr>
          <p:cNvPr id="3" name="Content Placeholder 2"/>
          <p:cNvSpPr>
            <a:spLocks noGrp="1"/>
          </p:cNvSpPr>
          <p:nvPr>
            <p:ph sz="quarter" idx="4294967295"/>
          </p:nvPr>
        </p:nvSpPr>
        <p:spPr>
          <a:xfrm>
            <a:off x="452612" y="1705398"/>
            <a:ext cx="5423995" cy="768409"/>
          </a:xfrm>
        </p:spPr>
        <p:txBody>
          <a:bodyPr vert="horz" wrap="square" lIns="0" tIns="0" rIns="0" bIns="0" rtlCol="0">
            <a:spAutoFit/>
          </a:bodyPr>
          <a:lstStyle/>
          <a:p>
            <a:pPr marL="0" indent="0">
              <a:lnSpc>
                <a:spcPct val="100000"/>
              </a:lnSpc>
              <a:spcBef>
                <a:spcPts val="0"/>
              </a:spcBef>
              <a:buNone/>
            </a:pPr>
            <a:r>
              <a:rPr lang="en-US" sz="2448" i="1" dirty="0">
                <a:solidFill>
                  <a:schemeClr val="accent1"/>
                </a:solidFill>
              </a:rPr>
              <a:t>ThyssenKrupp Elevator develops new</a:t>
            </a:r>
            <a:br>
              <a:rPr lang="en-US" sz="2448" i="1" dirty="0">
                <a:solidFill>
                  <a:schemeClr val="accent1"/>
                </a:solidFill>
              </a:rPr>
            </a:br>
            <a:r>
              <a:rPr lang="en-US" sz="2448" i="1" dirty="0">
                <a:solidFill>
                  <a:schemeClr val="accent1"/>
                </a:solidFill>
              </a:rPr>
              <a:t>services capabilities</a:t>
            </a:r>
          </a:p>
        </p:txBody>
      </p:sp>
      <p:sp>
        <p:nvSpPr>
          <p:cNvPr id="5" name="Rectangle 4"/>
          <p:cNvSpPr/>
          <p:nvPr/>
        </p:nvSpPr>
        <p:spPr bwMode="auto">
          <a:xfrm>
            <a:off x="10702982"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6" name="Rectangle 5"/>
          <p:cNvSpPr/>
          <p:nvPr/>
        </p:nvSpPr>
        <p:spPr bwMode="auto">
          <a:xfrm>
            <a:off x="11001815"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7" name="Rectangle 6"/>
          <p:cNvSpPr/>
          <p:nvPr/>
        </p:nvSpPr>
        <p:spPr bwMode="auto">
          <a:xfrm>
            <a:off x="11300647"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8" name="Rectangle 7"/>
          <p:cNvSpPr/>
          <p:nvPr/>
        </p:nvSpPr>
        <p:spPr bwMode="auto">
          <a:xfrm>
            <a:off x="11599480"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9" name="Rectangle 8"/>
          <p:cNvSpPr/>
          <p:nvPr/>
        </p:nvSpPr>
        <p:spPr bwMode="auto">
          <a:xfrm>
            <a:off x="11898311" y="279071"/>
            <a:ext cx="265048" cy="265049"/>
          </a:xfrm>
          <a:prstGeom prst="rect">
            <a:avLst/>
          </a:prstGeom>
          <a:solidFill>
            <a:srgbClr val="3393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19" name="Rectangle 11"/>
          <p:cNvSpPr/>
          <p:nvPr/>
        </p:nvSpPr>
        <p:spPr>
          <a:xfrm>
            <a:off x="6949645" y="1212850"/>
            <a:ext cx="5485947" cy="5250610"/>
          </a:xfrm>
          <a:prstGeom prst="rect">
            <a:avLst/>
          </a:prstGeom>
          <a:gradFill flip="none" rotWithShape="1">
            <a:gsLst>
              <a:gs pos="19000">
                <a:srgbClr val="000000">
                  <a:alpha val="5000"/>
                </a:srgbClr>
              </a:gs>
              <a:gs pos="0">
                <a:schemeClr val="tx1">
                  <a:alpha val="0"/>
                </a:schemeClr>
              </a:gs>
              <a:gs pos="44000">
                <a:sysClr val="windowText" lastClr="000000">
                  <a:alpha val="70000"/>
                </a:sysClr>
              </a:gs>
            </a:gsLst>
            <a:lin ang="5400000" scaled="1"/>
            <a:tileRect/>
          </a:gradFill>
        </p:spPr>
        <p:txBody>
          <a:bodyPr wrap="square" rIns="186521" bIns="186521" anchor="b">
            <a:noAutofit/>
          </a:bodyPr>
          <a:lstStyle/>
          <a:p>
            <a:pPr algn="r" defTabSz="951156">
              <a:spcBef>
                <a:spcPts val="1248"/>
              </a:spcBef>
              <a:defRPr/>
            </a:pPr>
            <a:r>
              <a:rPr lang="en-US" sz="1632" kern="0" dirty="0">
                <a:solidFill>
                  <a:prstClr val="white"/>
                </a:solidFill>
              </a:rPr>
              <a:t>“We wanted to go beyond the industry standard of preventative maintenance, to offer predictive and</a:t>
            </a:r>
            <a:br>
              <a:rPr lang="en-US" sz="1632" kern="0" dirty="0">
                <a:solidFill>
                  <a:prstClr val="white"/>
                </a:solidFill>
              </a:rPr>
            </a:br>
            <a:r>
              <a:rPr lang="en-US" sz="1632" kern="0" dirty="0">
                <a:solidFill>
                  <a:prstClr val="white"/>
                </a:solidFill>
              </a:rPr>
              <a:t>even preemptive maintenance.” </a:t>
            </a:r>
          </a:p>
          <a:p>
            <a:pPr algn="r" defTabSz="951156">
              <a:spcBef>
                <a:spcPts val="1224"/>
              </a:spcBef>
              <a:defRPr/>
            </a:pPr>
            <a:r>
              <a:rPr lang="en-US" sz="1428" i="1" kern="0" dirty="0">
                <a:solidFill>
                  <a:prstClr val="white"/>
                </a:solidFill>
                <a:cs typeface="Segoe UI" panose="020B0502040204020203" pitchFamily="34" charset="0"/>
              </a:rPr>
              <a:t>Andreas </a:t>
            </a:r>
            <a:r>
              <a:rPr lang="en-US" sz="1428" i="1" kern="0" dirty="0" err="1">
                <a:solidFill>
                  <a:prstClr val="white"/>
                </a:solidFill>
                <a:cs typeface="Segoe UI" panose="020B0502040204020203" pitchFamily="34" charset="0"/>
              </a:rPr>
              <a:t>Schierenbeck</a:t>
            </a:r>
            <a:br>
              <a:rPr lang="en-US" sz="1428" i="1" kern="0" dirty="0">
                <a:solidFill>
                  <a:prstClr val="white"/>
                </a:solidFill>
                <a:cs typeface="Segoe UI" panose="020B0502040204020203" pitchFamily="34" charset="0"/>
              </a:rPr>
            </a:br>
            <a:r>
              <a:rPr lang="en-US" sz="1428" i="1" kern="0" dirty="0">
                <a:solidFill>
                  <a:prstClr val="white"/>
                </a:solidFill>
                <a:cs typeface="Segoe UI" panose="020B0502040204020203" pitchFamily="34" charset="0"/>
              </a:rPr>
              <a:t>CEO, ThyssenKrupp Elevator</a:t>
            </a:r>
          </a:p>
        </p:txBody>
      </p:sp>
      <p:graphicFrame>
        <p:nvGraphicFramePr>
          <p:cNvPr id="27" name="Table 26"/>
          <p:cNvGraphicFramePr>
            <a:graphicFrameLocks noGrp="1"/>
          </p:cNvGraphicFramePr>
          <p:nvPr>
            <p:extLst/>
          </p:nvPr>
        </p:nvGraphicFramePr>
        <p:xfrm>
          <a:off x="472144" y="2575197"/>
          <a:ext cx="5738323" cy="3007471"/>
        </p:xfrm>
        <a:graphic>
          <a:graphicData uri="http://schemas.openxmlformats.org/drawingml/2006/table">
            <a:tbl>
              <a:tblPr firstRow="1" bandRow="1">
                <a:tableStyleId>{2D5ABB26-0587-4C30-8999-92F81FD0307C}</a:tableStyleId>
              </a:tblPr>
              <a:tblGrid>
                <a:gridCol w="1003989">
                  <a:extLst>
                    <a:ext uri="{9D8B030D-6E8A-4147-A177-3AD203B41FA5}">
                      <a16:colId xmlns:a16="http://schemas.microsoft.com/office/drawing/2014/main" val="20000"/>
                    </a:ext>
                  </a:extLst>
                </a:gridCol>
                <a:gridCol w="4734334">
                  <a:extLst>
                    <a:ext uri="{9D8B030D-6E8A-4147-A177-3AD203B41FA5}">
                      <a16:colId xmlns:a16="http://schemas.microsoft.com/office/drawing/2014/main" val="20001"/>
                    </a:ext>
                  </a:extLst>
                </a:gridCol>
              </a:tblGrid>
              <a:tr h="584475">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Scenario</a:t>
                      </a:r>
                    </a:p>
                  </a:txBody>
                  <a:tcPr marL="0" marR="0" marT="46630" marB="46630" anchor="ctr">
                    <a:lnR w="19050" cap="flat" cmpd="sng" algn="ctr">
                      <a:solidFill>
                        <a:schemeClr val="tx1"/>
                      </a:solidFill>
                      <a:prstDash val="solid"/>
                      <a:round/>
                      <a:headEnd type="none" w="med" len="med"/>
                      <a:tailEnd type="none" w="med" len="med"/>
                    </a:lnR>
                    <a:lnB w="9525" cap="flat" cmpd="sng" algn="ctr">
                      <a:solidFill>
                        <a:schemeClr val="tx1">
                          <a:lumMod val="75000"/>
                        </a:schemeClr>
                      </a:solidFill>
                      <a:prstDash val="sysDot"/>
                      <a:round/>
                      <a:headEnd type="none" w="med" len="med"/>
                      <a:tailEnd type="none" w="med" len="med"/>
                    </a:lnB>
                  </a:tcPr>
                </a:tc>
                <a:tc>
                  <a:txBody>
                    <a:bodyPr/>
                    <a:lstStyle/>
                    <a:p>
                      <a:r>
                        <a:rPr lang="en-US" sz="1400" kern="0" baseline="0" dirty="0">
                          <a:solidFill>
                            <a:schemeClr val="bg1"/>
                          </a:solidFill>
                          <a:latin typeface="+mn-lt"/>
                          <a:ea typeface="+mn-ea"/>
                          <a:cs typeface="+mn-cs"/>
                        </a:rPr>
                        <a:t>Variable elevator uptime |  The need for competitive differentiation</a:t>
                      </a:r>
                      <a:endParaRPr lang="en-US" sz="1400" kern="0" dirty="0">
                        <a:solidFill>
                          <a:schemeClr val="bg1"/>
                        </a:solidFill>
                        <a:latin typeface="+mn-lt"/>
                        <a:ea typeface="+mn-ea"/>
                        <a:cs typeface="+mn-cs"/>
                      </a:endParaRPr>
                    </a:p>
                  </a:txBody>
                  <a:tcPr marL="0" marR="0" marT="46630" marB="46630" anchor="ctr">
                    <a:lnL w="19050" cap="flat" cmpd="sng" algn="ctr">
                      <a:solidFill>
                        <a:schemeClr val="tx1"/>
                      </a:solidFill>
                      <a:prstDash val="solid"/>
                      <a:round/>
                      <a:headEnd type="none" w="med" len="med"/>
                      <a:tailEnd type="none" w="med" len="med"/>
                    </a:lnL>
                    <a:lnB w="9525" cap="flat" cmpd="sng" algn="ctr">
                      <a:solidFill>
                        <a:schemeClr val="tx1">
                          <a:lumMod val="75000"/>
                        </a:schemeClr>
                      </a:solidFill>
                      <a:prstDash val="sysDot"/>
                      <a:round/>
                      <a:headEnd type="none" w="med" len="med"/>
                      <a:tailEnd type="none" w="med" len="med"/>
                    </a:lnB>
                  </a:tcPr>
                </a:tc>
                <a:extLst>
                  <a:ext uri="{0D108BD9-81ED-4DB2-BD59-A6C34878D82A}">
                    <a16:rowId xmlns:a16="http://schemas.microsoft.com/office/drawing/2014/main" val="10000"/>
                  </a:ext>
                </a:extLst>
              </a:tr>
              <a:tr h="1065807">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Solution</a:t>
                      </a:r>
                    </a:p>
                  </a:txBody>
                  <a:tcPr marL="0" marR="0" marT="46630" marB="46630" anchor="ctr">
                    <a:lnR w="19050" cap="flat" cmpd="sng" algn="ctr">
                      <a:solidFill>
                        <a:schemeClr val="tx1"/>
                      </a:solidFill>
                      <a:prstDash val="solid"/>
                      <a:round/>
                      <a:headEnd type="none" w="med" len="med"/>
                      <a:tailEnd type="none" w="med" len="med"/>
                    </a:lnR>
                    <a:lnT w="9525" cap="flat" cmpd="sng" algn="ctr">
                      <a:solidFill>
                        <a:schemeClr val="tx1">
                          <a:lumMod val="75000"/>
                        </a:schemeClr>
                      </a:solidFill>
                      <a:prstDash val="sysDot"/>
                      <a:round/>
                      <a:headEnd type="none" w="med" len="med"/>
                      <a:tailEnd type="none" w="med" len="med"/>
                    </a:lnT>
                    <a:lnB w="9525" cap="flat" cmpd="sng" algn="ctr">
                      <a:solidFill>
                        <a:schemeClr val="tx1">
                          <a:lumMod val="75000"/>
                        </a:schemeClr>
                      </a:solidFill>
                      <a:prstDash val="sysDot"/>
                      <a:round/>
                      <a:headEnd type="none" w="med" len="med"/>
                      <a:tailEnd type="none" w="med" len="med"/>
                    </a:lnB>
                  </a:tcPr>
                </a:tc>
                <a:tc>
                  <a:txBody>
                    <a:bodyPr/>
                    <a:lstStyle/>
                    <a:p>
                      <a:r>
                        <a:rPr lang="en-US" sz="1400" kern="0" dirty="0">
                          <a:solidFill>
                            <a:schemeClr val="bg1"/>
                          </a:solidFill>
                          <a:latin typeface="+mn-lt"/>
                          <a:ea typeface="+mn-ea"/>
                          <a:cs typeface="+mn-cs"/>
                        </a:rPr>
                        <a:t>Several Azure technologies, including Machine Learning, that</a:t>
                      </a:r>
                      <a:r>
                        <a:rPr lang="en-US" sz="1400" kern="0" baseline="0" dirty="0">
                          <a:solidFill>
                            <a:schemeClr val="bg1"/>
                          </a:solidFill>
                          <a:latin typeface="+mn-lt"/>
                          <a:ea typeface="+mn-ea"/>
                          <a:cs typeface="+mn-cs"/>
                        </a:rPr>
                        <a:t> enable monitoring via a real-time dashboard and that instruct technicians on optimal maintenance activities through dynamic predictive models</a:t>
                      </a:r>
                      <a:endParaRPr lang="en-US" sz="1400" kern="0" dirty="0">
                        <a:solidFill>
                          <a:schemeClr val="bg1"/>
                        </a:solidFill>
                        <a:latin typeface="+mn-lt"/>
                        <a:ea typeface="+mn-ea"/>
                        <a:cs typeface="+mn-cs"/>
                      </a:endParaRPr>
                    </a:p>
                  </a:txBody>
                  <a:tcPr marL="0" marR="0" marT="46630" marB="46630" anchor="ctr">
                    <a:lnL w="19050" cap="flat" cmpd="sng" algn="ctr">
                      <a:solidFill>
                        <a:schemeClr val="tx1"/>
                      </a:solidFill>
                      <a:prstDash val="solid"/>
                      <a:round/>
                      <a:headEnd type="none" w="med" len="med"/>
                      <a:tailEnd type="none" w="med" len="med"/>
                    </a:lnL>
                    <a:lnT w="9525" cap="flat" cmpd="sng" algn="ctr">
                      <a:solidFill>
                        <a:schemeClr val="tx1">
                          <a:lumMod val="75000"/>
                        </a:schemeClr>
                      </a:solidFill>
                      <a:prstDash val="sysDot"/>
                      <a:round/>
                      <a:headEnd type="none" w="med" len="med"/>
                      <a:tailEnd type="none" w="med" len="med"/>
                    </a:lnT>
                    <a:lnB w="9525" cap="flat" cmpd="sng" algn="ctr">
                      <a:solidFill>
                        <a:schemeClr val="tx1">
                          <a:lumMod val="75000"/>
                        </a:schemeClr>
                      </a:solidFill>
                      <a:prstDash val="sysDot"/>
                      <a:round/>
                      <a:headEnd type="none" w="med" len="med"/>
                      <a:tailEnd type="none" w="med" len="med"/>
                    </a:lnB>
                  </a:tcPr>
                </a:tc>
                <a:extLst>
                  <a:ext uri="{0D108BD9-81ED-4DB2-BD59-A6C34878D82A}">
                    <a16:rowId xmlns:a16="http://schemas.microsoft.com/office/drawing/2014/main" val="10001"/>
                  </a:ext>
                </a:extLst>
              </a:tr>
              <a:tr h="1357189">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Result</a:t>
                      </a:r>
                    </a:p>
                  </a:txBody>
                  <a:tcPr marL="0" marR="0" marT="46630" marB="46630" anchor="ctr">
                    <a:lnR w="19050" cap="flat" cmpd="sng" algn="ctr">
                      <a:solidFill>
                        <a:schemeClr val="tx1"/>
                      </a:solidFill>
                      <a:prstDash val="solid"/>
                      <a:round/>
                      <a:headEnd type="none" w="med" len="med"/>
                      <a:tailEnd type="none" w="med" len="med"/>
                    </a:lnR>
                    <a:lnT w="9525" cap="flat" cmpd="sng" algn="ctr">
                      <a:solidFill>
                        <a:schemeClr val="tx1">
                          <a:lumMod val="75000"/>
                        </a:schemeClr>
                      </a:solidFill>
                      <a:prstDash val="sysDot"/>
                      <a:round/>
                      <a:headEnd type="none" w="med" len="med"/>
                      <a:tailEnd type="none" w="med" len="med"/>
                    </a:lnT>
                  </a:tcPr>
                </a:tc>
                <a:tc>
                  <a:txBody>
                    <a:bodyPr/>
                    <a:lstStyle/>
                    <a:p>
                      <a:pPr marL="177800" indent="-177800">
                        <a:buFont typeface="Arial" panose="020B0604020202020204" pitchFamily="34" charset="0"/>
                        <a:buChar char="•"/>
                      </a:pPr>
                      <a:r>
                        <a:rPr lang="en-US" sz="1400" kern="0" dirty="0">
                          <a:solidFill>
                            <a:schemeClr val="bg1"/>
                          </a:solidFill>
                          <a:latin typeface="+mn-lt"/>
                          <a:ea typeface="+mn-ea"/>
                          <a:cs typeface="+mn-cs"/>
                        </a:rPr>
                        <a:t>Increased elevator uptime</a:t>
                      </a:r>
                    </a:p>
                    <a:p>
                      <a:pPr marL="177800" indent="-177800">
                        <a:buFont typeface="Arial" panose="020B0604020202020204" pitchFamily="34" charset="0"/>
                        <a:buChar char="•"/>
                      </a:pPr>
                      <a:r>
                        <a:rPr lang="en-US" sz="1400" kern="0" dirty="0">
                          <a:solidFill>
                            <a:schemeClr val="bg1"/>
                          </a:solidFill>
                          <a:latin typeface="+mn-lt"/>
                          <a:ea typeface="+mn-ea"/>
                          <a:cs typeface="+mn-cs"/>
                        </a:rPr>
                        <a:t>Reduced costs for ThyssenKrupp and its customers</a:t>
                      </a:r>
                    </a:p>
                    <a:p>
                      <a:pPr marL="177800" indent="-177800">
                        <a:buFont typeface="Arial" panose="020B0604020202020204" pitchFamily="34" charset="0"/>
                        <a:buChar char="•"/>
                      </a:pPr>
                      <a:r>
                        <a:rPr lang="en-US" sz="1400" kern="0" dirty="0">
                          <a:solidFill>
                            <a:schemeClr val="bg1"/>
                          </a:solidFill>
                          <a:latin typeface="+mn-lt"/>
                          <a:ea typeface="+mn-ea"/>
                          <a:cs typeface="+mn-cs"/>
                        </a:rPr>
                        <a:t>Rich, real-time data visualization and awareness</a:t>
                      </a:r>
                      <a:r>
                        <a:rPr lang="en-US" sz="1400" kern="0" baseline="0" dirty="0">
                          <a:solidFill>
                            <a:schemeClr val="bg1"/>
                          </a:solidFill>
                          <a:latin typeface="+mn-lt"/>
                          <a:ea typeface="+mn-ea"/>
                          <a:cs typeface="+mn-cs"/>
                        </a:rPr>
                        <a:t> of </a:t>
                      </a:r>
                      <a:r>
                        <a:rPr lang="en-US" sz="1400" kern="0" dirty="0">
                          <a:solidFill>
                            <a:schemeClr val="bg1"/>
                          </a:solidFill>
                          <a:latin typeface="+mn-lt"/>
                          <a:ea typeface="+mn-ea"/>
                          <a:cs typeface="+mn-cs"/>
                        </a:rPr>
                        <a:t>issues</a:t>
                      </a:r>
                    </a:p>
                    <a:p>
                      <a:pPr marL="177800" marR="0" indent="-1778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0" dirty="0">
                          <a:solidFill>
                            <a:schemeClr val="bg1"/>
                          </a:solidFill>
                          <a:latin typeface="+mn-lt"/>
                          <a:ea typeface="+mn-ea"/>
                          <a:cs typeface="+mn-cs"/>
                        </a:rPr>
                        <a:t>The ability offer predictive maintenance services for customers around the globe</a:t>
                      </a:r>
                    </a:p>
                  </a:txBody>
                  <a:tcPr marL="0" marR="0" marT="46630" marB="46630" anchor="ctr">
                    <a:lnL w="19050" cap="flat" cmpd="sng" algn="ctr">
                      <a:solidFill>
                        <a:schemeClr val="tx1"/>
                      </a:solidFill>
                      <a:prstDash val="solid"/>
                      <a:round/>
                      <a:headEnd type="none" w="med" len="med"/>
                      <a:tailEnd type="none" w="med" len="med"/>
                    </a:lnL>
                    <a:lnT w="9525" cap="flat" cmpd="sng" algn="ctr">
                      <a:solidFill>
                        <a:schemeClr val="tx1">
                          <a:lumMod val="75000"/>
                        </a:schemeClr>
                      </a:solidFill>
                      <a:prstDash val="sysDot"/>
                      <a:round/>
                      <a:headEnd type="none" w="med" len="med"/>
                      <a:tailEnd type="none" w="med" len="med"/>
                    </a:lnT>
                  </a:tcPr>
                </a:tc>
                <a:extLst>
                  <a:ext uri="{0D108BD9-81ED-4DB2-BD59-A6C34878D82A}">
                    <a16:rowId xmlns:a16="http://schemas.microsoft.com/office/drawing/2014/main" val="10002"/>
                  </a:ext>
                </a:extLst>
              </a:tr>
            </a:tbl>
          </a:graphicData>
        </a:graphic>
      </p:graphicFrame>
      <p:pic>
        <p:nvPicPr>
          <p:cNvPr id="6146" name="Picture 2" descr="http://3.bp.blogspot.com/-W36PIvjDVMI/UZ4NFuxqmKI/AAAAAAAAAHE/Vw2WpgICb-c/s1600/ThyssenKrupp_logo.jpg"/>
          <p:cNvPicPr>
            <a:picLocks noChangeAspect="1" noChangeArrowheads="1"/>
          </p:cNvPicPr>
          <p:nvPr/>
        </p:nvPicPr>
        <p:blipFill rotWithShape="1">
          <a:blip r:embed="rId4" cstate="email">
            <a:clrChange>
              <a:clrFrom>
                <a:srgbClr val="FDFDFD"/>
              </a:clrFrom>
              <a:clrTo>
                <a:srgbClr val="FDFDFD">
                  <a:alpha val="0"/>
                </a:srgbClr>
              </a:clrTo>
            </a:clrChange>
            <a:extLst>
              <a:ext uri="{28A0092B-C50C-407E-A947-70E740481C1C}">
                <a14:useLocalDpi xmlns:a14="http://schemas.microsoft.com/office/drawing/2010/main"/>
              </a:ext>
            </a:extLst>
          </a:blip>
          <a:srcRect/>
          <a:stretch/>
        </p:blipFill>
        <p:spPr bwMode="auto">
          <a:xfrm>
            <a:off x="467183" y="5844076"/>
            <a:ext cx="2067271" cy="5080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4675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106480" y="1553470"/>
            <a:ext cx="6186309" cy="3324436"/>
          </a:xfrm>
          <a:prstGeom prst="rect">
            <a:avLst/>
          </a:prstGeom>
        </p:spPr>
      </p:pic>
      <p:sp>
        <p:nvSpPr>
          <p:cNvPr id="2" name="Title 1"/>
          <p:cNvSpPr>
            <a:spLocks noGrp="1"/>
          </p:cNvSpPr>
          <p:nvPr>
            <p:ph type="title"/>
          </p:nvPr>
        </p:nvSpPr>
        <p:spPr/>
        <p:txBody>
          <a:bodyPr/>
          <a:lstStyle/>
          <a:p>
            <a:r>
              <a:rPr lang="en-US" dirty="0"/>
              <a:t>ThyssenKrupp Demo + Video</a:t>
            </a:r>
          </a:p>
        </p:txBody>
      </p:sp>
      <p:pic>
        <p:nvPicPr>
          <p:cNvPr id="11" name="Picture 10">
            <a:hlinkClick r:id="rId4"/>
          </p:cNvPr>
          <p:cNvPicPr>
            <a:picLocks noChangeAspect="1"/>
          </p:cNvPicPr>
          <p:nvPr/>
        </p:nvPicPr>
        <p:blipFill rotWithShape="1">
          <a:blip r:embed="rId5" cstate="email">
            <a:extLst>
              <a:ext uri="{28A0092B-C50C-407E-A947-70E740481C1C}">
                <a14:useLocalDpi xmlns:a14="http://schemas.microsoft.com/office/drawing/2010/main"/>
              </a:ext>
            </a:extLst>
          </a:blip>
          <a:srcRect l="32532" b="675"/>
          <a:stretch/>
        </p:blipFill>
        <p:spPr>
          <a:xfrm>
            <a:off x="5720829" y="2962287"/>
            <a:ext cx="1352290" cy="432785"/>
          </a:xfrm>
          <a:prstGeom prst="rect">
            <a:avLst/>
          </a:prstGeom>
        </p:spPr>
      </p:pic>
      <p:sp>
        <p:nvSpPr>
          <p:cNvPr id="12" name="Freeform 101">
            <a:hlinkClick r:id="rId4"/>
          </p:cNvPr>
          <p:cNvSpPr>
            <a:spLocks/>
          </p:cNvSpPr>
          <p:nvPr/>
        </p:nvSpPr>
        <p:spPr bwMode="black">
          <a:xfrm rot="10800000">
            <a:off x="5326152" y="2985229"/>
            <a:ext cx="315856" cy="460919"/>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ysClr val="window" lastClr="FFFFFF"/>
          </a:solidFill>
          <a:ln>
            <a:noFill/>
          </a:ln>
          <a:extLst/>
        </p:spPr>
        <p:txBody>
          <a:bodyPr vert="horz" wrap="square" lIns="91403" tIns="45702" rIns="91403" bIns="45702" numCol="1" anchor="t" anchorCtr="0" compatLnSpc="1">
            <a:prstTxWarp prst="textNoShape">
              <a:avLst/>
            </a:prstTxWarp>
          </a:bodyPr>
          <a:lstStyle/>
          <a:p>
            <a:pPr>
              <a:defRPr/>
            </a:pPr>
            <a:endParaRPr lang="en-US" sz="2199" kern="0">
              <a:solidFill>
                <a:srgbClr val="505050"/>
              </a:solidFill>
            </a:endParaRPr>
          </a:p>
        </p:txBody>
      </p:sp>
      <p:pic>
        <p:nvPicPr>
          <p:cNvPr id="10" name="Picture 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344489" y="1430833"/>
            <a:ext cx="7747496" cy="4495538"/>
          </a:xfrm>
          <a:prstGeom prst="rect">
            <a:avLst/>
          </a:prstGeom>
        </p:spPr>
      </p:pic>
    </p:spTree>
    <p:extLst>
      <p:ext uri="{BB962C8B-B14F-4D97-AF65-F5344CB8AC3E}">
        <p14:creationId xmlns:p14="http://schemas.microsoft.com/office/powerpoint/2010/main" val="1339795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plore Cortana Intelligence today</a:t>
            </a:r>
          </a:p>
        </p:txBody>
      </p:sp>
      <p:sp>
        <p:nvSpPr>
          <p:cNvPr id="4" name="Rectangle 3"/>
          <p:cNvSpPr/>
          <p:nvPr/>
        </p:nvSpPr>
        <p:spPr>
          <a:xfrm>
            <a:off x="366141" y="2217116"/>
            <a:ext cx="3840438" cy="1846659"/>
          </a:xfrm>
          <a:prstGeom prst="rect">
            <a:avLst/>
          </a:prstGeom>
        </p:spPr>
        <p:txBody>
          <a:bodyPr wrap="square">
            <a:spAutoFit/>
          </a:bodyPr>
          <a:lstStyle/>
          <a:p>
            <a:r>
              <a:rPr lang="en-US" sz="2400" dirty="0">
                <a:solidFill>
                  <a:schemeClr val="accent1"/>
                </a:solidFill>
              </a:rPr>
              <a:t>1. Learn more</a:t>
            </a:r>
          </a:p>
          <a:p>
            <a:endParaRPr lang="en-US" dirty="0">
              <a:solidFill>
                <a:schemeClr val="accent1"/>
              </a:solidFill>
            </a:endParaRPr>
          </a:p>
          <a:p>
            <a:r>
              <a:rPr lang="en-US" dirty="0">
                <a:solidFill>
                  <a:schemeClr val="accent1"/>
                </a:solidFill>
              </a:rPr>
              <a:t>Keep up on the latest cloud-based analytics news on our </a:t>
            </a:r>
            <a:r>
              <a:rPr lang="en-US" dirty="0">
                <a:solidFill>
                  <a:schemeClr val="accent1"/>
                </a:solidFill>
                <a:hlinkClick r:id="rId3"/>
              </a:rPr>
              <a:t>blog</a:t>
            </a:r>
            <a:r>
              <a:rPr lang="en-US" dirty="0">
                <a:solidFill>
                  <a:schemeClr val="accent1"/>
                </a:solidFill>
              </a:rPr>
              <a:t> ▶</a:t>
            </a:r>
          </a:p>
          <a:p>
            <a:endParaRPr lang="en-US" dirty="0">
              <a:solidFill>
                <a:schemeClr val="accent1"/>
              </a:solidFill>
            </a:endParaRPr>
          </a:p>
          <a:p>
            <a:endParaRPr lang="en-US" dirty="0">
              <a:solidFill>
                <a:schemeClr val="accent1"/>
              </a:solidFill>
            </a:endParaRPr>
          </a:p>
        </p:txBody>
      </p:sp>
      <p:sp>
        <p:nvSpPr>
          <p:cNvPr id="5" name="Rectangle 4"/>
          <p:cNvSpPr/>
          <p:nvPr/>
        </p:nvSpPr>
        <p:spPr>
          <a:xfrm>
            <a:off x="8353857" y="2217116"/>
            <a:ext cx="4082617" cy="830997"/>
          </a:xfrm>
          <a:prstGeom prst="rect">
            <a:avLst/>
          </a:prstGeom>
        </p:spPr>
        <p:txBody>
          <a:bodyPr wrap="square">
            <a:spAutoFit/>
          </a:bodyPr>
          <a:lstStyle/>
          <a:p>
            <a:r>
              <a:rPr lang="en-US" sz="2400" dirty="0">
                <a:solidFill>
                  <a:schemeClr val="accent1"/>
                </a:solidFill>
              </a:rPr>
              <a:t>3. Find or become a partner</a:t>
            </a:r>
          </a:p>
          <a:p>
            <a:endParaRPr lang="en-US" sz="2400" dirty="0">
              <a:solidFill>
                <a:schemeClr val="accent1"/>
              </a:solidFill>
            </a:endParaRPr>
          </a:p>
        </p:txBody>
      </p:sp>
      <p:sp>
        <p:nvSpPr>
          <p:cNvPr id="6" name="Rectangle 5"/>
          <p:cNvSpPr/>
          <p:nvPr/>
        </p:nvSpPr>
        <p:spPr>
          <a:xfrm>
            <a:off x="4496248" y="2217116"/>
            <a:ext cx="3840438" cy="1107996"/>
          </a:xfrm>
          <a:prstGeom prst="rect">
            <a:avLst/>
          </a:prstGeom>
        </p:spPr>
        <p:txBody>
          <a:bodyPr wrap="square">
            <a:spAutoFit/>
          </a:bodyPr>
          <a:lstStyle/>
          <a:p>
            <a:r>
              <a:rPr lang="en-US" sz="2400" dirty="0">
                <a:solidFill>
                  <a:schemeClr val="accent1"/>
                </a:solidFill>
              </a:rPr>
              <a:t>2. Get trained</a:t>
            </a:r>
          </a:p>
          <a:p>
            <a:endParaRPr lang="en-US" sz="2400" dirty="0">
              <a:solidFill>
                <a:schemeClr val="accent1"/>
              </a:solidFill>
            </a:endParaRPr>
          </a:p>
          <a:p>
            <a:endParaRPr lang="en-US" dirty="0">
              <a:solidFill>
                <a:schemeClr val="accent1"/>
              </a:solidFill>
            </a:endParaRPr>
          </a:p>
        </p:txBody>
      </p:sp>
      <p:sp>
        <p:nvSpPr>
          <p:cNvPr id="7" name="Rectangle 6"/>
          <p:cNvSpPr/>
          <p:nvPr/>
        </p:nvSpPr>
        <p:spPr>
          <a:xfrm>
            <a:off x="275004" y="6480337"/>
            <a:ext cx="10476607" cy="369332"/>
          </a:xfrm>
          <a:prstGeom prst="rect">
            <a:avLst/>
          </a:prstGeom>
        </p:spPr>
        <p:txBody>
          <a:bodyPr wrap="square">
            <a:spAutoFit/>
          </a:bodyPr>
          <a:lstStyle/>
          <a:p>
            <a:endParaRPr lang="en-US" dirty="0">
              <a:solidFill>
                <a:srgbClr val="00BCF2"/>
              </a:solidFill>
            </a:endParaRPr>
          </a:p>
        </p:txBody>
      </p:sp>
      <p:cxnSp>
        <p:nvCxnSpPr>
          <p:cNvPr id="8" name="Straight Connector 7"/>
          <p:cNvCxnSpPr/>
          <p:nvPr/>
        </p:nvCxnSpPr>
        <p:spPr>
          <a:xfrm>
            <a:off x="4274481" y="1851360"/>
            <a:ext cx="0" cy="2926048"/>
          </a:xfrm>
          <a:prstGeom prst="line">
            <a:avLst/>
          </a:prstGeom>
          <a:ln>
            <a:solidFill>
              <a:schemeClr val="bg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7994385" y="1851360"/>
            <a:ext cx="0" cy="2926048"/>
          </a:xfrm>
          <a:prstGeom prst="line">
            <a:avLst/>
          </a:prstGeom>
          <a:ln>
            <a:solidFill>
              <a:schemeClr val="bg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4496248" y="3864687"/>
            <a:ext cx="3291804" cy="923330"/>
          </a:xfrm>
          <a:prstGeom prst="rect">
            <a:avLst/>
          </a:prstGeom>
        </p:spPr>
        <p:txBody>
          <a:bodyPr wrap="square">
            <a:spAutoFit/>
          </a:bodyPr>
          <a:lstStyle/>
          <a:p>
            <a:r>
              <a:rPr lang="en-US" dirty="0">
                <a:solidFill>
                  <a:schemeClr val="accent1"/>
                </a:solidFill>
              </a:rPr>
              <a:t>Participate in Data Science and Machine Learning Essentials </a:t>
            </a:r>
            <a:r>
              <a:rPr lang="en-US" dirty="0">
                <a:solidFill>
                  <a:schemeClr val="accent1"/>
                </a:solidFill>
                <a:hlinkClick r:id="rId4"/>
              </a:rPr>
              <a:t>course</a:t>
            </a:r>
            <a:r>
              <a:rPr lang="en-US" dirty="0">
                <a:solidFill>
                  <a:schemeClr val="accent1"/>
                </a:solidFill>
              </a:rPr>
              <a:t> through </a:t>
            </a:r>
            <a:r>
              <a:rPr lang="en-US" dirty="0" err="1">
                <a:solidFill>
                  <a:schemeClr val="accent1"/>
                </a:solidFill>
              </a:rPr>
              <a:t>edX</a:t>
            </a:r>
            <a:r>
              <a:rPr lang="en-US" dirty="0">
                <a:solidFill>
                  <a:schemeClr val="accent1"/>
                </a:solidFill>
              </a:rPr>
              <a:t> ▶</a:t>
            </a:r>
          </a:p>
        </p:txBody>
      </p:sp>
      <p:sp>
        <p:nvSpPr>
          <p:cNvPr id="11" name="Rectangle 10"/>
          <p:cNvSpPr/>
          <p:nvPr/>
        </p:nvSpPr>
        <p:spPr>
          <a:xfrm>
            <a:off x="4496248" y="2852473"/>
            <a:ext cx="3291804" cy="646331"/>
          </a:xfrm>
          <a:prstGeom prst="rect">
            <a:avLst/>
          </a:prstGeom>
        </p:spPr>
        <p:txBody>
          <a:bodyPr wrap="square">
            <a:spAutoFit/>
          </a:bodyPr>
          <a:lstStyle/>
          <a:p>
            <a:r>
              <a:rPr lang="en-US" dirty="0">
                <a:solidFill>
                  <a:schemeClr val="accent1"/>
                </a:solidFill>
              </a:rPr>
              <a:t>Watch the Cortana Intelligence </a:t>
            </a:r>
            <a:r>
              <a:rPr lang="en-US" dirty="0">
                <a:solidFill>
                  <a:schemeClr val="accent1"/>
                </a:solidFill>
                <a:hlinkClick r:id="rId5"/>
              </a:rPr>
              <a:t>Workshop</a:t>
            </a:r>
            <a:r>
              <a:rPr lang="en-US" dirty="0">
                <a:solidFill>
                  <a:schemeClr val="accent1"/>
                </a:solidFill>
              </a:rPr>
              <a:t> ▶</a:t>
            </a:r>
          </a:p>
        </p:txBody>
      </p:sp>
      <p:sp>
        <p:nvSpPr>
          <p:cNvPr id="12" name="Rectangle 11"/>
          <p:cNvSpPr/>
          <p:nvPr/>
        </p:nvSpPr>
        <p:spPr>
          <a:xfrm>
            <a:off x="8301227" y="3864687"/>
            <a:ext cx="2834009" cy="646331"/>
          </a:xfrm>
          <a:prstGeom prst="rect">
            <a:avLst/>
          </a:prstGeom>
        </p:spPr>
        <p:txBody>
          <a:bodyPr wrap="square">
            <a:spAutoFit/>
          </a:bodyPr>
          <a:lstStyle/>
          <a:p>
            <a:r>
              <a:rPr lang="en-US" dirty="0">
                <a:solidFill>
                  <a:schemeClr val="bg2"/>
                </a:solidFill>
                <a:hlinkClick r:id="rId6"/>
              </a:rPr>
              <a:t>Become </a:t>
            </a:r>
            <a:r>
              <a:rPr lang="en-US" dirty="0">
                <a:solidFill>
                  <a:schemeClr val="accent1"/>
                </a:solidFill>
              </a:rPr>
              <a:t>a Cortana Intelligence Partner ▶</a:t>
            </a:r>
          </a:p>
        </p:txBody>
      </p:sp>
      <p:sp>
        <p:nvSpPr>
          <p:cNvPr id="13" name="Rectangle 12"/>
          <p:cNvSpPr/>
          <p:nvPr/>
        </p:nvSpPr>
        <p:spPr>
          <a:xfrm>
            <a:off x="8301227" y="2848249"/>
            <a:ext cx="3291202" cy="923330"/>
          </a:xfrm>
          <a:prstGeom prst="rect">
            <a:avLst/>
          </a:prstGeom>
        </p:spPr>
        <p:txBody>
          <a:bodyPr wrap="square">
            <a:spAutoFit/>
          </a:bodyPr>
          <a:lstStyle/>
          <a:p>
            <a:r>
              <a:rPr lang="en-US" dirty="0">
                <a:solidFill>
                  <a:schemeClr val="accent1"/>
                </a:solidFill>
                <a:hlinkClick r:id="rId7"/>
              </a:rPr>
              <a:t>Connect with a partner </a:t>
            </a:r>
            <a:r>
              <a:rPr lang="en-US" dirty="0">
                <a:solidFill>
                  <a:schemeClr val="accent1"/>
                </a:solidFill>
              </a:rPr>
              <a:t>who can help tailor Cortana Intelligence to your needs ▶</a:t>
            </a:r>
          </a:p>
        </p:txBody>
      </p:sp>
      <p:sp>
        <p:nvSpPr>
          <p:cNvPr id="14" name="Rectangle 13"/>
          <p:cNvSpPr/>
          <p:nvPr/>
        </p:nvSpPr>
        <p:spPr>
          <a:xfrm>
            <a:off x="366141" y="3864687"/>
            <a:ext cx="3840438" cy="646331"/>
          </a:xfrm>
          <a:prstGeom prst="rect">
            <a:avLst/>
          </a:prstGeom>
        </p:spPr>
        <p:txBody>
          <a:bodyPr wrap="square">
            <a:spAutoFit/>
          </a:bodyPr>
          <a:lstStyle/>
          <a:p>
            <a:r>
              <a:rPr lang="en-US" dirty="0">
                <a:solidFill>
                  <a:schemeClr val="accent1"/>
                </a:solidFill>
              </a:rPr>
              <a:t>Visit the Cortana Intelligence</a:t>
            </a:r>
            <a:r>
              <a:rPr lang="en-US" dirty="0">
                <a:solidFill>
                  <a:srgbClr val="002050"/>
                </a:solidFill>
              </a:rPr>
              <a:t> </a:t>
            </a:r>
            <a:r>
              <a:rPr lang="en-US" dirty="0">
                <a:solidFill>
                  <a:srgbClr val="002050"/>
                </a:solidFill>
                <a:hlinkClick r:id="rId8"/>
              </a:rPr>
              <a:t>page</a:t>
            </a:r>
            <a:r>
              <a:rPr lang="en-US" dirty="0">
                <a:solidFill>
                  <a:srgbClr val="002050"/>
                </a:solidFill>
              </a:rPr>
              <a:t> </a:t>
            </a:r>
            <a:r>
              <a:rPr lang="en-US" dirty="0">
                <a:solidFill>
                  <a:schemeClr val="accent1"/>
                </a:solidFill>
              </a:rPr>
              <a:t>▶</a:t>
            </a:r>
          </a:p>
          <a:p>
            <a:endParaRPr lang="en-US" dirty="0">
              <a:solidFill>
                <a:schemeClr val="bg2"/>
              </a:solidFill>
            </a:endParaRPr>
          </a:p>
        </p:txBody>
      </p:sp>
    </p:spTree>
    <p:extLst>
      <p:ext uri="{BB962C8B-B14F-4D97-AF65-F5344CB8AC3E}">
        <p14:creationId xmlns:p14="http://schemas.microsoft.com/office/powerpoint/2010/main" val="3858878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3"/>
          <p:cNvSpPr txBox="1">
            <a:spLocks noChangeArrowheads="1"/>
          </p:cNvSpPr>
          <p:nvPr/>
        </p:nvSpPr>
        <p:spPr bwMode="blackWhite">
          <a:xfrm>
            <a:off x="275482" y="5920919"/>
            <a:ext cx="11854721"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solidFill>
                  <a:schemeClr val="bg1"/>
                </a:solidFill>
                <a:cs typeface="Segoe UI" pitchFamily="34" charset="0"/>
              </a:rPr>
              <a:t>© 2016 Microsoft Corporation. All rights reserved. </a:t>
            </a:r>
          </a:p>
        </p:txBody>
      </p:sp>
      <p:pic>
        <p:nvPicPr>
          <p:cNvPr id="6" name="Picture 5"/>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invGray">
          <a:xfrm>
            <a:off x="468803" y="3207443"/>
            <a:ext cx="3354781" cy="718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10792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ppendix</a:t>
            </a:r>
          </a:p>
        </p:txBody>
      </p:sp>
    </p:spTree>
    <p:extLst>
      <p:ext uri="{BB962C8B-B14F-4D97-AF65-F5344CB8AC3E}">
        <p14:creationId xmlns:p14="http://schemas.microsoft.com/office/powerpoint/2010/main" val="2231834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 y="-1"/>
            <a:ext cx="12436475" cy="6994525"/>
          </a:xfrm>
          <a:prstGeom prst="rect">
            <a:avLst/>
          </a:prstGeom>
        </p:spPr>
      </p:pic>
      <p:sp>
        <p:nvSpPr>
          <p:cNvPr id="3" name="Title 2"/>
          <p:cNvSpPr>
            <a:spLocks noGrp="1"/>
          </p:cNvSpPr>
          <p:nvPr>
            <p:ph type="title"/>
          </p:nvPr>
        </p:nvSpPr>
        <p:spPr/>
        <p:txBody>
          <a:bodyPr/>
          <a:lstStyle/>
          <a:p>
            <a:r>
              <a:rPr lang="en-US" dirty="0">
                <a:solidFill>
                  <a:schemeClr val="tx1"/>
                </a:solidFill>
              </a:rPr>
              <a:t>Video: American Eagle</a:t>
            </a:r>
          </a:p>
        </p:txBody>
      </p:sp>
      <p:sp>
        <p:nvSpPr>
          <p:cNvPr id="5" name="TextBox 4">
            <a:hlinkClick r:id="rId4"/>
          </p:cNvPr>
          <p:cNvSpPr txBox="1"/>
          <p:nvPr/>
        </p:nvSpPr>
        <p:spPr>
          <a:xfrm>
            <a:off x="832338" y="6237385"/>
            <a:ext cx="1230017" cy="215444"/>
          </a:xfrm>
          <a:prstGeom prst="rect">
            <a:avLst/>
          </a:prstGeom>
        </p:spPr>
        <p:txBody>
          <a:bodyPr vert="horz" wrap="square" lIns="0" tIns="0" rIns="0" bIns="0" rtlCol="0" anchor="t">
            <a:noAutofit/>
          </a:bodyPr>
          <a:lstStyle/>
          <a:p>
            <a:r>
              <a:rPr lang="en-GB" sz="1400" b="1" dirty="0">
                <a:solidFill>
                  <a:schemeClr val="bg1">
                    <a:lumMod val="95000"/>
                  </a:schemeClr>
                </a:solidFill>
                <a:ea typeface="Segoe UI" pitchFamily="34" charset="0"/>
                <a:cs typeface="Segoe UI" pitchFamily="34" charset="0"/>
              </a:rPr>
              <a:t>WATCH VIDEO</a:t>
            </a:r>
          </a:p>
        </p:txBody>
      </p:sp>
      <p:grpSp>
        <p:nvGrpSpPr>
          <p:cNvPr id="6" name="Group 5"/>
          <p:cNvGrpSpPr/>
          <p:nvPr/>
        </p:nvGrpSpPr>
        <p:grpSpPr>
          <a:xfrm>
            <a:off x="463713" y="6119146"/>
            <a:ext cx="1598642" cy="451922"/>
            <a:chOff x="463713" y="6119146"/>
            <a:chExt cx="1598642" cy="451922"/>
          </a:xfrm>
          <a:solidFill>
            <a:schemeClr val="tx1"/>
          </a:solidFill>
        </p:grpSpPr>
        <p:sp>
          <p:nvSpPr>
            <p:cNvPr id="7" name="Freeform 101">
              <a:hlinkClick r:id="rId4"/>
            </p:cNvPr>
            <p:cNvSpPr>
              <a:spLocks/>
            </p:cNvSpPr>
            <p:nvPr/>
          </p:nvSpPr>
          <p:spPr bwMode="black">
            <a:xfrm rot="10800000">
              <a:off x="463713" y="6119146"/>
              <a:ext cx="301285" cy="451922"/>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grpFill/>
            <a:ln>
              <a:noFill/>
            </a:ln>
            <a:extLst/>
          </p:spPr>
          <p:txBody>
            <a:bodyPr vert="horz" wrap="square" lIns="89619" tIns="44810" rIns="89619" bIns="44810" numCol="1" anchor="t" anchorCtr="0" compatLnSpc="1">
              <a:prstTxWarp prst="textNoShape">
                <a:avLst/>
              </a:prstTxWarp>
            </a:bodyPr>
            <a:lstStyle/>
            <a:p>
              <a:endParaRPr lang="en-US" sz="2156"/>
            </a:p>
          </p:txBody>
        </p:sp>
        <p:sp>
          <p:nvSpPr>
            <p:cNvPr id="8" name="TextBox 7">
              <a:hlinkClick r:id="rId4"/>
            </p:cNvPr>
            <p:cNvSpPr txBox="1"/>
            <p:nvPr/>
          </p:nvSpPr>
          <p:spPr>
            <a:xfrm>
              <a:off x="832338" y="6237385"/>
              <a:ext cx="1230017" cy="215444"/>
            </a:xfrm>
            <a:prstGeom prst="rect">
              <a:avLst/>
            </a:prstGeom>
            <a:noFill/>
          </p:spPr>
          <p:txBody>
            <a:bodyPr vert="horz" wrap="square" lIns="0" tIns="0" rIns="0" bIns="0" rtlCol="0" anchor="t">
              <a:noAutofit/>
            </a:bodyPr>
            <a:lstStyle/>
            <a:p>
              <a:r>
                <a:rPr lang="en-GB" sz="1400" b="1" dirty="0">
                  <a:ea typeface="Segoe UI" pitchFamily="34" charset="0"/>
                  <a:cs typeface="Segoe UI" pitchFamily="34" charset="0"/>
                </a:rPr>
                <a:t>WATCH VIDEO</a:t>
              </a:r>
            </a:p>
          </p:txBody>
        </p:sp>
      </p:grpSp>
    </p:spTree>
    <p:extLst>
      <p:ext uri="{BB962C8B-B14F-4D97-AF65-F5344CB8AC3E}">
        <p14:creationId xmlns:p14="http://schemas.microsoft.com/office/powerpoint/2010/main" val="4172816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p:cNvGrpSpPr/>
          <p:nvPr/>
        </p:nvGrpSpPr>
        <p:grpSpPr>
          <a:xfrm>
            <a:off x="-635" y="-1"/>
            <a:ext cx="12436475" cy="6995160"/>
            <a:chOff x="-635" y="-1"/>
            <a:chExt cx="12436475" cy="699516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5" name="Rectangle 4"/>
            <p:cNvSpPr/>
            <p:nvPr/>
          </p:nvSpPr>
          <p:spPr bwMode="auto">
            <a:xfrm>
              <a:off x="-635" y="-1"/>
              <a:ext cx="12436475" cy="6994525"/>
            </a:xfrm>
            <a:prstGeom prst="rect">
              <a:avLst/>
            </a:prstGeom>
            <a:solidFill>
              <a:srgbClr val="275364">
                <a:alpha val="30000"/>
              </a:srgb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6" name="Rectangle 5"/>
          <p:cNvSpPr/>
          <p:nvPr/>
        </p:nvSpPr>
        <p:spPr bwMode="auto">
          <a:xfrm>
            <a:off x="-1" y="0"/>
            <a:ext cx="9630383" cy="6994525"/>
          </a:xfrm>
          <a:prstGeom prst="rect">
            <a:avLst/>
          </a:prstGeom>
          <a:gradFill flip="none" rotWithShape="1">
            <a:gsLst>
              <a:gs pos="0">
                <a:srgbClr val="101F28">
                  <a:alpha val="51000"/>
                </a:srgbClr>
              </a:gs>
              <a:gs pos="88000">
                <a:srgbClr val="101F28">
                  <a:alpha val="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 name="Title 1"/>
          <p:cNvSpPr txBox="1">
            <a:spLocks/>
          </p:cNvSpPr>
          <p:nvPr/>
        </p:nvSpPr>
        <p:spPr>
          <a:xfrm>
            <a:off x="371454" y="3868195"/>
            <a:ext cx="5486399" cy="917575"/>
          </a:xfrm>
          <a:prstGeom prst="rect">
            <a:avLst/>
          </a:prstGeom>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a:gradFill>
                  <a:gsLst>
                    <a:gs pos="1250">
                      <a:srgbClr val="FFFFFF"/>
                    </a:gs>
                    <a:gs pos="100000">
                      <a:srgbClr val="FFFFFF"/>
                    </a:gs>
                  </a:gsLst>
                  <a:lin ang="5400000" scaled="0"/>
                </a:gradFill>
                <a:effectLst>
                  <a:outerShdw blurRad="266700" sx="102000" sy="102000" algn="ctr" rotWithShape="0">
                    <a:prstClr val="black"/>
                  </a:outerShdw>
                </a:effectLst>
              </a:rPr>
              <a:t>Think about a really big data problem</a:t>
            </a:r>
          </a:p>
        </p:txBody>
      </p:sp>
      <p:grpSp>
        <p:nvGrpSpPr>
          <p:cNvPr id="2" name="Group 1"/>
          <p:cNvGrpSpPr/>
          <p:nvPr/>
        </p:nvGrpSpPr>
        <p:grpSpPr>
          <a:xfrm>
            <a:off x="575531" y="2208755"/>
            <a:ext cx="1059628" cy="1059628"/>
            <a:chOff x="575531" y="2208755"/>
            <a:chExt cx="1059628" cy="1059628"/>
          </a:xfrm>
        </p:grpSpPr>
        <p:sp>
          <p:nvSpPr>
            <p:cNvPr id="8" name="Oval 7"/>
            <p:cNvSpPr/>
            <p:nvPr/>
          </p:nvSpPr>
          <p:spPr bwMode="auto">
            <a:xfrm>
              <a:off x="575531" y="2208755"/>
              <a:ext cx="1059628" cy="1059628"/>
            </a:xfrm>
            <a:prstGeom prst="ellipse">
              <a:avLst/>
            </a:prstGeom>
            <a:solidFill>
              <a:schemeClr val="tx1">
                <a:alpha val="20000"/>
              </a:schemeClr>
            </a:solid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9" name="Group 4"/>
            <p:cNvGrpSpPr>
              <a:grpSpLocks noChangeAspect="1"/>
            </p:cNvGrpSpPr>
            <p:nvPr/>
          </p:nvGrpSpPr>
          <p:grpSpPr bwMode="auto">
            <a:xfrm>
              <a:off x="821976" y="2446654"/>
              <a:ext cx="566738" cy="476250"/>
              <a:chOff x="518" y="1575"/>
              <a:chExt cx="357" cy="300"/>
            </a:xfrm>
            <a:solidFill>
              <a:schemeClr val="tx1"/>
            </a:solidFill>
          </p:grpSpPr>
          <p:sp>
            <p:nvSpPr>
              <p:cNvPr id="10" name="Freeform 5"/>
              <p:cNvSpPr>
                <a:spLocks noEditPoints="1"/>
              </p:cNvSpPr>
              <p:nvPr/>
            </p:nvSpPr>
            <p:spPr bwMode="auto">
              <a:xfrm>
                <a:off x="518" y="1575"/>
                <a:ext cx="357" cy="300"/>
              </a:xfrm>
              <a:custGeom>
                <a:avLst/>
                <a:gdLst>
                  <a:gd name="T0" fmla="*/ 357 w 357"/>
                  <a:gd name="T1" fmla="*/ 300 h 300"/>
                  <a:gd name="T2" fmla="*/ 0 w 357"/>
                  <a:gd name="T3" fmla="*/ 300 h 300"/>
                  <a:gd name="T4" fmla="*/ 178 w 357"/>
                  <a:gd name="T5" fmla="*/ 0 h 300"/>
                  <a:gd name="T6" fmla="*/ 357 w 357"/>
                  <a:gd name="T7" fmla="*/ 300 h 300"/>
                  <a:gd name="T8" fmla="*/ 34 w 357"/>
                  <a:gd name="T9" fmla="*/ 280 h 300"/>
                  <a:gd name="T10" fmla="*/ 323 w 357"/>
                  <a:gd name="T11" fmla="*/ 280 h 300"/>
                  <a:gd name="T12" fmla="*/ 178 w 357"/>
                  <a:gd name="T13" fmla="*/ 39 h 300"/>
                  <a:gd name="T14" fmla="*/ 34 w 357"/>
                  <a:gd name="T15" fmla="*/ 280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7" h="300">
                    <a:moveTo>
                      <a:pt x="357" y="300"/>
                    </a:moveTo>
                    <a:lnTo>
                      <a:pt x="0" y="300"/>
                    </a:lnTo>
                    <a:lnTo>
                      <a:pt x="178" y="0"/>
                    </a:lnTo>
                    <a:lnTo>
                      <a:pt x="357" y="300"/>
                    </a:lnTo>
                    <a:close/>
                    <a:moveTo>
                      <a:pt x="34" y="280"/>
                    </a:moveTo>
                    <a:lnTo>
                      <a:pt x="323" y="280"/>
                    </a:lnTo>
                    <a:lnTo>
                      <a:pt x="178" y="39"/>
                    </a:lnTo>
                    <a:lnTo>
                      <a:pt x="34"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 name="Rectangle 6"/>
              <p:cNvSpPr>
                <a:spLocks noChangeArrowheads="1"/>
              </p:cNvSpPr>
              <p:nvPr/>
            </p:nvSpPr>
            <p:spPr bwMode="auto">
              <a:xfrm>
                <a:off x="687" y="1672"/>
                <a:ext cx="19" cy="1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2" name="Rectangle 7"/>
              <p:cNvSpPr>
                <a:spLocks noChangeArrowheads="1"/>
              </p:cNvSpPr>
              <p:nvPr/>
            </p:nvSpPr>
            <p:spPr bwMode="auto">
              <a:xfrm>
                <a:off x="687" y="1814"/>
                <a:ext cx="1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spTree>
    <p:extLst>
      <p:ext uri="{BB962C8B-B14F-4D97-AF65-F5344CB8AC3E}">
        <p14:creationId xmlns:p14="http://schemas.microsoft.com/office/powerpoint/2010/main" val="4246787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 presetClass="entr" presetSubtype="0" fill="hold" nodeType="withEffect">
                                  <p:stCondLst>
                                    <p:cond delay="0"/>
                                  </p:stCondLst>
                                  <p:childTnLst>
                                    <p:set>
                                      <p:cBhvr>
                                        <p:cTn id="9" dur="1" fill="hold">
                                          <p:stCondLst>
                                            <p:cond delay="499"/>
                                          </p:stCondLst>
                                        </p:cTn>
                                        <p:tgtEl>
                                          <p:spTgt spid="2"/>
                                        </p:tgtEl>
                                        <p:attrNameLst>
                                          <p:attrName>style.visibility</p:attrName>
                                        </p:attrNameLst>
                                      </p:cBhvr>
                                      <p:to>
                                        <p:strVal val="visible"/>
                                      </p:to>
                                    </p:set>
                                  </p:childTnLst>
                                </p:cTn>
                              </p:par>
                              <p:par>
                                <p:cTn id="10" presetID="6" presetClass="emph" presetSubtype="0" accel="100000" autoRev="1" fill="hold" nodeType="withEffect">
                                  <p:stCondLst>
                                    <p:cond delay="0"/>
                                  </p:stCondLst>
                                  <p:childTnLst>
                                    <p:animScale>
                                      <p:cBhvr>
                                        <p:cTn id="11" dur="500" fill="hold"/>
                                        <p:tgtEl>
                                          <p:spTgt spid="2"/>
                                        </p:tgtEl>
                                      </p:cBhvr>
                                      <p:by x="0" y="0"/>
                                    </p:animScale>
                                  </p:childTnLst>
                                </p:cTn>
                              </p:par>
                              <p:par>
                                <p:cTn id="12" presetID="10" presetClass="entr" presetSubtype="0" fill="hold" grpId="0" nodeType="withEffect">
                                  <p:stCondLst>
                                    <p:cond delay="50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63" presetClass="path" presetSubtype="0" decel="100000" fill="hold" grpId="1" nodeType="withEffect">
                                  <p:stCondLst>
                                    <p:cond delay="500"/>
                                  </p:stCondLst>
                                  <p:childTnLst>
                                    <p:animMotion origin="layout" path="M 3.22951E-6 -1.77031E-6 L 0.018 -1.77031E-6 " pathEditMode="relative" rAng="0" ptsTypes="AA">
                                      <p:cBhvr>
                                        <p:cTn id="16" dur="500" spd="-100000" fill="hold"/>
                                        <p:tgtEl>
                                          <p:spTgt spid="7"/>
                                        </p:tgtEl>
                                        <p:attrNameLst>
                                          <p:attrName>ppt_x</p:attrName>
                                          <p:attrName>ppt_y</p:attrName>
                                        </p:attrNameLst>
                                      </p:cBhvr>
                                      <p:rCtr x="8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7" grpId="1"/>
    </p:bld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re are some examples of how </a:t>
            </a:r>
            <a:br>
              <a:rPr lang="en-US" dirty="0"/>
            </a:br>
            <a:r>
              <a:rPr lang="en-US" dirty="0"/>
              <a:t>our customers are staying ahead</a:t>
            </a:r>
          </a:p>
        </p:txBody>
      </p:sp>
      <p:sp>
        <p:nvSpPr>
          <p:cNvPr id="47" name="Rectangle 46"/>
          <p:cNvSpPr/>
          <p:nvPr/>
        </p:nvSpPr>
        <p:spPr bwMode="auto">
          <a:xfrm>
            <a:off x="433875" y="3466463"/>
            <a:ext cx="1728059" cy="818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563">
              <a:spcAft>
                <a:spcPts val="1224"/>
              </a:spcAft>
              <a:buSzPct val="90000"/>
            </a:pPr>
            <a:r>
              <a:rPr lang="en-US" sz="1428" dirty="0">
                <a:solidFill>
                  <a:schemeClr val="bg1"/>
                </a:solidFill>
              </a:rPr>
              <a:t>Improving visibility</a:t>
            </a:r>
            <a:br>
              <a:rPr lang="en-US" sz="1428" dirty="0">
                <a:solidFill>
                  <a:schemeClr val="bg1"/>
                </a:solidFill>
              </a:rPr>
            </a:br>
            <a:r>
              <a:rPr lang="en-US" sz="1428" dirty="0">
                <a:solidFill>
                  <a:schemeClr val="bg1"/>
                </a:solidFill>
              </a:rPr>
              <a:t>and making accurate predictions</a:t>
            </a:r>
            <a:endParaRPr lang="en-US" sz="1428" b="1" dirty="0">
              <a:solidFill>
                <a:schemeClr val="bg1"/>
              </a:solidFill>
            </a:endParaRPr>
          </a:p>
          <a:p>
            <a:pPr marL="93260" indent="-93260" defTabSz="932563">
              <a:spcAft>
                <a:spcPts val="1224"/>
              </a:spcAft>
              <a:buClr>
                <a:srgbClr val="0078D7"/>
              </a:buClr>
              <a:buSzPct val="90000"/>
              <a:buFont typeface="Arial" panose="020B0604020202020204" pitchFamily="34" charset="0"/>
              <a:buChar char="•"/>
            </a:pPr>
            <a:endParaRPr lang="en-US" sz="1428" dirty="0">
              <a:solidFill>
                <a:schemeClr val="bg1"/>
              </a:solidFill>
            </a:endParaRPr>
          </a:p>
          <a:p>
            <a:pPr defTabSz="932563">
              <a:spcAft>
                <a:spcPts val="1224"/>
              </a:spcAft>
              <a:buSzPct val="90000"/>
            </a:pPr>
            <a:endParaRPr lang="en-US" sz="1428" dirty="0">
              <a:solidFill>
                <a:schemeClr val="bg1"/>
              </a:solidFill>
            </a:endParaRPr>
          </a:p>
        </p:txBody>
      </p:sp>
      <p:sp>
        <p:nvSpPr>
          <p:cNvPr id="52" name="Rectangle 51"/>
          <p:cNvSpPr/>
          <p:nvPr/>
        </p:nvSpPr>
        <p:spPr bwMode="auto">
          <a:xfrm>
            <a:off x="10121302" y="3466464"/>
            <a:ext cx="1854006" cy="4905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563">
              <a:spcAft>
                <a:spcPts val="1224"/>
              </a:spcAft>
              <a:buSzPct val="90000"/>
            </a:pPr>
            <a:r>
              <a:rPr lang="en-US" sz="1428" dirty="0">
                <a:solidFill>
                  <a:schemeClr val="bg1"/>
                </a:solidFill>
              </a:rPr>
              <a:t>Exploring new business opportunities</a:t>
            </a:r>
          </a:p>
        </p:txBody>
      </p:sp>
      <p:grpSp>
        <p:nvGrpSpPr>
          <p:cNvPr id="36" name="Group 35"/>
          <p:cNvGrpSpPr/>
          <p:nvPr/>
        </p:nvGrpSpPr>
        <p:grpSpPr>
          <a:xfrm>
            <a:off x="488412" y="2017897"/>
            <a:ext cx="1133219" cy="1131673"/>
            <a:chOff x="-4075112" y="-1241425"/>
            <a:chExt cx="1162050" cy="1160463"/>
          </a:xfrm>
        </p:grpSpPr>
        <p:sp>
          <p:nvSpPr>
            <p:cNvPr id="37" name="Oval 7"/>
            <p:cNvSpPr>
              <a:spLocks noChangeArrowheads="1"/>
            </p:cNvSpPr>
            <p:nvPr/>
          </p:nvSpPr>
          <p:spPr bwMode="auto">
            <a:xfrm>
              <a:off x="-4075112" y="-1241425"/>
              <a:ext cx="744538" cy="755650"/>
            </a:xfrm>
            <a:prstGeom prst="ellipse">
              <a:avLst/>
            </a:prstGeom>
            <a:noFill/>
            <a:ln w="349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38" name="Line 8"/>
            <p:cNvSpPr>
              <a:spLocks noChangeShapeType="1"/>
            </p:cNvSpPr>
            <p:nvPr/>
          </p:nvSpPr>
          <p:spPr bwMode="auto">
            <a:xfrm>
              <a:off x="-3443287" y="-598487"/>
              <a:ext cx="112713" cy="112713"/>
            </a:xfrm>
            <a:prstGeom prst="line">
              <a:avLst/>
            </a:prstGeom>
            <a:noFill/>
            <a:ln w="349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39" name="Freeform 9"/>
            <p:cNvSpPr>
              <a:spLocks/>
            </p:cNvSpPr>
            <p:nvPr/>
          </p:nvSpPr>
          <p:spPr bwMode="auto">
            <a:xfrm>
              <a:off x="-3387725" y="-542925"/>
              <a:ext cx="474663" cy="461963"/>
            </a:xfrm>
            <a:custGeom>
              <a:avLst/>
              <a:gdLst>
                <a:gd name="T0" fmla="*/ 299 w 299"/>
                <a:gd name="T1" fmla="*/ 220 h 291"/>
                <a:gd name="T2" fmla="*/ 228 w 299"/>
                <a:gd name="T3" fmla="*/ 291 h 291"/>
                <a:gd name="T4" fmla="*/ 0 w 299"/>
                <a:gd name="T5" fmla="*/ 64 h 291"/>
                <a:gd name="T6" fmla="*/ 71 w 299"/>
                <a:gd name="T7" fmla="*/ 0 h 291"/>
                <a:gd name="T8" fmla="*/ 299 w 299"/>
                <a:gd name="T9" fmla="*/ 220 h 291"/>
              </a:gdLst>
              <a:ahLst/>
              <a:cxnLst>
                <a:cxn ang="0">
                  <a:pos x="T0" y="T1"/>
                </a:cxn>
                <a:cxn ang="0">
                  <a:pos x="T2" y="T3"/>
                </a:cxn>
                <a:cxn ang="0">
                  <a:pos x="T4" y="T5"/>
                </a:cxn>
                <a:cxn ang="0">
                  <a:pos x="T6" y="T7"/>
                </a:cxn>
                <a:cxn ang="0">
                  <a:pos x="T8" y="T9"/>
                </a:cxn>
              </a:cxnLst>
              <a:rect l="0" t="0" r="r" b="b"/>
              <a:pathLst>
                <a:path w="299" h="291">
                  <a:moveTo>
                    <a:pt x="299" y="220"/>
                  </a:moveTo>
                  <a:lnTo>
                    <a:pt x="228" y="291"/>
                  </a:lnTo>
                  <a:lnTo>
                    <a:pt x="0" y="64"/>
                  </a:lnTo>
                  <a:lnTo>
                    <a:pt x="71" y="0"/>
                  </a:lnTo>
                  <a:lnTo>
                    <a:pt x="299" y="220"/>
                  </a:lnTo>
                  <a:close/>
                </a:path>
              </a:pathLst>
            </a:cu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5" name="Group 4"/>
          <p:cNvGrpSpPr/>
          <p:nvPr/>
        </p:nvGrpSpPr>
        <p:grpSpPr>
          <a:xfrm>
            <a:off x="10341559" y="2146924"/>
            <a:ext cx="1319577" cy="873620"/>
            <a:chOff x="9996890" y="2240429"/>
            <a:chExt cx="1381772" cy="914796"/>
          </a:xfrm>
        </p:grpSpPr>
        <p:sp>
          <p:nvSpPr>
            <p:cNvPr id="69" name="Line 19"/>
            <p:cNvSpPr>
              <a:spLocks noChangeShapeType="1"/>
            </p:cNvSpPr>
            <p:nvPr/>
          </p:nvSpPr>
          <p:spPr bwMode="auto">
            <a:xfrm flipV="1">
              <a:off x="10148547" y="2404029"/>
              <a:ext cx="249019" cy="312050"/>
            </a:xfrm>
            <a:prstGeom prst="line">
              <a:avLst/>
            </a:prstGeom>
            <a:noFill/>
            <a:ln w="349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72" name="Line 22"/>
            <p:cNvSpPr>
              <a:spLocks noChangeShapeType="1"/>
            </p:cNvSpPr>
            <p:nvPr/>
          </p:nvSpPr>
          <p:spPr bwMode="auto">
            <a:xfrm>
              <a:off x="10505871" y="2404031"/>
              <a:ext cx="350073" cy="570544"/>
            </a:xfrm>
            <a:prstGeom prst="line">
              <a:avLst/>
            </a:prstGeom>
            <a:noFill/>
            <a:ln w="349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57" name="Oval 16"/>
            <p:cNvSpPr>
              <a:spLocks noChangeArrowheads="1"/>
            </p:cNvSpPr>
            <p:nvPr/>
          </p:nvSpPr>
          <p:spPr bwMode="auto">
            <a:xfrm>
              <a:off x="10373753" y="2240429"/>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68" name="Oval 18"/>
            <p:cNvSpPr>
              <a:spLocks noChangeArrowheads="1"/>
            </p:cNvSpPr>
            <p:nvPr/>
          </p:nvSpPr>
          <p:spPr bwMode="auto">
            <a:xfrm>
              <a:off x="9996890" y="2697453"/>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73" name="Line 19"/>
            <p:cNvSpPr>
              <a:spLocks noChangeShapeType="1"/>
            </p:cNvSpPr>
            <p:nvPr/>
          </p:nvSpPr>
          <p:spPr bwMode="auto">
            <a:xfrm flipV="1">
              <a:off x="10990642" y="2689303"/>
              <a:ext cx="249019" cy="312050"/>
            </a:xfrm>
            <a:prstGeom prst="line">
              <a:avLst/>
            </a:prstGeom>
            <a:noFill/>
            <a:ln w="349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56" name="Oval 15"/>
            <p:cNvSpPr>
              <a:spLocks noChangeArrowheads="1"/>
            </p:cNvSpPr>
            <p:nvPr/>
          </p:nvSpPr>
          <p:spPr bwMode="auto">
            <a:xfrm>
              <a:off x="11195782" y="2541006"/>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67" name="Oval 17"/>
            <p:cNvSpPr>
              <a:spLocks noChangeArrowheads="1"/>
            </p:cNvSpPr>
            <p:nvPr/>
          </p:nvSpPr>
          <p:spPr bwMode="auto">
            <a:xfrm>
              <a:off x="10825725" y="2972345"/>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cxnSp>
        <p:nvCxnSpPr>
          <p:cNvPr id="7" name="Straight Connector 6"/>
          <p:cNvCxnSpPr/>
          <p:nvPr/>
        </p:nvCxnSpPr>
        <p:spPr>
          <a:xfrm>
            <a:off x="2374969" y="1866375"/>
            <a:ext cx="0" cy="4384291"/>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4866329" y="1866375"/>
            <a:ext cx="0" cy="4384291"/>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7324624" y="1866375"/>
            <a:ext cx="0" cy="4384291"/>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9908266" y="1866375"/>
            <a:ext cx="0" cy="4384291"/>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8" name="Rectangle 77"/>
          <p:cNvSpPr/>
          <p:nvPr/>
        </p:nvSpPr>
        <p:spPr bwMode="auto">
          <a:xfrm>
            <a:off x="433874" y="4530910"/>
            <a:ext cx="1768526" cy="16364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Remote</a:t>
            </a:r>
            <a:br>
              <a:rPr lang="en-US" sz="1428" dirty="0">
                <a:solidFill>
                  <a:schemeClr val="bg1"/>
                </a:solidFill>
              </a:rPr>
            </a:br>
            <a:r>
              <a:rPr lang="en-US" sz="1428" dirty="0">
                <a:solidFill>
                  <a:schemeClr val="bg1"/>
                </a:solidFill>
              </a:rPr>
              <a:t>monitoring</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Demand</a:t>
            </a:r>
            <a:br>
              <a:rPr lang="en-US" sz="1428" dirty="0">
                <a:solidFill>
                  <a:schemeClr val="bg1"/>
                </a:solidFill>
              </a:rPr>
            </a:br>
            <a:r>
              <a:rPr lang="en-US" sz="1428" dirty="0">
                <a:solidFill>
                  <a:schemeClr val="bg1"/>
                </a:solidFill>
              </a:rPr>
              <a:t>forecasting</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Risk and compliance management</a:t>
            </a:r>
          </a:p>
          <a:p>
            <a:pPr marL="93260" indent="-93260" defTabSz="932563">
              <a:spcAft>
                <a:spcPts val="1224"/>
              </a:spcAft>
              <a:buClr>
                <a:srgbClr val="0078D7"/>
              </a:buClr>
              <a:buSzPct val="90000"/>
              <a:buFont typeface="Arial" panose="020B0604020202020204" pitchFamily="34" charset="0"/>
              <a:buChar char="•"/>
            </a:pPr>
            <a:endParaRPr lang="en-US" sz="1428" dirty="0">
              <a:solidFill>
                <a:schemeClr val="bg1"/>
              </a:solidFill>
            </a:endParaRPr>
          </a:p>
          <a:p>
            <a:pPr defTabSz="932563">
              <a:spcAft>
                <a:spcPts val="1224"/>
              </a:spcAft>
              <a:buSzPct val="90000"/>
            </a:pPr>
            <a:endParaRPr lang="en-US" sz="1530" dirty="0">
              <a:solidFill>
                <a:schemeClr val="bg1"/>
              </a:solidFill>
            </a:endParaRPr>
          </a:p>
        </p:txBody>
      </p:sp>
      <p:grpSp>
        <p:nvGrpSpPr>
          <p:cNvPr id="13" name="Group 12"/>
          <p:cNvGrpSpPr/>
          <p:nvPr/>
        </p:nvGrpSpPr>
        <p:grpSpPr>
          <a:xfrm>
            <a:off x="2588004" y="2024316"/>
            <a:ext cx="2065290" cy="4159733"/>
            <a:chOff x="2527723" y="1935817"/>
            <a:chExt cx="2024978" cy="4078540"/>
          </a:xfrm>
        </p:grpSpPr>
        <p:sp>
          <p:nvSpPr>
            <p:cNvPr id="49" name="Rectangle 48"/>
            <p:cNvSpPr/>
            <p:nvPr/>
          </p:nvSpPr>
          <p:spPr bwMode="auto">
            <a:xfrm>
              <a:off x="2527723" y="3349816"/>
              <a:ext cx="2024978" cy="8022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563">
                <a:spcAft>
                  <a:spcPts val="1224"/>
                </a:spcAft>
                <a:buSzPct val="90000"/>
              </a:pPr>
              <a:r>
                <a:rPr lang="en-US" sz="1428" dirty="0">
                  <a:solidFill>
                    <a:schemeClr val="bg1"/>
                  </a:solidFill>
                </a:rPr>
                <a:t>Getting the right products to the </a:t>
              </a:r>
              <a:br>
                <a:rPr lang="en-US" sz="1428" dirty="0">
                  <a:solidFill>
                    <a:schemeClr val="bg1"/>
                  </a:solidFill>
                </a:rPr>
              </a:br>
              <a:r>
                <a:rPr lang="en-US" sz="1428" dirty="0">
                  <a:solidFill>
                    <a:schemeClr val="bg1"/>
                  </a:solidFill>
                </a:rPr>
                <a:t>right places</a:t>
              </a:r>
              <a:endParaRPr lang="en-US" sz="1428" b="1" dirty="0">
                <a:solidFill>
                  <a:schemeClr val="bg1"/>
                </a:solidFill>
              </a:endParaRPr>
            </a:p>
          </p:txBody>
        </p:sp>
        <p:grpSp>
          <p:nvGrpSpPr>
            <p:cNvPr id="33" name="Group 32"/>
            <p:cNvGrpSpPr/>
            <p:nvPr/>
          </p:nvGrpSpPr>
          <p:grpSpPr>
            <a:xfrm>
              <a:off x="3170829" y="1935817"/>
              <a:ext cx="738766" cy="1096998"/>
              <a:chOff x="-2406650" y="179388"/>
              <a:chExt cx="788988" cy="1171575"/>
            </a:xfrm>
          </p:grpSpPr>
          <p:sp>
            <p:nvSpPr>
              <p:cNvPr id="34" name="Oval 5"/>
              <p:cNvSpPr>
                <a:spLocks noChangeArrowheads="1"/>
              </p:cNvSpPr>
              <p:nvPr/>
            </p:nvSpPr>
            <p:spPr bwMode="auto">
              <a:xfrm>
                <a:off x="-2124075" y="460375"/>
                <a:ext cx="225425" cy="225425"/>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35" name="Freeform 6"/>
              <p:cNvSpPr>
                <a:spLocks/>
              </p:cNvSpPr>
              <p:nvPr/>
            </p:nvSpPr>
            <p:spPr bwMode="auto">
              <a:xfrm>
                <a:off x="-2406650" y="179388"/>
                <a:ext cx="788988" cy="1171575"/>
              </a:xfrm>
              <a:custGeom>
                <a:avLst/>
                <a:gdLst>
                  <a:gd name="T0" fmla="*/ 70 w 70"/>
                  <a:gd name="T1" fmla="*/ 37 h 104"/>
                  <a:gd name="T2" fmla="*/ 35 w 70"/>
                  <a:gd name="T3" fmla="*/ 0 h 104"/>
                  <a:gd name="T4" fmla="*/ 0 w 70"/>
                  <a:gd name="T5" fmla="*/ 37 h 104"/>
                  <a:gd name="T6" fmla="*/ 35 w 70"/>
                  <a:gd name="T7" fmla="*/ 104 h 104"/>
                  <a:gd name="T8" fmla="*/ 70 w 70"/>
                  <a:gd name="T9" fmla="*/ 37 h 104"/>
                </a:gdLst>
                <a:ahLst/>
                <a:cxnLst>
                  <a:cxn ang="0">
                    <a:pos x="T0" y="T1"/>
                  </a:cxn>
                  <a:cxn ang="0">
                    <a:pos x="T2" y="T3"/>
                  </a:cxn>
                  <a:cxn ang="0">
                    <a:pos x="T4" y="T5"/>
                  </a:cxn>
                  <a:cxn ang="0">
                    <a:pos x="T6" y="T7"/>
                  </a:cxn>
                  <a:cxn ang="0">
                    <a:pos x="T8" y="T9"/>
                  </a:cxn>
                </a:cxnLst>
                <a:rect l="0" t="0" r="r" b="b"/>
                <a:pathLst>
                  <a:path w="70" h="104">
                    <a:moveTo>
                      <a:pt x="70" y="37"/>
                    </a:moveTo>
                    <a:cubicBezTo>
                      <a:pt x="70" y="17"/>
                      <a:pt x="54" y="0"/>
                      <a:pt x="35" y="0"/>
                    </a:cubicBezTo>
                    <a:cubicBezTo>
                      <a:pt x="16" y="0"/>
                      <a:pt x="0" y="17"/>
                      <a:pt x="0" y="37"/>
                    </a:cubicBezTo>
                    <a:cubicBezTo>
                      <a:pt x="0" y="62"/>
                      <a:pt x="35" y="104"/>
                      <a:pt x="35" y="104"/>
                    </a:cubicBezTo>
                    <a:cubicBezTo>
                      <a:pt x="35" y="104"/>
                      <a:pt x="70" y="62"/>
                      <a:pt x="70" y="37"/>
                    </a:cubicBezTo>
                    <a:close/>
                  </a:path>
                </a:pathLst>
              </a:custGeom>
              <a:noFill/>
              <a:ln w="349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sp>
          <p:nvSpPr>
            <p:cNvPr id="79" name="Rectangle 78"/>
            <p:cNvSpPr/>
            <p:nvPr/>
          </p:nvSpPr>
          <p:spPr bwMode="auto">
            <a:xfrm>
              <a:off x="2527723" y="4393485"/>
              <a:ext cx="1328057" cy="16208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Inventory </a:t>
              </a:r>
              <a:br>
                <a:rPr lang="en-US" sz="1428" dirty="0">
                  <a:solidFill>
                    <a:schemeClr val="bg1"/>
                  </a:solidFill>
                </a:rPr>
              </a:br>
              <a:r>
                <a:rPr lang="en-US" sz="1428" dirty="0">
                  <a:solidFill>
                    <a:schemeClr val="bg1"/>
                  </a:solidFill>
                </a:rPr>
                <a:t>management</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Supply chain optimization</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Marketing mix optimization</a:t>
              </a:r>
            </a:p>
            <a:p>
              <a:pPr defTabSz="932563">
                <a:spcAft>
                  <a:spcPts val="1224"/>
                </a:spcAft>
                <a:buSzPct val="90000"/>
              </a:pPr>
              <a:endParaRPr lang="en-US" sz="1530" dirty="0">
                <a:solidFill>
                  <a:schemeClr val="bg1"/>
                </a:solidFill>
              </a:endParaRPr>
            </a:p>
          </p:txBody>
        </p:sp>
      </p:grpSp>
      <p:grpSp>
        <p:nvGrpSpPr>
          <p:cNvPr id="14" name="Group 13"/>
          <p:cNvGrpSpPr/>
          <p:nvPr/>
        </p:nvGrpSpPr>
        <p:grpSpPr>
          <a:xfrm>
            <a:off x="5079364" y="1942525"/>
            <a:ext cx="2032225" cy="4241525"/>
            <a:chOff x="4928895" y="1855622"/>
            <a:chExt cx="1992558" cy="4158735"/>
          </a:xfrm>
        </p:grpSpPr>
        <p:sp>
          <p:nvSpPr>
            <p:cNvPr id="50" name="Rectangle 49"/>
            <p:cNvSpPr/>
            <p:nvPr/>
          </p:nvSpPr>
          <p:spPr bwMode="auto">
            <a:xfrm>
              <a:off x="4928895" y="3349815"/>
              <a:ext cx="1992558" cy="9620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563">
                <a:spcAft>
                  <a:spcPts val="1224"/>
                </a:spcAft>
                <a:buSzPct val="90000"/>
              </a:pPr>
              <a:r>
                <a:rPr lang="en-US" sz="1428" dirty="0">
                  <a:solidFill>
                    <a:schemeClr val="bg1"/>
                  </a:solidFill>
                </a:rPr>
                <a:t>Offering customers exactly what they want, when they want it</a:t>
              </a:r>
            </a:p>
          </p:txBody>
        </p:sp>
        <p:grpSp>
          <p:nvGrpSpPr>
            <p:cNvPr id="40" name="Group 39"/>
            <p:cNvGrpSpPr/>
            <p:nvPr/>
          </p:nvGrpSpPr>
          <p:grpSpPr>
            <a:xfrm>
              <a:off x="5297148" y="1855622"/>
              <a:ext cx="1256052" cy="1171324"/>
              <a:chOff x="-1357312" y="-1714500"/>
              <a:chExt cx="1341438" cy="1250951"/>
            </a:xfrm>
          </p:grpSpPr>
          <p:sp>
            <p:nvSpPr>
              <p:cNvPr id="42" name="Freeform 11"/>
              <p:cNvSpPr>
                <a:spLocks/>
              </p:cNvSpPr>
              <p:nvPr/>
            </p:nvSpPr>
            <p:spPr bwMode="auto">
              <a:xfrm>
                <a:off x="-985837" y="-1714500"/>
                <a:ext cx="969963" cy="1239838"/>
              </a:xfrm>
              <a:custGeom>
                <a:avLst/>
                <a:gdLst>
                  <a:gd name="T0" fmla="*/ 6 w 86"/>
                  <a:gd name="T1" fmla="*/ 52 h 110"/>
                  <a:gd name="T2" fmla="*/ 24 w 86"/>
                  <a:gd name="T3" fmla="*/ 25 h 110"/>
                  <a:gd name="T4" fmla="*/ 24 w 86"/>
                  <a:gd name="T5" fmla="*/ 10 h 110"/>
                  <a:gd name="T6" fmla="*/ 31 w 86"/>
                  <a:gd name="T7" fmla="*/ 3 h 110"/>
                  <a:gd name="T8" fmla="*/ 43 w 86"/>
                  <a:gd name="T9" fmla="*/ 6 h 110"/>
                  <a:gd name="T10" fmla="*/ 50 w 86"/>
                  <a:gd name="T11" fmla="*/ 26 h 110"/>
                  <a:gd name="T12" fmla="*/ 47 w 86"/>
                  <a:gd name="T13" fmla="*/ 43 h 110"/>
                  <a:gd name="T14" fmla="*/ 76 w 86"/>
                  <a:gd name="T15" fmla="*/ 43 h 110"/>
                  <a:gd name="T16" fmla="*/ 86 w 86"/>
                  <a:gd name="T17" fmla="*/ 52 h 110"/>
                  <a:gd name="T18" fmla="*/ 78 w 86"/>
                  <a:gd name="T19" fmla="*/ 63 h 110"/>
                  <a:gd name="T20" fmla="*/ 83 w 86"/>
                  <a:gd name="T21" fmla="*/ 69 h 110"/>
                  <a:gd name="T22" fmla="*/ 76 w 86"/>
                  <a:gd name="T23" fmla="*/ 76 h 110"/>
                  <a:gd name="T24" fmla="*/ 81 w 86"/>
                  <a:gd name="T25" fmla="*/ 82 h 110"/>
                  <a:gd name="T26" fmla="*/ 75 w 86"/>
                  <a:gd name="T27" fmla="*/ 90 h 110"/>
                  <a:gd name="T28" fmla="*/ 78 w 86"/>
                  <a:gd name="T29" fmla="*/ 97 h 110"/>
                  <a:gd name="T30" fmla="*/ 63 w 86"/>
                  <a:gd name="T31" fmla="*/ 108 h 110"/>
                  <a:gd name="T32" fmla="*/ 14 w 86"/>
                  <a:gd name="T33" fmla="*/ 108 h 110"/>
                  <a:gd name="T34" fmla="*/ 0 w 86"/>
                  <a:gd name="T35" fmla="*/ 104 h 110"/>
                  <a:gd name="T36" fmla="*/ 0 w 86"/>
                  <a:gd name="T37" fmla="*/ 61 h 110"/>
                  <a:gd name="T38" fmla="*/ 6 w 86"/>
                  <a:gd name="T39" fmla="*/ 5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110">
                    <a:moveTo>
                      <a:pt x="6" y="52"/>
                    </a:moveTo>
                    <a:cubicBezTo>
                      <a:pt x="6" y="52"/>
                      <a:pt x="22" y="33"/>
                      <a:pt x="24" y="25"/>
                    </a:cubicBezTo>
                    <a:cubicBezTo>
                      <a:pt x="25" y="21"/>
                      <a:pt x="24" y="10"/>
                      <a:pt x="24" y="10"/>
                    </a:cubicBezTo>
                    <a:cubicBezTo>
                      <a:pt x="24" y="10"/>
                      <a:pt x="22" y="6"/>
                      <a:pt x="31" y="3"/>
                    </a:cubicBezTo>
                    <a:cubicBezTo>
                      <a:pt x="40" y="0"/>
                      <a:pt x="43" y="6"/>
                      <a:pt x="43" y="6"/>
                    </a:cubicBezTo>
                    <a:cubicBezTo>
                      <a:pt x="43" y="6"/>
                      <a:pt x="49" y="15"/>
                      <a:pt x="50" y="26"/>
                    </a:cubicBezTo>
                    <a:cubicBezTo>
                      <a:pt x="50" y="37"/>
                      <a:pt x="47" y="43"/>
                      <a:pt x="47" y="43"/>
                    </a:cubicBezTo>
                    <a:cubicBezTo>
                      <a:pt x="76" y="43"/>
                      <a:pt x="76" y="43"/>
                      <a:pt x="76" y="43"/>
                    </a:cubicBezTo>
                    <a:cubicBezTo>
                      <a:pt x="76" y="43"/>
                      <a:pt x="85" y="43"/>
                      <a:pt x="86" y="52"/>
                    </a:cubicBezTo>
                    <a:cubicBezTo>
                      <a:pt x="86" y="61"/>
                      <a:pt x="78" y="63"/>
                      <a:pt x="78" y="63"/>
                    </a:cubicBezTo>
                    <a:cubicBezTo>
                      <a:pt x="78" y="63"/>
                      <a:pt x="83" y="65"/>
                      <a:pt x="83" y="69"/>
                    </a:cubicBezTo>
                    <a:cubicBezTo>
                      <a:pt x="83" y="74"/>
                      <a:pt x="76" y="76"/>
                      <a:pt x="76" y="76"/>
                    </a:cubicBezTo>
                    <a:cubicBezTo>
                      <a:pt x="76" y="76"/>
                      <a:pt x="81" y="79"/>
                      <a:pt x="81" y="82"/>
                    </a:cubicBezTo>
                    <a:cubicBezTo>
                      <a:pt x="81" y="88"/>
                      <a:pt x="75" y="90"/>
                      <a:pt x="75" y="90"/>
                    </a:cubicBezTo>
                    <a:cubicBezTo>
                      <a:pt x="75" y="90"/>
                      <a:pt x="78" y="91"/>
                      <a:pt x="78" y="97"/>
                    </a:cubicBezTo>
                    <a:cubicBezTo>
                      <a:pt x="78" y="103"/>
                      <a:pt x="74" y="108"/>
                      <a:pt x="63" y="108"/>
                    </a:cubicBezTo>
                    <a:cubicBezTo>
                      <a:pt x="52" y="108"/>
                      <a:pt x="19" y="110"/>
                      <a:pt x="14" y="108"/>
                    </a:cubicBezTo>
                    <a:cubicBezTo>
                      <a:pt x="0" y="104"/>
                      <a:pt x="0" y="104"/>
                      <a:pt x="0" y="104"/>
                    </a:cubicBezTo>
                    <a:cubicBezTo>
                      <a:pt x="0" y="61"/>
                      <a:pt x="0" y="61"/>
                      <a:pt x="0" y="61"/>
                    </a:cubicBezTo>
                    <a:lnTo>
                      <a:pt x="6" y="52"/>
                    </a:lnTo>
                    <a:close/>
                  </a:path>
                </a:pathLst>
              </a:custGeom>
              <a:noFill/>
              <a:ln w="349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41" name="Freeform 10"/>
              <p:cNvSpPr>
                <a:spLocks/>
              </p:cNvSpPr>
              <p:nvPr/>
            </p:nvSpPr>
            <p:spPr bwMode="auto">
              <a:xfrm>
                <a:off x="-1357312" y="-1128712"/>
                <a:ext cx="360363" cy="665163"/>
              </a:xfrm>
              <a:custGeom>
                <a:avLst/>
                <a:gdLst>
                  <a:gd name="T0" fmla="*/ 24 w 32"/>
                  <a:gd name="T1" fmla="*/ 59 h 59"/>
                  <a:gd name="T2" fmla="*/ 7 w 32"/>
                  <a:gd name="T3" fmla="*/ 59 h 59"/>
                  <a:gd name="T4" fmla="*/ 0 w 32"/>
                  <a:gd name="T5" fmla="*/ 52 h 59"/>
                  <a:gd name="T6" fmla="*/ 0 w 32"/>
                  <a:gd name="T7" fmla="*/ 8 h 59"/>
                  <a:gd name="T8" fmla="*/ 7 w 32"/>
                  <a:gd name="T9" fmla="*/ 0 h 59"/>
                  <a:gd name="T10" fmla="*/ 24 w 32"/>
                  <a:gd name="T11" fmla="*/ 0 h 59"/>
                  <a:gd name="T12" fmla="*/ 32 w 32"/>
                  <a:gd name="T13" fmla="*/ 8 h 59"/>
                  <a:gd name="T14" fmla="*/ 32 w 32"/>
                  <a:gd name="T15" fmla="*/ 52 h 59"/>
                  <a:gd name="T16" fmla="*/ 24 w 32"/>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9">
                    <a:moveTo>
                      <a:pt x="24" y="59"/>
                    </a:moveTo>
                    <a:cubicBezTo>
                      <a:pt x="7" y="59"/>
                      <a:pt x="7" y="59"/>
                      <a:pt x="7" y="59"/>
                    </a:cubicBezTo>
                    <a:cubicBezTo>
                      <a:pt x="3" y="59"/>
                      <a:pt x="0" y="56"/>
                      <a:pt x="0" y="52"/>
                    </a:cubicBezTo>
                    <a:cubicBezTo>
                      <a:pt x="0" y="8"/>
                      <a:pt x="0" y="8"/>
                      <a:pt x="0" y="8"/>
                    </a:cubicBezTo>
                    <a:cubicBezTo>
                      <a:pt x="0" y="4"/>
                      <a:pt x="3" y="0"/>
                      <a:pt x="7" y="0"/>
                    </a:cubicBezTo>
                    <a:cubicBezTo>
                      <a:pt x="24" y="0"/>
                      <a:pt x="24" y="0"/>
                      <a:pt x="24" y="0"/>
                    </a:cubicBezTo>
                    <a:cubicBezTo>
                      <a:pt x="28" y="0"/>
                      <a:pt x="32" y="4"/>
                      <a:pt x="32" y="8"/>
                    </a:cubicBezTo>
                    <a:cubicBezTo>
                      <a:pt x="32" y="52"/>
                      <a:pt x="32" y="52"/>
                      <a:pt x="32" y="52"/>
                    </a:cubicBezTo>
                    <a:cubicBezTo>
                      <a:pt x="32" y="56"/>
                      <a:pt x="28" y="59"/>
                      <a:pt x="24" y="59"/>
                    </a:cubicBezTo>
                    <a:close/>
                  </a:path>
                </a:pathLst>
              </a:cu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sp>
          <p:nvSpPr>
            <p:cNvPr id="80" name="Rectangle 79"/>
            <p:cNvSpPr/>
            <p:nvPr/>
          </p:nvSpPr>
          <p:spPr bwMode="auto">
            <a:xfrm>
              <a:off x="4928895" y="4393485"/>
              <a:ext cx="1823357" cy="16208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Personalized</a:t>
              </a:r>
              <a:br>
                <a:rPr lang="en-US" sz="1428" dirty="0">
                  <a:solidFill>
                    <a:schemeClr val="bg1"/>
                  </a:solidFill>
                </a:rPr>
              </a:br>
              <a:r>
                <a:rPr lang="en-US" sz="1428" dirty="0">
                  <a:solidFill>
                    <a:schemeClr val="bg1"/>
                  </a:solidFill>
                </a:rPr>
                <a:t>offers</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Product recommendations</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New product introduction</a:t>
              </a:r>
            </a:p>
            <a:p>
              <a:pPr defTabSz="932563">
                <a:spcAft>
                  <a:spcPts val="1224"/>
                </a:spcAft>
                <a:buClr>
                  <a:srgbClr val="0078D7"/>
                </a:buClr>
                <a:buSzPct val="90000"/>
              </a:pPr>
              <a:endParaRPr lang="en-US" sz="1428" dirty="0">
                <a:solidFill>
                  <a:schemeClr val="bg1"/>
                </a:solidFill>
              </a:endParaRPr>
            </a:p>
          </p:txBody>
        </p:sp>
      </p:grpSp>
      <p:grpSp>
        <p:nvGrpSpPr>
          <p:cNvPr id="15" name="Group 14"/>
          <p:cNvGrpSpPr/>
          <p:nvPr/>
        </p:nvGrpSpPr>
        <p:grpSpPr>
          <a:xfrm>
            <a:off x="7537660" y="1975044"/>
            <a:ext cx="2157571" cy="4209006"/>
            <a:chOff x="7297646" y="1887506"/>
            <a:chExt cx="2115458" cy="4126851"/>
          </a:xfrm>
        </p:grpSpPr>
        <p:sp>
          <p:nvSpPr>
            <p:cNvPr id="51" name="Rectangle 50"/>
            <p:cNvSpPr/>
            <p:nvPr/>
          </p:nvSpPr>
          <p:spPr bwMode="auto">
            <a:xfrm>
              <a:off x="7297647" y="3349815"/>
              <a:ext cx="2115457" cy="7191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563">
                <a:spcAft>
                  <a:spcPts val="1224"/>
                </a:spcAft>
                <a:buSzPct val="90000"/>
              </a:pPr>
              <a:r>
                <a:rPr lang="en-US" sz="1428" dirty="0">
                  <a:solidFill>
                    <a:schemeClr val="bg1"/>
                  </a:solidFill>
                </a:rPr>
                <a:t>Fixing problems proactively before </a:t>
              </a:r>
              <a:br>
                <a:rPr lang="en-US" sz="1428" dirty="0">
                  <a:solidFill>
                    <a:schemeClr val="bg1"/>
                  </a:solidFill>
                </a:rPr>
              </a:br>
              <a:r>
                <a:rPr lang="en-US" sz="1428" dirty="0">
                  <a:solidFill>
                    <a:schemeClr val="bg1"/>
                  </a:solidFill>
                </a:rPr>
                <a:t>they start</a:t>
              </a:r>
            </a:p>
          </p:txBody>
        </p:sp>
        <p:grpSp>
          <p:nvGrpSpPr>
            <p:cNvPr id="43" name="Group 42"/>
            <p:cNvGrpSpPr/>
            <p:nvPr/>
          </p:nvGrpSpPr>
          <p:grpSpPr>
            <a:xfrm>
              <a:off x="7759308" y="1887506"/>
              <a:ext cx="1192136" cy="1193620"/>
              <a:chOff x="-5133975" y="584200"/>
              <a:chExt cx="1273175" cy="1274763"/>
            </a:xfrm>
          </p:grpSpPr>
          <p:sp>
            <p:nvSpPr>
              <p:cNvPr id="44" name="Freeform 12"/>
              <p:cNvSpPr>
                <a:spLocks/>
              </p:cNvSpPr>
              <p:nvPr/>
            </p:nvSpPr>
            <p:spPr bwMode="auto">
              <a:xfrm>
                <a:off x="-5133975" y="584200"/>
                <a:ext cx="1273175" cy="1274763"/>
              </a:xfrm>
              <a:custGeom>
                <a:avLst/>
                <a:gdLst>
                  <a:gd name="T0" fmla="*/ 93 w 113"/>
                  <a:gd name="T1" fmla="*/ 20 h 113"/>
                  <a:gd name="T2" fmla="*/ 93 w 113"/>
                  <a:gd name="T3" fmla="*/ 93 h 113"/>
                  <a:gd name="T4" fmla="*/ 20 w 113"/>
                  <a:gd name="T5" fmla="*/ 93 h 113"/>
                  <a:gd name="T6" fmla="*/ 20 w 113"/>
                  <a:gd name="T7" fmla="*/ 20 h 113"/>
                  <a:gd name="T8" fmla="*/ 93 w 113"/>
                  <a:gd name="T9" fmla="*/ 20 h 113"/>
                </a:gdLst>
                <a:ahLst/>
                <a:cxnLst>
                  <a:cxn ang="0">
                    <a:pos x="T0" y="T1"/>
                  </a:cxn>
                  <a:cxn ang="0">
                    <a:pos x="T2" y="T3"/>
                  </a:cxn>
                  <a:cxn ang="0">
                    <a:pos x="T4" y="T5"/>
                  </a:cxn>
                  <a:cxn ang="0">
                    <a:pos x="T6" y="T7"/>
                  </a:cxn>
                  <a:cxn ang="0">
                    <a:pos x="T8" y="T9"/>
                  </a:cxn>
                </a:cxnLst>
                <a:rect l="0" t="0" r="r" b="b"/>
                <a:pathLst>
                  <a:path w="113" h="113">
                    <a:moveTo>
                      <a:pt x="93" y="20"/>
                    </a:moveTo>
                    <a:cubicBezTo>
                      <a:pt x="113" y="40"/>
                      <a:pt x="113" y="73"/>
                      <a:pt x="93" y="93"/>
                    </a:cubicBezTo>
                    <a:cubicBezTo>
                      <a:pt x="73" y="113"/>
                      <a:pt x="40" y="113"/>
                      <a:pt x="20" y="93"/>
                    </a:cubicBezTo>
                    <a:cubicBezTo>
                      <a:pt x="0" y="73"/>
                      <a:pt x="0" y="40"/>
                      <a:pt x="20" y="20"/>
                    </a:cubicBezTo>
                    <a:cubicBezTo>
                      <a:pt x="40" y="0"/>
                      <a:pt x="73" y="0"/>
                      <a:pt x="93" y="20"/>
                    </a:cubicBezTo>
                    <a:close/>
                  </a:path>
                </a:pathLst>
              </a:custGeom>
              <a:noFill/>
              <a:ln w="349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45" name="Line 13"/>
              <p:cNvSpPr>
                <a:spLocks noChangeShapeType="1"/>
              </p:cNvSpPr>
              <p:nvPr/>
            </p:nvSpPr>
            <p:spPr bwMode="auto">
              <a:xfrm>
                <a:off x="-4503737" y="935038"/>
                <a:ext cx="0" cy="415925"/>
              </a:xfrm>
              <a:prstGeom prst="line">
                <a:avLst/>
              </a:prstGeom>
              <a:noFill/>
              <a:ln w="34925"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46" name="Line 14"/>
              <p:cNvSpPr>
                <a:spLocks noChangeShapeType="1"/>
              </p:cNvSpPr>
              <p:nvPr/>
            </p:nvSpPr>
            <p:spPr bwMode="auto">
              <a:xfrm>
                <a:off x="-4503737" y="1430338"/>
                <a:ext cx="0" cy="68263"/>
              </a:xfrm>
              <a:prstGeom prst="line">
                <a:avLst/>
              </a:prstGeom>
              <a:noFill/>
              <a:ln w="34925"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endParaRPr lang="en-US" sz="1836"/>
              </a:p>
            </p:txBody>
          </p:sp>
        </p:grpSp>
        <p:sp>
          <p:nvSpPr>
            <p:cNvPr id="81" name="Rectangle 80"/>
            <p:cNvSpPr/>
            <p:nvPr/>
          </p:nvSpPr>
          <p:spPr bwMode="auto">
            <a:xfrm>
              <a:off x="7297646" y="4393485"/>
              <a:ext cx="1823357" cy="16208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Predictive maintenance</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Operational</a:t>
              </a:r>
              <a:br>
                <a:rPr lang="en-US" sz="1428" dirty="0">
                  <a:solidFill>
                    <a:schemeClr val="bg1"/>
                  </a:solidFill>
                </a:rPr>
              </a:br>
              <a:r>
                <a:rPr lang="en-US" sz="1428" dirty="0">
                  <a:solidFill>
                    <a:schemeClr val="bg1"/>
                  </a:solidFill>
                </a:rPr>
                <a:t>efficiency</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Customer service improvement</a:t>
              </a:r>
            </a:p>
            <a:p>
              <a:pPr marL="93260" indent="-93260" defTabSz="932563">
                <a:spcAft>
                  <a:spcPts val="1224"/>
                </a:spcAft>
                <a:buClr>
                  <a:srgbClr val="0078D7"/>
                </a:buClr>
                <a:buSzPct val="90000"/>
                <a:buFont typeface="Arial" panose="020B0604020202020204" pitchFamily="34" charset="0"/>
                <a:buChar char="•"/>
              </a:pPr>
              <a:endParaRPr lang="en-US" sz="1428" dirty="0">
                <a:solidFill>
                  <a:schemeClr val="bg1"/>
                </a:solidFill>
              </a:endParaRPr>
            </a:p>
          </p:txBody>
        </p:sp>
      </p:grpSp>
      <p:sp>
        <p:nvSpPr>
          <p:cNvPr id="82" name="Rectangle 81"/>
          <p:cNvSpPr/>
          <p:nvPr/>
        </p:nvSpPr>
        <p:spPr bwMode="auto">
          <a:xfrm>
            <a:off x="10121302" y="4530910"/>
            <a:ext cx="1859655" cy="16531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Cross-sell </a:t>
            </a:r>
            <a:br>
              <a:rPr lang="en-US" sz="1428" dirty="0">
                <a:solidFill>
                  <a:schemeClr val="bg1"/>
                </a:solidFill>
              </a:rPr>
            </a:br>
            <a:r>
              <a:rPr lang="en-US" sz="1428" dirty="0">
                <a:solidFill>
                  <a:schemeClr val="bg1"/>
                </a:solidFill>
              </a:rPr>
              <a:t>and upsell</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Product-as-</a:t>
            </a:r>
            <a:br>
              <a:rPr lang="en-US" sz="1428" dirty="0">
                <a:solidFill>
                  <a:schemeClr val="bg1"/>
                </a:solidFill>
              </a:rPr>
            </a:br>
            <a:r>
              <a:rPr lang="en-US" sz="1428" dirty="0">
                <a:solidFill>
                  <a:schemeClr val="bg1"/>
                </a:solidFill>
              </a:rPr>
              <a:t>a-service</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New data-</a:t>
            </a:r>
            <a:br>
              <a:rPr lang="en-US" sz="1428" dirty="0">
                <a:solidFill>
                  <a:schemeClr val="bg1"/>
                </a:solidFill>
              </a:rPr>
            </a:br>
            <a:r>
              <a:rPr lang="en-US" sz="1428" dirty="0">
                <a:solidFill>
                  <a:schemeClr val="bg1"/>
                </a:solidFill>
              </a:rPr>
              <a:t>driven services</a:t>
            </a:r>
          </a:p>
        </p:txBody>
      </p:sp>
    </p:spTree>
    <p:extLst>
      <p:ext uri="{BB962C8B-B14F-4D97-AF65-F5344CB8AC3E}">
        <p14:creationId xmlns:p14="http://schemas.microsoft.com/office/powerpoint/2010/main" val="135248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p:cNvGrpSpPr/>
          <p:nvPr/>
        </p:nvGrpSpPr>
        <p:grpSpPr>
          <a:xfrm>
            <a:off x="-635" y="-1"/>
            <a:ext cx="12436475" cy="6995160"/>
            <a:chOff x="-635" y="-1"/>
            <a:chExt cx="12436475" cy="6995160"/>
          </a:xfrm>
        </p:grpSpPr>
        <p:pic>
          <p:nvPicPr>
            <p:cNvPr id="32" name="Picture 3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33" name="Rectangle 32"/>
            <p:cNvSpPr/>
            <p:nvPr/>
          </p:nvSpPr>
          <p:spPr bwMode="auto">
            <a:xfrm>
              <a:off x="-635" y="-1"/>
              <a:ext cx="12436475" cy="6994525"/>
            </a:xfrm>
            <a:prstGeom prst="rect">
              <a:avLst/>
            </a:prstGeom>
            <a:solidFill>
              <a:srgbClr val="275364">
                <a:alpha val="30000"/>
              </a:srgb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35" name="Rectangle 34"/>
          <p:cNvSpPr/>
          <p:nvPr/>
        </p:nvSpPr>
        <p:spPr bwMode="auto">
          <a:xfrm>
            <a:off x="-1" y="0"/>
            <a:ext cx="9630383" cy="6994525"/>
          </a:xfrm>
          <a:prstGeom prst="rect">
            <a:avLst/>
          </a:prstGeom>
          <a:gradFill flip="none" rotWithShape="1">
            <a:gsLst>
              <a:gs pos="0">
                <a:srgbClr val="101F28">
                  <a:alpha val="51000"/>
                </a:srgbClr>
              </a:gs>
              <a:gs pos="88000">
                <a:srgbClr val="101F28">
                  <a:alpha val="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3" name="Rectangle 12"/>
          <p:cNvSpPr/>
          <p:nvPr/>
        </p:nvSpPr>
        <p:spPr bwMode="auto">
          <a:xfrm>
            <a:off x="0" y="0"/>
            <a:ext cx="4150323" cy="6994526"/>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4" name="Content Placeholder 2"/>
          <p:cNvSpPr txBox="1">
            <a:spLocks/>
          </p:cNvSpPr>
          <p:nvPr/>
        </p:nvSpPr>
        <p:spPr>
          <a:xfrm>
            <a:off x="283139" y="2903113"/>
            <a:ext cx="3649099" cy="866147"/>
          </a:xfrm>
          <a:prstGeom prst="rect">
            <a:avLst/>
          </a:prstGeom>
        </p:spPr>
        <p:txBody>
          <a:bodyPr/>
          <a:lstStyle>
            <a:lvl1pPr marL="346486" marR="0" indent="-346486" algn="l" defTabSz="932559" rtl="0" eaLnBrk="1" fontAlgn="auto" latinLnBrk="0" hangingPunct="1">
              <a:lnSpc>
                <a:spcPct val="90000"/>
              </a:lnSpc>
              <a:spcBef>
                <a:spcPct val="20000"/>
              </a:spcBef>
              <a:spcAft>
                <a:spcPts val="0"/>
              </a:spcAft>
              <a:buClrTx/>
              <a:buSzPct val="90000"/>
              <a:buFont typeface="Arial" pitchFamily="34" charset="0"/>
              <a:buChar char="•"/>
              <a:tabLst/>
              <a:defRPr sz="2856" kern="1200" spc="-71" baseline="0">
                <a:gradFill>
                  <a:gsLst>
                    <a:gs pos="0">
                      <a:schemeClr val="tx2"/>
                    </a:gs>
                    <a:gs pos="86000">
                      <a:schemeClr val="tx2"/>
                    </a:gs>
                  </a:gsLst>
                  <a:lin ang="5400000" scaled="0"/>
                </a:gradFill>
                <a:latin typeface="+mj-lt"/>
                <a:ea typeface="+mn-ea"/>
                <a:cs typeface="+mn-cs"/>
              </a:defRPr>
            </a:lvl1pPr>
            <a:lvl2pPr marL="584492" marR="0" indent="-238007" algn="l" defTabSz="932559"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0">
                      <a:schemeClr val="tx2"/>
                    </a:gs>
                    <a:gs pos="86000">
                      <a:schemeClr val="tx2"/>
                    </a:gs>
                  </a:gsLst>
                  <a:lin ang="5400000" scaled="0"/>
                </a:gradFill>
                <a:latin typeface="+mn-lt"/>
                <a:ea typeface="+mn-ea"/>
                <a:cs typeface="+mn-cs"/>
              </a:defRPr>
            </a:lvl2pPr>
            <a:lvl3pPr marL="814403" marR="0" indent="-229911" algn="l" defTabSz="932559" rtl="0" eaLnBrk="1" fontAlgn="auto" latinLnBrk="0" hangingPunct="1">
              <a:lnSpc>
                <a:spcPct val="90000"/>
              </a:lnSpc>
              <a:spcBef>
                <a:spcPct val="20000"/>
              </a:spcBef>
              <a:spcAft>
                <a:spcPts val="0"/>
              </a:spcAft>
              <a:buClrTx/>
              <a:buSzPct val="90000"/>
              <a:buFont typeface="Arial" pitchFamily="34" charset="0"/>
              <a:buChar char="•"/>
              <a:tabLst>
                <a:tab pos="814403" algn="l"/>
              </a:tabLst>
              <a:defRPr sz="2040" kern="1200" spc="0" baseline="0">
                <a:gradFill>
                  <a:gsLst>
                    <a:gs pos="0">
                      <a:schemeClr val="tx2"/>
                    </a:gs>
                    <a:gs pos="86000">
                      <a:schemeClr val="tx2"/>
                    </a:gs>
                  </a:gsLst>
                  <a:lin ang="5400000" scaled="0"/>
                </a:gradFill>
                <a:latin typeface="+mn-lt"/>
                <a:ea typeface="+mn-ea"/>
                <a:cs typeface="+mn-cs"/>
              </a:defRPr>
            </a:lvl3pPr>
            <a:lvl4pPr marL="1050791" marR="0" indent="-236387" algn="l" defTabSz="932559"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0">
                      <a:schemeClr val="tx2"/>
                    </a:gs>
                    <a:gs pos="86000">
                      <a:schemeClr val="tx2"/>
                    </a:gs>
                  </a:gsLst>
                  <a:lin ang="5400000" scaled="0"/>
                </a:gradFill>
                <a:latin typeface="+mn-lt"/>
                <a:ea typeface="+mn-ea"/>
                <a:cs typeface="+mn-cs"/>
              </a:defRPr>
            </a:lvl4pPr>
            <a:lvl5pPr marL="1280702" marR="0" indent="-229911" algn="l" defTabSz="932559" rtl="0" eaLnBrk="1" fontAlgn="auto" latinLnBrk="0" hangingPunct="1">
              <a:lnSpc>
                <a:spcPct val="90000"/>
              </a:lnSpc>
              <a:spcBef>
                <a:spcPct val="20000"/>
              </a:spcBef>
              <a:spcAft>
                <a:spcPts val="0"/>
              </a:spcAft>
              <a:buClrTx/>
              <a:buSzPct val="90000"/>
              <a:buFont typeface="Arial" pitchFamily="34" charset="0"/>
              <a:buChar char="•"/>
              <a:tabLst>
                <a:tab pos="1280702" algn="l"/>
              </a:tabLst>
              <a:defRPr sz="1836" kern="1200" spc="0" baseline="0">
                <a:gradFill>
                  <a:gsLst>
                    <a:gs pos="0">
                      <a:schemeClr val="tx2"/>
                    </a:gs>
                    <a:gs pos="86000">
                      <a:schemeClr val="tx2"/>
                    </a:gs>
                  </a:gsLst>
                  <a:lin ang="5400000" scaled="0"/>
                </a:gradFill>
                <a:latin typeface="+mn-lt"/>
                <a:ea typeface="+mn-ea"/>
                <a:cs typeface="+mn-cs"/>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spcBef>
                <a:spcPts val="600"/>
              </a:spcBef>
              <a:buFont typeface="Arial" pitchFamily="34" charset="0"/>
              <a:buNone/>
              <a:defRPr/>
            </a:pPr>
            <a:r>
              <a:rPr lang="en-US" sz="3600" dirty="0">
                <a:gradFill>
                  <a:gsLst>
                    <a:gs pos="5310">
                      <a:srgbClr val="FFFFFF"/>
                    </a:gs>
                    <a:gs pos="42000">
                      <a:srgbClr val="FFFFFF"/>
                    </a:gs>
                  </a:gsLst>
                  <a:lin ang="0" scaled="1"/>
                </a:gradFill>
              </a:rPr>
              <a:t>Tough Love for Microsoft Search</a:t>
            </a:r>
          </a:p>
          <a:p>
            <a:pPr marL="0" indent="0">
              <a:spcBef>
                <a:spcPts val="1800"/>
              </a:spcBef>
              <a:buFont typeface="Arial" pitchFamily="34" charset="0"/>
              <a:buNone/>
              <a:defRPr/>
            </a:pPr>
            <a:r>
              <a:rPr lang="en-US" sz="1600" spc="0" dirty="0">
                <a:gradFill>
                  <a:gsLst>
                    <a:gs pos="5310">
                      <a:srgbClr val="FFFFFF">
                        <a:alpha val="60000"/>
                      </a:srgbClr>
                    </a:gs>
                    <a:gs pos="42000">
                      <a:srgbClr val="FFFFFF">
                        <a:alpha val="60000"/>
                      </a:srgbClr>
                    </a:gs>
                  </a:gsLst>
                  <a:lin ang="0" scaled="1"/>
                </a:gradFill>
                <a:latin typeface="Segoe UI"/>
              </a:rPr>
              <a:t>Danny Sullivan, Search Engine Land December 30, 2008</a:t>
            </a:r>
          </a:p>
        </p:txBody>
      </p:sp>
      <p:sp>
        <p:nvSpPr>
          <p:cNvPr id="15" name="Title 1"/>
          <p:cNvSpPr txBox="1">
            <a:spLocks/>
          </p:cNvSpPr>
          <p:nvPr/>
        </p:nvSpPr>
        <p:spPr>
          <a:xfrm>
            <a:off x="4162404" y="3038475"/>
            <a:ext cx="7085034" cy="917575"/>
          </a:xfrm>
          <a:prstGeom prst="rect">
            <a:avLst/>
          </a:prstGeom>
        </p:spPr>
        <p:txBody>
          <a:bodyPr vert="horz" wrap="square" lIns="274320"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a:gradFill>
                  <a:gsLst>
                    <a:gs pos="1250">
                      <a:srgbClr val="FFFFFF"/>
                    </a:gs>
                    <a:gs pos="100000">
                      <a:srgbClr val="FFFFFF"/>
                    </a:gs>
                  </a:gsLst>
                  <a:lin ang="5400000" scaled="0"/>
                </a:gradFill>
                <a:effectLst>
                  <a:outerShdw blurRad="266700" sx="102000" sy="102000" algn="ctr" rotWithShape="0">
                    <a:prstClr val="black"/>
                  </a:outerShdw>
                </a:effectLst>
              </a:rPr>
              <a:t>Google wasn’t just a brand, it was a habit</a:t>
            </a:r>
          </a:p>
        </p:txBody>
      </p:sp>
      <p:grpSp>
        <p:nvGrpSpPr>
          <p:cNvPr id="19" name="Group 18"/>
          <p:cNvGrpSpPr/>
          <p:nvPr/>
        </p:nvGrpSpPr>
        <p:grpSpPr>
          <a:xfrm>
            <a:off x="4547149" y="5869517"/>
            <a:ext cx="7441652" cy="644884"/>
            <a:chOff x="611739" y="1104900"/>
            <a:chExt cx="8646561" cy="749300"/>
          </a:xfrm>
        </p:grpSpPr>
        <p:sp>
          <p:nvSpPr>
            <p:cNvPr id="20" name="Rectangle 19"/>
            <p:cNvSpPr/>
            <p:nvPr/>
          </p:nvSpPr>
          <p:spPr bwMode="auto">
            <a:xfrm>
              <a:off x="2103438" y="1104900"/>
              <a:ext cx="7154862" cy="749300"/>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74320" tIns="46637" rIns="0" bIns="46637" numCol="1" rtlCol="0" anchor="ctr" anchorCtr="0" compatLnSpc="1">
              <a:prstTxWarp prst="textNoShape">
                <a:avLst/>
              </a:prstTxWarp>
            </a:bodyPr>
            <a:lstStyle/>
            <a:p>
              <a:pPr defTabSz="932472" fontAlgn="base">
                <a:spcBef>
                  <a:spcPct val="0"/>
                </a:spcBef>
                <a:spcAft>
                  <a:spcPct val="0"/>
                </a:spcAft>
              </a:pPr>
              <a:r>
                <a:rPr lang="en-US" sz="2400" dirty="0" err="1">
                  <a:gradFill>
                    <a:gsLst>
                      <a:gs pos="15929">
                        <a:srgbClr val="505050"/>
                      </a:gs>
                      <a:gs pos="40000">
                        <a:srgbClr val="505050"/>
                      </a:gs>
                    </a:gsLst>
                    <a:lin ang="5400000" scaled="0"/>
                  </a:gradFill>
                </a:rPr>
                <a:t>bing</a:t>
              </a:r>
              <a:r>
                <a:rPr lang="en-US" sz="2400" dirty="0">
                  <a:gradFill>
                    <a:gsLst>
                      <a:gs pos="15929">
                        <a:srgbClr val="505050"/>
                      </a:gs>
                      <a:gs pos="40000">
                        <a:srgbClr val="505050"/>
                      </a:gs>
                    </a:gsLst>
                    <a:lin ang="5400000" scaled="0"/>
                  </a:gradFill>
                </a:rPr>
                <a:t> comes from behind</a:t>
              </a:r>
            </a:p>
          </p:txBody>
        </p:sp>
        <p:sp>
          <p:nvSpPr>
            <p:cNvPr id="21" name="Rectangle 20"/>
            <p:cNvSpPr/>
            <p:nvPr/>
          </p:nvSpPr>
          <p:spPr bwMode="auto">
            <a:xfrm>
              <a:off x="8574881" y="1164431"/>
              <a:ext cx="630238" cy="630238"/>
            </a:xfrm>
            <a:prstGeom prst="rect">
              <a:avLst/>
            </a:prstGeom>
            <a:solidFill>
              <a:srgbClr val="FFB9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22" name="Freeform 5"/>
            <p:cNvSpPr>
              <a:spLocks noEditPoints="1"/>
            </p:cNvSpPr>
            <p:nvPr/>
          </p:nvSpPr>
          <p:spPr bwMode="auto">
            <a:xfrm flipH="1">
              <a:off x="8713054" y="1311117"/>
              <a:ext cx="353892" cy="336867"/>
            </a:xfrm>
            <a:custGeom>
              <a:avLst/>
              <a:gdLst>
                <a:gd name="T0" fmla="*/ 528 w 1440"/>
                <a:gd name="T1" fmla="*/ 191 h 1371"/>
                <a:gd name="T2" fmla="*/ 864 w 1440"/>
                <a:gd name="T3" fmla="*/ 526 h 1371"/>
                <a:gd name="T4" fmla="*/ 528 w 1440"/>
                <a:gd name="T5" fmla="*/ 861 h 1371"/>
                <a:gd name="T6" fmla="*/ 208 w 1440"/>
                <a:gd name="T7" fmla="*/ 526 h 1371"/>
                <a:gd name="T8" fmla="*/ 528 w 1440"/>
                <a:gd name="T9" fmla="*/ 191 h 1371"/>
                <a:gd name="T10" fmla="*/ 528 w 1440"/>
                <a:gd name="T11" fmla="*/ 0 h 1371"/>
                <a:gd name="T12" fmla="*/ 0 w 1440"/>
                <a:gd name="T13" fmla="*/ 526 h 1371"/>
                <a:gd name="T14" fmla="*/ 528 w 1440"/>
                <a:gd name="T15" fmla="*/ 1052 h 1371"/>
                <a:gd name="T16" fmla="*/ 880 w 1440"/>
                <a:gd name="T17" fmla="*/ 924 h 1371"/>
                <a:gd name="T18" fmla="*/ 1280 w 1440"/>
                <a:gd name="T19" fmla="*/ 1339 h 1371"/>
                <a:gd name="T20" fmla="*/ 1408 w 1440"/>
                <a:gd name="T21" fmla="*/ 1339 h 1371"/>
                <a:gd name="T22" fmla="*/ 1408 w 1440"/>
                <a:gd name="T23" fmla="*/ 1339 h 1371"/>
                <a:gd name="T24" fmla="*/ 1408 w 1440"/>
                <a:gd name="T25" fmla="*/ 1211 h 1371"/>
                <a:gd name="T26" fmla="*/ 976 w 1440"/>
                <a:gd name="T27" fmla="*/ 797 h 1371"/>
                <a:gd name="T28" fmla="*/ 1056 w 1440"/>
                <a:gd name="T29" fmla="*/ 526 h 1371"/>
                <a:gd name="T30" fmla="*/ 528 w 1440"/>
                <a:gd name="T31" fmla="*/ 0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0" h="1371">
                  <a:moveTo>
                    <a:pt x="528" y="191"/>
                  </a:moveTo>
                  <a:cubicBezTo>
                    <a:pt x="704" y="191"/>
                    <a:pt x="864" y="350"/>
                    <a:pt x="864" y="526"/>
                  </a:cubicBezTo>
                  <a:cubicBezTo>
                    <a:pt x="864" y="701"/>
                    <a:pt x="704" y="861"/>
                    <a:pt x="528" y="861"/>
                  </a:cubicBezTo>
                  <a:cubicBezTo>
                    <a:pt x="352" y="861"/>
                    <a:pt x="208" y="701"/>
                    <a:pt x="208" y="526"/>
                  </a:cubicBezTo>
                  <a:cubicBezTo>
                    <a:pt x="208" y="350"/>
                    <a:pt x="352" y="191"/>
                    <a:pt x="528" y="191"/>
                  </a:cubicBezTo>
                  <a:close/>
                  <a:moveTo>
                    <a:pt x="528" y="0"/>
                  </a:moveTo>
                  <a:cubicBezTo>
                    <a:pt x="240" y="0"/>
                    <a:pt x="0" y="239"/>
                    <a:pt x="0" y="526"/>
                  </a:cubicBezTo>
                  <a:cubicBezTo>
                    <a:pt x="0" y="813"/>
                    <a:pt x="240" y="1052"/>
                    <a:pt x="528" y="1052"/>
                  </a:cubicBezTo>
                  <a:cubicBezTo>
                    <a:pt x="656" y="1052"/>
                    <a:pt x="784" y="1004"/>
                    <a:pt x="880" y="924"/>
                  </a:cubicBezTo>
                  <a:cubicBezTo>
                    <a:pt x="1280" y="1339"/>
                    <a:pt x="1280" y="1339"/>
                    <a:pt x="1280" y="1339"/>
                  </a:cubicBezTo>
                  <a:cubicBezTo>
                    <a:pt x="1312" y="1371"/>
                    <a:pt x="1376" y="1371"/>
                    <a:pt x="1408" y="1339"/>
                  </a:cubicBezTo>
                  <a:cubicBezTo>
                    <a:pt x="1408" y="1339"/>
                    <a:pt x="1408" y="1339"/>
                    <a:pt x="1408" y="1339"/>
                  </a:cubicBezTo>
                  <a:cubicBezTo>
                    <a:pt x="1440" y="1307"/>
                    <a:pt x="1440" y="1243"/>
                    <a:pt x="1408" y="1211"/>
                  </a:cubicBezTo>
                  <a:cubicBezTo>
                    <a:pt x="976" y="797"/>
                    <a:pt x="976" y="797"/>
                    <a:pt x="976" y="797"/>
                  </a:cubicBezTo>
                  <a:cubicBezTo>
                    <a:pt x="1040" y="717"/>
                    <a:pt x="1056" y="621"/>
                    <a:pt x="1056" y="526"/>
                  </a:cubicBezTo>
                  <a:cubicBezTo>
                    <a:pt x="1056" y="239"/>
                    <a:pt x="816" y="0"/>
                    <a:pt x="528"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2000">
                <a:solidFill>
                  <a:srgbClr val="FFFFFF"/>
                </a:solidFill>
              </a:endParaRPr>
            </a:p>
          </p:txBody>
        </p:sp>
        <p:grpSp>
          <p:nvGrpSpPr>
            <p:cNvPr id="23" name="Group 4"/>
            <p:cNvGrpSpPr>
              <a:grpSpLocks noChangeAspect="1"/>
            </p:cNvGrpSpPr>
            <p:nvPr/>
          </p:nvGrpSpPr>
          <p:grpSpPr bwMode="auto">
            <a:xfrm>
              <a:off x="611739" y="1236280"/>
              <a:ext cx="1255162" cy="486541"/>
              <a:chOff x="2144" y="72"/>
              <a:chExt cx="1989" cy="771"/>
            </a:xfrm>
            <a:solidFill>
              <a:schemeClr val="tx1"/>
            </a:solidFill>
          </p:grpSpPr>
          <p:sp>
            <p:nvSpPr>
              <p:cNvPr id="24" name="Freeform 5"/>
              <p:cNvSpPr>
                <a:spLocks noEditPoints="1"/>
              </p:cNvSpPr>
              <p:nvPr/>
            </p:nvSpPr>
            <p:spPr bwMode="auto">
              <a:xfrm>
                <a:off x="2985" y="201"/>
                <a:ext cx="299" cy="494"/>
              </a:xfrm>
              <a:custGeom>
                <a:avLst/>
                <a:gdLst>
                  <a:gd name="T0" fmla="*/ 126 w 126"/>
                  <a:gd name="T1" fmla="*/ 131 h 207"/>
                  <a:gd name="T2" fmla="*/ 109 w 126"/>
                  <a:gd name="T3" fmla="*/ 186 h 207"/>
                  <a:gd name="T4" fmla="*/ 63 w 126"/>
                  <a:gd name="T5" fmla="*/ 207 h 207"/>
                  <a:gd name="T6" fmla="*/ 22 w 126"/>
                  <a:gd name="T7" fmla="*/ 184 h 207"/>
                  <a:gd name="T8" fmla="*/ 22 w 126"/>
                  <a:gd name="T9" fmla="*/ 184 h 207"/>
                  <a:gd name="T10" fmla="*/ 22 w 126"/>
                  <a:gd name="T11" fmla="*/ 204 h 207"/>
                  <a:gd name="T12" fmla="*/ 0 w 126"/>
                  <a:gd name="T13" fmla="*/ 204 h 207"/>
                  <a:gd name="T14" fmla="*/ 0 w 126"/>
                  <a:gd name="T15" fmla="*/ 0 h 207"/>
                  <a:gd name="T16" fmla="*/ 22 w 126"/>
                  <a:gd name="T17" fmla="*/ 7 h 207"/>
                  <a:gd name="T18" fmla="*/ 22 w 126"/>
                  <a:gd name="T19" fmla="*/ 90 h 207"/>
                  <a:gd name="T20" fmla="*/ 22 w 126"/>
                  <a:gd name="T21" fmla="*/ 90 h 207"/>
                  <a:gd name="T22" fmla="*/ 70 w 126"/>
                  <a:gd name="T23" fmla="*/ 63 h 207"/>
                  <a:gd name="T24" fmla="*/ 111 w 126"/>
                  <a:gd name="T25" fmla="*/ 81 h 207"/>
                  <a:gd name="T26" fmla="*/ 126 w 126"/>
                  <a:gd name="T27" fmla="*/ 131 h 207"/>
                  <a:gd name="T28" fmla="*/ 104 w 126"/>
                  <a:gd name="T29" fmla="*/ 130 h 207"/>
                  <a:gd name="T30" fmla="*/ 93 w 126"/>
                  <a:gd name="T31" fmla="*/ 95 h 207"/>
                  <a:gd name="T32" fmla="*/ 64 w 126"/>
                  <a:gd name="T33" fmla="*/ 81 h 207"/>
                  <a:gd name="T34" fmla="*/ 33 w 126"/>
                  <a:gd name="T35" fmla="*/ 95 h 207"/>
                  <a:gd name="T36" fmla="*/ 22 w 126"/>
                  <a:gd name="T37" fmla="*/ 128 h 207"/>
                  <a:gd name="T38" fmla="*/ 22 w 126"/>
                  <a:gd name="T39" fmla="*/ 148 h 207"/>
                  <a:gd name="T40" fmla="*/ 33 w 126"/>
                  <a:gd name="T41" fmla="*/ 177 h 207"/>
                  <a:gd name="T42" fmla="*/ 61 w 126"/>
                  <a:gd name="T43" fmla="*/ 188 h 207"/>
                  <a:gd name="T44" fmla="*/ 92 w 126"/>
                  <a:gd name="T45" fmla="*/ 173 h 207"/>
                  <a:gd name="T46" fmla="*/ 104 w 126"/>
                  <a:gd name="T47" fmla="*/ 13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6" h="207">
                    <a:moveTo>
                      <a:pt x="126" y="131"/>
                    </a:moveTo>
                    <a:cubicBezTo>
                      <a:pt x="126" y="154"/>
                      <a:pt x="121" y="172"/>
                      <a:pt x="109" y="186"/>
                    </a:cubicBezTo>
                    <a:cubicBezTo>
                      <a:pt x="98" y="200"/>
                      <a:pt x="83" y="207"/>
                      <a:pt x="63" y="207"/>
                    </a:cubicBezTo>
                    <a:cubicBezTo>
                      <a:pt x="45" y="207"/>
                      <a:pt x="32" y="199"/>
                      <a:pt x="22" y="184"/>
                    </a:cubicBezTo>
                    <a:cubicBezTo>
                      <a:pt x="22" y="184"/>
                      <a:pt x="22" y="184"/>
                      <a:pt x="22" y="184"/>
                    </a:cubicBezTo>
                    <a:cubicBezTo>
                      <a:pt x="22" y="204"/>
                      <a:pt x="22" y="204"/>
                      <a:pt x="22" y="204"/>
                    </a:cubicBezTo>
                    <a:cubicBezTo>
                      <a:pt x="0" y="204"/>
                      <a:pt x="0" y="204"/>
                      <a:pt x="0" y="204"/>
                    </a:cubicBezTo>
                    <a:cubicBezTo>
                      <a:pt x="0" y="0"/>
                      <a:pt x="0" y="0"/>
                      <a:pt x="0" y="0"/>
                    </a:cubicBezTo>
                    <a:cubicBezTo>
                      <a:pt x="22" y="7"/>
                      <a:pt x="22" y="7"/>
                      <a:pt x="22" y="7"/>
                    </a:cubicBezTo>
                    <a:cubicBezTo>
                      <a:pt x="22" y="90"/>
                      <a:pt x="22" y="90"/>
                      <a:pt x="22" y="90"/>
                    </a:cubicBezTo>
                    <a:cubicBezTo>
                      <a:pt x="22" y="90"/>
                      <a:pt x="22" y="90"/>
                      <a:pt x="22" y="90"/>
                    </a:cubicBezTo>
                    <a:cubicBezTo>
                      <a:pt x="33" y="72"/>
                      <a:pt x="49" y="63"/>
                      <a:pt x="70" y="63"/>
                    </a:cubicBezTo>
                    <a:cubicBezTo>
                      <a:pt x="87" y="63"/>
                      <a:pt x="101" y="69"/>
                      <a:pt x="111" y="81"/>
                    </a:cubicBezTo>
                    <a:cubicBezTo>
                      <a:pt x="121" y="93"/>
                      <a:pt x="126" y="110"/>
                      <a:pt x="126" y="131"/>
                    </a:cubicBezTo>
                    <a:moveTo>
                      <a:pt x="104" y="130"/>
                    </a:moveTo>
                    <a:cubicBezTo>
                      <a:pt x="104" y="116"/>
                      <a:pt x="100" y="104"/>
                      <a:pt x="93" y="95"/>
                    </a:cubicBezTo>
                    <a:cubicBezTo>
                      <a:pt x="86" y="86"/>
                      <a:pt x="77" y="81"/>
                      <a:pt x="64" y="81"/>
                    </a:cubicBezTo>
                    <a:cubicBezTo>
                      <a:pt x="52" y="81"/>
                      <a:pt x="41" y="86"/>
                      <a:pt x="33" y="95"/>
                    </a:cubicBezTo>
                    <a:cubicBezTo>
                      <a:pt x="26" y="103"/>
                      <a:pt x="22" y="115"/>
                      <a:pt x="22" y="128"/>
                    </a:cubicBezTo>
                    <a:cubicBezTo>
                      <a:pt x="22" y="148"/>
                      <a:pt x="22" y="148"/>
                      <a:pt x="22" y="148"/>
                    </a:cubicBezTo>
                    <a:cubicBezTo>
                      <a:pt x="22" y="159"/>
                      <a:pt x="25" y="169"/>
                      <a:pt x="33" y="177"/>
                    </a:cubicBezTo>
                    <a:cubicBezTo>
                      <a:pt x="41" y="184"/>
                      <a:pt x="50" y="188"/>
                      <a:pt x="61" y="188"/>
                    </a:cubicBezTo>
                    <a:cubicBezTo>
                      <a:pt x="74" y="188"/>
                      <a:pt x="85" y="183"/>
                      <a:pt x="92" y="173"/>
                    </a:cubicBezTo>
                    <a:cubicBezTo>
                      <a:pt x="100" y="163"/>
                      <a:pt x="104" y="149"/>
                      <a:pt x="104" y="1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FFFFFF"/>
                  </a:solidFill>
                </a:endParaRPr>
              </a:p>
            </p:txBody>
          </p:sp>
          <p:sp>
            <p:nvSpPr>
              <p:cNvPr id="25" name="Freeform 6"/>
              <p:cNvSpPr>
                <a:spLocks/>
              </p:cNvSpPr>
              <p:nvPr/>
            </p:nvSpPr>
            <p:spPr bwMode="auto">
              <a:xfrm>
                <a:off x="3346" y="213"/>
                <a:ext cx="68" cy="69"/>
              </a:xfrm>
              <a:custGeom>
                <a:avLst/>
                <a:gdLst>
                  <a:gd name="T0" fmla="*/ 29 w 29"/>
                  <a:gd name="T1" fmla="*/ 15 h 29"/>
                  <a:gd name="T2" fmla="*/ 25 w 29"/>
                  <a:gd name="T3" fmla="*/ 25 h 29"/>
                  <a:gd name="T4" fmla="*/ 15 w 29"/>
                  <a:gd name="T5" fmla="*/ 29 h 29"/>
                  <a:gd name="T6" fmla="*/ 4 w 29"/>
                  <a:gd name="T7" fmla="*/ 25 h 29"/>
                  <a:gd name="T8" fmla="*/ 0 w 29"/>
                  <a:gd name="T9" fmla="*/ 15 h 29"/>
                  <a:gd name="T10" fmla="*/ 4 w 29"/>
                  <a:gd name="T11" fmla="*/ 5 h 29"/>
                  <a:gd name="T12" fmla="*/ 15 w 29"/>
                  <a:gd name="T13" fmla="*/ 0 h 29"/>
                  <a:gd name="T14" fmla="*/ 25 w 29"/>
                  <a:gd name="T15" fmla="*/ 5 h 29"/>
                  <a:gd name="T16" fmla="*/ 29 w 29"/>
                  <a:gd name="T17"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29">
                    <a:moveTo>
                      <a:pt x="29" y="15"/>
                    </a:moveTo>
                    <a:cubicBezTo>
                      <a:pt x="29" y="19"/>
                      <a:pt x="28" y="22"/>
                      <a:pt x="25" y="25"/>
                    </a:cubicBezTo>
                    <a:cubicBezTo>
                      <a:pt x="22" y="28"/>
                      <a:pt x="19" y="29"/>
                      <a:pt x="15" y="29"/>
                    </a:cubicBezTo>
                    <a:cubicBezTo>
                      <a:pt x="11" y="29"/>
                      <a:pt x="7" y="28"/>
                      <a:pt x="4" y="25"/>
                    </a:cubicBezTo>
                    <a:cubicBezTo>
                      <a:pt x="2" y="23"/>
                      <a:pt x="0" y="19"/>
                      <a:pt x="0" y="15"/>
                    </a:cubicBezTo>
                    <a:cubicBezTo>
                      <a:pt x="0" y="11"/>
                      <a:pt x="2" y="8"/>
                      <a:pt x="4" y="5"/>
                    </a:cubicBezTo>
                    <a:cubicBezTo>
                      <a:pt x="7" y="2"/>
                      <a:pt x="10" y="0"/>
                      <a:pt x="15" y="0"/>
                    </a:cubicBezTo>
                    <a:cubicBezTo>
                      <a:pt x="19" y="0"/>
                      <a:pt x="22" y="2"/>
                      <a:pt x="25" y="5"/>
                    </a:cubicBezTo>
                    <a:cubicBezTo>
                      <a:pt x="28" y="7"/>
                      <a:pt x="29" y="11"/>
                      <a:pt x="29" y="1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FFFFFF"/>
                  </a:solidFill>
                </a:endParaRPr>
              </a:p>
            </p:txBody>
          </p:sp>
          <p:sp>
            <p:nvSpPr>
              <p:cNvPr id="26" name="Rectangle 7"/>
              <p:cNvSpPr>
                <a:spLocks noChangeArrowheads="1"/>
              </p:cNvSpPr>
              <p:nvPr/>
            </p:nvSpPr>
            <p:spPr bwMode="auto">
              <a:xfrm>
                <a:off x="3353" y="359"/>
                <a:ext cx="52" cy="3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FFFFFF"/>
                  </a:solidFill>
                </a:endParaRPr>
              </a:p>
            </p:txBody>
          </p:sp>
          <p:sp>
            <p:nvSpPr>
              <p:cNvPr id="27" name="Freeform 8"/>
              <p:cNvSpPr>
                <a:spLocks/>
              </p:cNvSpPr>
              <p:nvPr/>
            </p:nvSpPr>
            <p:spPr bwMode="auto">
              <a:xfrm>
                <a:off x="3493" y="351"/>
                <a:ext cx="270" cy="337"/>
              </a:xfrm>
              <a:custGeom>
                <a:avLst/>
                <a:gdLst>
                  <a:gd name="T0" fmla="*/ 114 w 114"/>
                  <a:gd name="T1" fmla="*/ 141 h 141"/>
                  <a:gd name="T2" fmla="*/ 92 w 114"/>
                  <a:gd name="T3" fmla="*/ 141 h 141"/>
                  <a:gd name="T4" fmla="*/ 92 w 114"/>
                  <a:gd name="T5" fmla="*/ 62 h 141"/>
                  <a:gd name="T6" fmla="*/ 60 w 114"/>
                  <a:gd name="T7" fmla="*/ 18 h 141"/>
                  <a:gd name="T8" fmla="*/ 33 w 114"/>
                  <a:gd name="T9" fmla="*/ 31 h 141"/>
                  <a:gd name="T10" fmla="*/ 22 w 114"/>
                  <a:gd name="T11" fmla="*/ 62 h 141"/>
                  <a:gd name="T12" fmla="*/ 22 w 114"/>
                  <a:gd name="T13" fmla="*/ 141 h 141"/>
                  <a:gd name="T14" fmla="*/ 0 w 114"/>
                  <a:gd name="T15" fmla="*/ 141 h 141"/>
                  <a:gd name="T16" fmla="*/ 0 w 114"/>
                  <a:gd name="T17" fmla="*/ 3 h 141"/>
                  <a:gd name="T18" fmla="*/ 22 w 114"/>
                  <a:gd name="T19" fmla="*/ 3 h 141"/>
                  <a:gd name="T20" fmla="*/ 22 w 114"/>
                  <a:gd name="T21" fmla="*/ 26 h 141"/>
                  <a:gd name="T22" fmla="*/ 22 w 114"/>
                  <a:gd name="T23" fmla="*/ 26 h 141"/>
                  <a:gd name="T24" fmla="*/ 68 w 114"/>
                  <a:gd name="T25" fmla="*/ 0 h 141"/>
                  <a:gd name="T26" fmla="*/ 102 w 114"/>
                  <a:gd name="T27" fmla="*/ 14 h 141"/>
                  <a:gd name="T28" fmla="*/ 114 w 114"/>
                  <a:gd name="T29" fmla="*/ 56 h 141"/>
                  <a:gd name="T30" fmla="*/ 114 w 114"/>
                  <a:gd name="T31"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4" h="141">
                    <a:moveTo>
                      <a:pt x="114" y="141"/>
                    </a:moveTo>
                    <a:cubicBezTo>
                      <a:pt x="92" y="141"/>
                      <a:pt x="92" y="141"/>
                      <a:pt x="92" y="141"/>
                    </a:cubicBezTo>
                    <a:cubicBezTo>
                      <a:pt x="92" y="62"/>
                      <a:pt x="92" y="62"/>
                      <a:pt x="92" y="62"/>
                    </a:cubicBezTo>
                    <a:cubicBezTo>
                      <a:pt x="92" y="33"/>
                      <a:pt x="81" y="18"/>
                      <a:pt x="60" y="18"/>
                    </a:cubicBezTo>
                    <a:cubicBezTo>
                      <a:pt x="49" y="18"/>
                      <a:pt x="40" y="22"/>
                      <a:pt x="33" y="31"/>
                    </a:cubicBezTo>
                    <a:cubicBezTo>
                      <a:pt x="26" y="39"/>
                      <a:pt x="22" y="49"/>
                      <a:pt x="22" y="62"/>
                    </a:cubicBezTo>
                    <a:cubicBezTo>
                      <a:pt x="22" y="141"/>
                      <a:pt x="22" y="141"/>
                      <a:pt x="22" y="141"/>
                    </a:cubicBezTo>
                    <a:cubicBezTo>
                      <a:pt x="0" y="141"/>
                      <a:pt x="0" y="141"/>
                      <a:pt x="0" y="141"/>
                    </a:cubicBezTo>
                    <a:cubicBezTo>
                      <a:pt x="0" y="3"/>
                      <a:pt x="0" y="3"/>
                      <a:pt x="0" y="3"/>
                    </a:cubicBezTo>
                    <a:cubicBezTo>
                      <a:pt x="22" y="3"/>
                      <a:pt x="22" y="3"/>
                      <a:pt x="22" y="3"/>
                    </a:cubicBezTo>
                    <a:cubicBezTo>
                      <a:pt x="22" y="26"/>
                      <a:pt x="22" y="26"/>
                      <a:pt x="22" y="26"/>
                    </a:cubicBezTo>
                    <a:cubicBezTo>
                      <a:pt x="22" y="26"/>
                      <a:pt x="22" y="26"/>
                      <a:pt x="22" y="26"/>
                    </a:cubicBezTo>
                    <a:cubicBezTo>
                      <a:pt x="33" y="8"/>
                      <a:pt x="48" y="0"/>
                      <a:pt x="68" y="0"/>
                    </a:cubicBezTo>
                    <a:cubicBezTo>
                      <a:pt x="83" y="0"/>
                      <a:pt x="94" y="5"/>
                      <a:pt x="102" y="14"/>
                    </a:cubicBezTo>
                    <a:cubicBezTo>
                      <a:pt x="110" y="24"/>
                      <a:pt x="114" y="38"/>
                      <a:pt x="114" y="56"/>
                    </a:cubicBezTo>
                    <a:lnTo>
                      <a:pt x="114"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FFFFFF"/>
                  </a:solidFill>
                </a:endParaRPr>
              </a:p>
            </p:txBody>
          </p:sp>
          <p:sp>
            <p:nvSpPr>
              <p:cNvPr id="28" name="Freeform 9"/>
              <p:cNvSpPr>
                <a:spLocks noEditPoints="1"/>
              </p:cNvSpPr>
              <p:nvPr/>
            </p:nvSpPr>
            <p:spPr bwMode="auto">
              <a:xfrm>
                <a:off x="3834" y="351"/>
                <a:ext cx="299" cy="492"/>
              </a:xfrm>
              <a:custGeom>
                <a:avLst/>
                <a:gdLst>
                  <a:gd name="T0" fmla="*/ 126 w 126"/>
                  <a:gd name="T1" fmla="*/ 130 h 206"/>
                  <a:gd name="T2" fmla="*/ 54 w 126"/>
                  <a:gd name="T3" fmla="*/ 206 h 206"/>
                  <a:gd name="T4" fmla="*/ 9 w 126"/>
                  <a:gd name="T5" fmla="*/ 196 h 206"/>
                  <a:gd name="T6" fmla="*/ 15 w 126"/>
                  <a:gd name="T7" fmla="*/ 177 h 206"/>
                  <a:gd name="T8" fmla="*/ 53 w 126"/>
                  <a:gd name="T9" fmla="*/ 187 h 206"/>
                  <a:gd name="T10" fmla="*/ 104 w 126"/>
                  <a:gd name="T11" fmla="*/ 133 h 206"/>
                  <a:gd name="T12" fmla="*/ 104 w 126"/>
                  <a:gd name="T13" fmla="*/ 118 h 206"/>
                  <a:gd name="T14" fmla="*/ 104 w 126"/>
                  <a:gd name="T15" fmla="*/ 118 h 206"/>
                  <a:gd name="T16" fmla="*/ 57 w 126"/>
                  <a:gd name="T17" fmla="*/ 144 h 206"/>
                  <a:gd name="T18" fmla="*/ 27 w 126"/>
                  <a:gd name="T19" fmla="*/ 136 h 206"/>
                  <a:gd name="T20" fmla="*/ 7 w 126"/>
                  <a:gd name="T21" fmla="*/ 112 h 206"/>
                  <a:gd name="T22" fmla="*/ 0 w 126"/>
                  <a:gd name="T23" fmla="*/ 76 h 206"/>
                  <a:gd name="T24" fmla="*/ 17 w 126"/>
                  <a:gd name="T25" fmla="*/ 20 h 206"/>
                  <a:gd name="T26" fmla="*/ 63 w 126"/>
                  <a:gd name="T27" fmla="*/ 0 h 206"/>
                  <a:gd name="T28" fmla="*/ 104 w 126"/>
                  <a:gd name="T29" fmla="*/ 22 h 206"/>
                  <a:gd name="T30" fmla="*/ 104 w 126"/>
                  <a:gd name="T31" fmla="*/ 22 h 206"/>
                  <a:gd name="T32" fmla="*/ 104 w 126"/>
                  <a:gd name="T33" fmla="*/ 3 h 206"/>
                  <a:gd name="T34" fmla="*/ 126 w 126"/>
                  <a:gd name="T35" fmla="*/ 3 h 206"/>
                  <a:gd name="T36" fmla="*/ 126 w 126"/>
                  <a:gd name="T37" fmla="*/ 130 h 206"/>
                  <a:gd name="T38" fmla="*/ 104 w 126"/>
                  <a:gd name="T39" fmla="*/ 78 h 206"/>
                  <a:gd name="T40" fmla="*/ 104 w 126"/>
                  <a:gd name="T41" fmla="*/ 58 h 206"/>
                  <a:gd name="T42" fmla="*/ 93 w 126"/>
                  <a:gd name="T43" fmla="*/ 30 h 206"/>
                  <a:gd name="T44" fmla="*/ 66 w 126"/>
                  <a:gd name="T45" fmla="*/ 18 h 206"/>
                  <a:gd name="T46" fmla="*/ 34 w 126"/>
                  <a:gd name="T47" fmla="*/ 33 h 206"/>
                  <a:gd name="T48" fmla="*/ 22 w 126"/>
                  <a:gd name="T49" fmla="*/ 75 h 206"/>
                  <a:gd name="T50" fmla="*/ 33 w 126"/>
                  <a:gd name="T51" fmla="*/ 111 h 206"/>
                  <a:gd name="T52" fmla="*/ 63 w 126"/>
                  <a:gd name="T53" fmla="*/ 125 h 206"/>
                  <a:gd name="T54" fmla="*/ 93 w 126"/>
                  <a:gd name="T55" fmla="*/ 112 h 206"/>
                  <a:gd name="T56" fmla="*/ 104 w 126"/>
                  <a:gd name="T57" fmla="*/ 78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6" h="206">
                    <a:moveTo>
                      <a:pt x="126" y="130"/>
                    </a:moveTo>
                    <a:cubicBezTo>
                      <a:pt x="126" y="180"/>
                      <a:pt x="102" y="206"/>
                      <a:pt x="54" y="206"/>
                    </a:cubicBezTo>
                    <a:cubicBezTo>
                      <a:pt x="37" y="206"/>
                      <a:pt x="22" y="202"/>
                      <a:pt x="9" y="196"/>
                    </a:cubicBezTo>
                    <a:cubicBezTo>
                      <a:pt x="15" y="177"/>
                      <a:pt x="15" y="177"/>
                      <a:pt x="15" y="177"/>
                    </a:cubicBezTo>
                    <a:cubicBezTo>
                      <a:pt x="29" y="184"/>
                      <a:pt x="39" y="187"/>
                      <a:pt x="53" y="187"/>
                    </a:cubicBezTo>
                    <a:cubicBezTo>
                      <a:pt x="87" y="187"/>
                      <a:pt x="104" y="169"/>
                      <a:pt x="104" y="133"/>
                    </a:cubicBezTo>
                    <a:cubicBezTo>
                      <a:pt x="104" y="118"/>
                      <a:pt x="104" y="118"/>
                      <a:pt x="104" y="118"/>
                    </a:cubicBezTo>
                    <a:cubicBezTo>
                      <a:pt x="104" y="118"/>
                      <a:pt x="104" y="118"/>
                      <a:pt x="104" y="118"/>
                    </a:cubicBezTo>
                    <a:cubicBezTo>
                      <a:pt x="93" y="135"/>
                      <a:pt x="78" y="144"/>
                      <a:pt x="57" y="144"/>
                    </a:cubicBezTo>
                    <a:cubicBezTo>
                      <a:pt x="45" y="144"/>
                      <a:pt x="35" y="141"/>
                      <a:pt x="27" y="136"/>
                    </a:cubicBezTo>
                    <a:cubicBezTo>
                      <a:pt x="18" y="130"/>
                      <a:pt x="11" y="122"/>
                      <a:pt x="7" y="112"/>
                    </a:cubicBezTo>
                    <a:cubicBezTo>
                      <a:pt x="2" y="102"/>
                      <a:pt x="0" y="90"/>
                      <a:pt x="0" y="76"/>
                    </a:cubicBezTo>
                    <a:cubicBezTo>
                      <a:pt x="0" y="53"/>
                      <a:pt x="5" y="34"/>
                      <a:pt x="17" y="20"/>
                    </a:cubicBezTo>
                    <a:cubicBezTo>
                      <a:pt x="28" y="7"/>
                      <a:pt x="43" y="0"/>
                      <a:pt x="63" y="0"/>
                    </a:cubicBezTo>
                    <a:cubicBezTo>
                      <a:pt x="81" y="0"/>
                      <a:pt x="95" y="7"/>
                      <a:pt x="104" y="22"/>
                    </a:cubicBezTo>
                    <a:cubicBezTo>
                      <a:pt x="104" y="22"/>
                      <a:pt x="104" y="22"/>
                      <a:pt x="104" y="22"/>
                    </a:cubicBezTo>
                    <a:cubicBezTo>
                      <a:pt x="104" y="3"/>
                      <a:pt x="104" y="3"/>
                      <a:pt x="104" y="3"/>
                    </a:cubicBezTo>
                    <a:cubicBezTo>
                      <a:pt x="126" y="3"/>
                      <a:pt x="126" y="3"/>
                      <a:pt x="126" y="3"/>
                    </a:cubicBezTo>
                    <a:lnTo>
                      <a:pt x="126" y="130"/>
                    </a:lnTo>
                    <a:close/>
                    <a:moveTo>
                      <a:pt x="104" y="78"/>
                    </a:moveTo>
                    <a:cubicBezTo>
                      <a:pt x="104" y="58"/>
                      <a:pt x="104" y="58"/>
                      <a:pt x="104" y="58"/>
                    </a:cubicBezTo>
                    <a:cubicBezTo>
                      <a:pt x="104" y="47"/>
                      <a:pt x="101" y="38"/>
                      <a:pt x="93" y="30"/>
                    </a:cubicBezTo>
                    <a:cubicBezTo>
                      <a:pt x="85" y="22"/>
                      <a:pt x="76" y="18"/>
                      <a:pt x="66" y="18"/>
                    </a:cubicBezTo>
                    <a:cubicBezTo>
                      <a:pt x="52" y="18"/>
                      <a:pt x="41" y="23"/>
                      <a:pt x="34" y="33"/>
                    </a:cubicBezTo>
                    <a:cubicBezTo>
                      <a:pt x="26" y="43"/>
                      <a:pt x="22" y="57"/>
                      <a:pt x="22" y="75"/>
                    </a:cubicBezTo>
                    <a:cubicBezTo>
                      <a:pt x="22" y="90"/>
                      <a:pt x="26" y="102"/>
                      <a:pt x="33" y="111"/>
                    </a:cubicBezTo>
                    <a:cubicBezTo>
                      <a:pt x="41" y="121"/>
                      <a:pt x="50" y="125"/>
                      <a:pt x="63" y="125"/>
                    </a:cubicBezTo>
                    <a:cubicBezTo>
                      <a:pt x="75" y="125"/>
                      <a:pt x="85" y="121"/>
                      <a:pt x="93" y="112"/>
                    </a:cubicBezTo>
                    <a:cubicBezTo>
                      <a:pt x="101" y="104"/>
                      <a:pt x="104" y="92"/>
                      <a:pt x="104" y="7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FFFFFF"/>
                  </a:solidFill>
                </a:endParaRPr>
              </a:p>
            </p:txBody>
          </p:sp>
          <p:sp>
            <p:nvSpPr>
              <p:cNvPr id="29" name="Freeform 10"/>
              <p:cNvSpPr>
                <a:spLocks/>
              </p:cNvSpPr>
              <p:nvPr/>
            </p:nvSpPr>
            <p:spPr bwMode="auto">
              <a:xfrm>
                <a:off x="2144" y="273"/>
                <a:ext cx="612" cy="567"/>
              </a:xfrm>
              <a:custGeom>
                <a:avLst/>
                <a:gdLst>
                  <a:gd name="T0" fmla="*/ 230 w 612"/>
                  <a:gd name="T1" fmla="*/ 0 h 567"/>
                  <a:gd name="T2" fmla="*/ 306 w 612"/>
                  <a:gd name="T3" fmla="*/ 167 h 567"/>
                  <a:gd name="T4" fmla="*/ 422 w 612"/>
                  <a:gd name="T5" fmla="*/ 222 h 567"/>
                  <a:gd name="T6" fmla="*/ 0 w 612"/>
                  <a:gd name="T7" fmla="*/ 446 h 567"/>
                  <a:gd name="T8" fmla="*/ 175 w 612"/>
                  <a:gd name="T9" fmla="*/ 567 h 567"/>
                  <a:gd name="T10" fmla="*/ 612 w 612"/>
                  <a:gd name="T11" fmla="*/ 305 h 567"/>
                  <a:gd name="T12" fmla="*/ 612 w 612"/>
                  <a:gd name="T13" fmla="*/ 119 h 567"/>
                  <a:gd name="T14" fmla="*/ 230 w 612"/>
                  <a:gd name="T15" fmla="*/ 0 h 5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2" h="567">
                    <a:moveTo>
                      <a:pt x="230" y="0"/>
                    </a:moveTo>
                    <a:lnTo>
                      <a:pt x="306" y="167"/>
                    </a:lnTo>
                    <a:lnTo>
                      <a:pt x="422" y="222"/>
                    </a:lnTo>
                    <a:lnTo>
                      <a:pt x="0" y="446"/>
                    </a:lnTo>
                    <a:lnTo>
                      <a:pt x="175" y="567"/>
                    </a:lnTo>
                    <a:lnTo>
                      <a:pt x="612" y="305"/>
                    </a:lnTo>
                    <a:lnTo>
                      <a:pt x="612" y="119"/>
                    </a:lnTo>
                    <a:lnTo>
                      <a:pt x="2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FFFFFF"/>
                  </a:solidFill>
                </a:endParaRPr>
              </a:p>
            </p:txBody>
          </p:sp>
          <p:sp>
            <p:nvSpPr>
              <p:cNvPr id="30" name="Freeform 11"/>
              <p:cNvSpPr>
                <a:spLocks/>
              </p:cNvSpPr>
              <p:nvPr/>
            </p:nvSpPr>
            <p:spPr bwMode="auto">
              <a:xfrm>
                <a:off x="2144" y="72"/>
                <a:ext cx="175" cy="647"/>
              </a:xfrm>
              <a:custGeom>
                <a:avLst/>
                <a:gdLst>
                  <a:gd name="T0" fmla="*/ 175 w 175"/>
                  <a:gd name="T1" fmla="*/ 55 h 647"/>
                  <a:gd name="T2" fmla="*/ 0 w 175"/>
                  <a:gd name="T3" fmla="*/ 0 h 647"/>
                  <a:gd name="T4" fmla="*/ 0 w 175"/>
                  <a:gd name="T5" fmla="*/ 647 h 647"/>
                  <a:gd name="T6" fmla="*/ 175 w 175"/>
                  <a:gd name="T7" fmla="*/ 487 h 647"/>
                  <a:gd name="T8" fmla="*/ 175 w 175"/>
                  <a:gd name="T9" fmla="*/ 55 h 647"/>
                </a:gdLst>
                <a:ahLst/>
                <a:cxnLst>
                  <a:cxn ang="0">
                    <a:pos x="T0" y="T1"/>
                  </a:cxn>
                  <a:cxn ang="0">
                    <a:pos x="T2" y="T3"/>
                  </a:cxn>
                  <a:cxn ang="0">
                    <a:pos x="T4" y="T5"/>
                  </a:cxn>
                  <a:cxn ang="0">
                    <a:pos x="T6" y="T7"/>
                  </a:cxn>
                  <a:cxn ang="0">
                    <a:pos x="T8" y="T9"/>
                  </a:cxn>
                </a:cxnLst>
                <a:rect l="0" t="0" r="r" b="b"/>
                <a:pathLst>
                  <a:path w="175" h="647">
                    <a:moveTo>
                      <a:pt x="175" y="55"/>
                    </a:moveTo>
                    <a:lnTo>
                      <a:pt x="0" y="0"/>
                    </a:lnTo>
                    <a:lnTo>
                      <a:pt x="0" y="647"/>
                    </a:lnTo>
                    <a:lnTo>
                      <a:pt x="175" y="487"/>
                    </a:lnTo>
                    <a:lnTo>
                      <a:pt x="175"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FFFFFF"/>
                  </a:solidFill>
                </a:endParaRPr>
              </a:p>
            </p:txBody>
          </p:sp>
        </p:grpSp>
      </p:grpSp>
    </p:spTree>
    <p:extLst>
      <p:ext uri="{BB962C8B-B14F-4D97-AF65-F5344CB8AC3E}">
        <p14:creationId xmlns:p14="http://schemas.microsoft.com/office/powerpoint/2010/main" val="286170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30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par>
                                <p:cTn id="12" presetID="63" presetClass="path" presetSubtype="0" decel="100000" fill="hold" grpId="1" nodeType="withEffect">
                                  <p:stCondLst>
                                    <p:cond delay="300"/>
                                  </p:stCondLst>
                                  <p:childTnLst>
                                    <p:animMotion origin="layout" path="M 3.22951E-6 -1.77031E-6 L 0.018 -1.77031E-6 " pathEditMode="relative" rAng="0" ptsTypes="AA">
                                      <p:cBhvr>
                                        <p:cTn id="13" dur="500" spd="-100000" fill="hold"/>
                                        <p:tgtEl>
                                          <p:spTgt spid="14"/>
                                        </p:tgtEl>
                                        <p:attrNameLst>
                                          <p:attrName>ppt_x</p:attrName>
                                          <p:attrName>ppt_y</p:attrName>
                                        </p:attrNameLst>
                                      </p:cBhvr>
                                      <p:rCtr x="894" y="0"/>
                                    </p:animMotion>
                                  </p:childTnLst>
                                </p:cTn>
                              </p:par>
                              <p:par>
                                <p:cTn id="14" presetID="10" presetClass="entr" presetSubtype="0" fill="hold" grpId="0" nodeType="withEffect">
                                  <p:stCondLst>
                                    <p:cond delay="40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500"/>
                                        <p:tgtEl>
                                          <p:spTgt spid="15"/>
                                        </p:tgtEl>
                                      </p:cBhvr>
                                    </p:animEffect>
                                  </p:childTnLst>
                                </p:cTn>
                              </p:par>
                              <p:par>
                                <p:cTn id="17" presetID="63" presetClass="path" presetSubtype="0" decel="100000" fill="hold" grpId="1" nodeType="withEffect">
                                  <p:stCondLst>
                                    <p:cond delay="400"/>
                                  </p:stCondLst>
                                  <p:childTnLst>
                                    <p:animMotion origin="layout" path="M 3.22951E-6 -1.77031E-6 L 0.018 -1.77031E-6 " pathEditMode="relative" rAng="0" ptsTypes="AA">
                                      <p:cBhvr>
                                        <p:cTn id="18" dur="500" spd="-100000" fill="hold"/>
                                        <p:tgtEl>
                                          <p:spTgt spid="15"/>
                                        </p:tgtEl>
                                        <p:attrNameLst>
                                          <p:attrName>ppt_x</p:attrName>
                                          <p:attrName>ppt_y</p:attrName>
                                        </p:attrNameLst>
                                      </p:cBhvr>
                                      <p:rCtr x="894" y="0"/>
                                    </p:animMotion>
                                  </p:childTnLst>
                                </p:cTn>
                              </p:par>
                            </p:childTnLst>
                          </p:cTn>
                        </p:par>
                        <p:par>
                          <p:cTn id="19" fill="hold">
                            <p:stCondLst>
                              <p:cond delay="900"/>
                            </p:stCondLst>
                            <p:childTnLst>
                              <p:par>
                                <p:cTn id="20" presetID="10" presetClass="entr" presetSubtype="0" fill="hold" nodeType="after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42" presetClass="path" presetSubtype="0" decel="100000" fill="hold" nodeType="withEffect">
                                  <p:stCondLst>
                                    <p:cond delay="0"/>
                                  </p:stCondLst>
                                  <p:childTnLst>
                                    <p:animMotion origin="layout" path="M -1.83304E-6 1.82025E-6 L -1.83304E-6 0.03064 " pathEditMode="relative" rAng="0" ptsTypes="AA">
                                      <p:cBhvr>
                                        <p:cTn id="24" dur="500" spd="-100000" fill="hold"/>
                                        <p:tgtEl>
                                          <p:spTgt spid="19"/>
                                        </p:tgtEl>
                                        <p:attrNameLst>
                                          <p:attrName>ppt_x</p:attrName>
                                          <p:attrName>ppt_y</p:attrName>
                                        </p:attrNameLst>
                                      </p:cBhvr>
                                      <p:rCtr x="0" y="1521"/>
                                    </p:animMotion>
                                  </p:childTnLst>
                                </p:cTn>
                              </p:par>
                              <p:par>
                                <p:cTn id="25" presetID="10" presetClass="entr" presetSubtype="0" fill="hold" grpId="0" nodeType="withEffect">
                                  <p:stCondLst>
                                    <p:cond delay="0"/>
                                  </p:stCondLst>
                                  <p:childTnLst>
                                    <p:set>
                                      <p:cBhvr>
                                        <p:cTn id="26" dur="1" fill="hold">
                                          <p:stCondLst>
                                            <p:cond delay="0"/>
                                          </p:stCondLst>
                                        </p:cTn>
                                        <p:tgtEl>
                                          <p:spTgt spid="35"/>
                                        </p:tgtEl>
                                        <p:attrNameLst>
                                          <p:attrName>style.visibility</p:attrName>
                                        </p:attrNameLst>
                                      </p:cBhvr>
                                      <p:to>
                                        <p:strVal val="visible"/>
                                      </p:to>
                                    </p:set>
                                    <p:animEffect transition="in" filter="fade">
                                      <p:cBhvr>
                                        <p:cTn id="27"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13" grpId="0" animBg="1"/>
      <p:bldP spid="14" grpId="0"/>
      <p:bldP spid="14" grpId="1"/>
      <p:bldP spid="15" grpId="0"/>
      <p:bldP spid="15" grpId="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85" y="2"/>
            <a:ext cx="12434704" cy="6994521"/>
          </a:xfrm>
          <a:prstGeom prst="rect">
            <a:avLst/>
          </a:prstGeom>
        </p:spPr>
      </p:pic>
      <p:sp>
        <p:nvSpPr>
          <p:cNvPr id="11" name="Rectangle 10"/>
          <p:cNvSpPr/>
          <p:nvPr/>
        </p:nvSpPr>
        <p:spPr bwMode="auto">
          <a:xfrm>
            <a:off x="0" y="0"/>
            <a:ext cx="9637486" cy="6994525"/>
          </a:xfrm>
          <a:prstGeom prst="rect">
            <a:avLst/>
          </a:prstGeom>
          <a:gradFill flip="none" rotWithShape="1">
            <a:gsLst>
              <a:gs pos="0">
                <a:srgbClr val="101F28">
                  <a:alpha val="51000"/>
                </a:srgbClr>
              </a:gs>
              <a:gs pos="88000">
                <a:srgbClr val="101F28">
                  <a:alpha val="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2" name="Rectangle 11"/>
          <p:cNvSpPr/>
          <p:nvPr/>
        </p:nvSpPr>
        <p:spPr bwMode="auto">
          <a:xfrm>
            <a:off x="0" y="0"/>
            <a:ext cx="8297826" cy="6994526"/>
          </a:xfrm>
          <a:prstGeom prst="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3" name="Rectangle 12"/>
          <p:cNvSpPr/>
          <p:nvPr/>
        </p:nvSpPr>
        <p:spPr bwMode="auto">
          <a:xfrm>
            <a:off x="-886" y="-636"/>
            <a:ext cx="12436475" cy="6995159"/>
          </a:xfrm>
          <a:prstGeom prst="rect">
            <a:avLst/>
          </a:prstGeom>
          <a:solidFill>
            <a:schemeClr val="bg2">
              <a:alpha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4" name="TextBox 13"/>
          <p:cNvSpPr txBox="1"/>
          <p:nvPr/>
        </p:nvSpPr>
        <p:spPr>
          <a:xfrm>
            <a:off x="457198" y="4874696"/>
            <a:ext cx="7132639" cy="369332"/>
          </a:xfrm>
          <a:prstGeom prst="rect">
            <a:avLst/>
          </a:prstGeom>
          <a:noFill/>
        </p:spPr>
        <p:txBody>
          <a:bodyPr wrap="square" lIns="182880" tIns="0" rIns="0" bIns="0" rtlCol="0">
            <a:spAutoFit/>
          </a:bodyPr>
          <a:lstStyle/>
          <a:p>
            <a:pPr defTabSz="932559"/>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Serving and adapting for </a:t>
            </a:r>
            <a:r>
              <a:rPr lang="en-US" sz="2400" dirty="0">
                <a:gradFill>
                  <a:gsLst>
                    <a:gs pos="1250">
                      <a:srgbClr val="FFFFFF"/>
                    </a:gs>
                    <a:gs pos="100000">
                      <a:srgbClr val="FFFFFF"/>
                    </a:gs>
                  </a:gsLst>
                  <a:lin ang="5400000" scaled="0"/>
                </a:gradFill>
                <a:cs typeface="Segoe UI" panose="020B0502040204020203" pitchFamily="34" charset="0"/>
              </a:rPr>
              <a:t>billions</a:t>
            </a:r>
            <a:r>
              <a:rPr lang="en-US" sz="2400" dirty="0">
                <a:gradFill>
                  <a:gsLst>
                    <a:gs pos="1250">
                      <a:srgbClr val="FFFFFF"/>
                    </a:gs>
                    <a:gs pos="100000">
                      <a:srgbClr val="FFFFFF"/>
                    </a:gs>
                  </a:gsLst>
                  <a:lin ang="5400000" scaled="0"/>
                </a:gradFill>
                <a:cs typeface="Segoe UI Light" panose="020B0502040204020203" pitchFamily="34" charset="0"/>
              </a:rPr>
              <a:t> </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of users</a:t>
            </a:r>
          </a:p>
        </p:txBody>
      </p:sp>
      <p:sp>
        <p:nvSpPr>
          <p:cNvPr id="15" name="TextBox 14"/>
          <p:cNvSpPr txBox="1"/>
          <p:nvPr/>
        </p:nvSpPr>
        <p:spPr>
          <a:xfrm>
            <a:off x="457198" y="1750496"/>
            <a:ext cx="7132639" cy="369332"/>
          </a:xfrm>
          <a:prstGeom prst="rect">
            <a:avLst/>
          </a:prstGeom>
          <a:noFill/>
        </p:spPr>
        <p:txBody>
          <a:bodyPr wrap="square" lIns="182880" tIns="0" rIns="0" bIns="0" rtlCol="0">
            <a:spAutoFit/>
          </a:bodyPr>
          <a:lstStyle/>
          <a:p>
            <a:pPr defTabSz="932559"/>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Processing</a:t>
            </a:r>
            <a:r>
              <a:rPr lang="en-US" sz="2400" dirty="0">
                <a:gradFill>
                  <a:gsLst>
                    <a:gs pos="1250">
                      <a:srgbClr val="FFFFFF"/>
                    </a:gs>
                    <a:gs pos="100000">
                      <a:srgbClr val="FFFFFF"/>
                    </a:gs>
                  </a:gsLst>
                  <a:lin ang="5400000" scaled="0"/>
                </a:gradFill>
                <a:cs typeface="Segoe UI Light" panose="020B0502040204020203" pitchFamily="34" charset="0"/>
              </a:rPr>
              <a:t> </a:t>
            </a:r>
            <a:r>
              <a:rPr lang="en-US" sz="2400" dirty="0">
                <a:gradFill>
                  <a:gsLst>
                    <a:gs pos="1250">
                      <a:srgbClr val="FFFFFF"/>
                    </a:gs>
                    <a:gs pos="100000">
                      <a:srgbClr val="FFFFFF"/>
                    </a:gs>
                  </a:gsLst>
                  <a:lin ang="5400000" scaled="0"/>
                </a:gradFill>
                <a:cs typeface="Segoe UI" panose="020B0502040204020203" pitchFamily="34" charset="0"/>
              </a:rPr>
              <a:t>hundreds of billions </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of documents</a:t>
            </a:r>
          </a:p>
        </p:txBody>
      </p:sp>
      <p:sp>
        <p:nvSpPr>
          <p:cNvPr id="16" name="TextBox 15"/>
          <p:cNvSpPr txBox="1"/>
          <p:nvPr/>
        </p:nvSpPr>
        <p:spPr>
          <a:xfrm>
            <a:off x="457198" y="2531546"/>
            <a:ext cx="7132639" cy="369332"/>
          </a:xfrm>
          <a:prstGeom prst="rect">
            <a:avLst/>
          </a:prstGeom>
          <a:noFill/>
        </p:spPr>
        <p:txBody>
          <a:bodyPr wrap="square" lIns="182880" tIns="0" rIns="0" bIns="0" rtlCol="0">
            <a:spAutoFit/>
          </a:bodyPr>
          <a:lstStyle/>
          <a:p>
            <a:pPr defTabSz="932559"/>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Understanding</a:t>
            </a:r>
            <a:r>
              <a:rPr lang="en-US" sz="2400" dirty="0">
                <a:gradFill>
                  <a:gsLst>
                    <a:gs pos="1250">
                      <a:srgbClr val="FFFFFF"/>
                    </a:gs>
                    <a:gs pos="100000">
                      <a:srgbClr val="FFFFFF"/>
                    </a:gs>
                  </a:gsLst>
                  <a:lin ang="5400000" scaled="0"/>
                </a:gradFill>
                <a:cs typeface="Segoe UI Light" panose="020B0502040204020203" pitchFamily="34" charset="0"/>
              </a:rPr>
              <a:t> </a:t>
            </a:r>
            <a:r>
              <a:rPr lang="en-US" sz="2400" dirty="0">
                <a:gradFill>
                  <a:gsLst>
                    <a:gs pos="1250">
                      <a:srgbClr val="FFFFFF"/>
                    </a:gs>
                    <a:gs pos="100000">
                      <a:srgbClr val="FFFFFF"/>
                    </a:gs>
                  </a:gsLst>
                  <a:lin ang="5400000" scaled="0"/>
                </a:gradFill>
                <a:cs typeface="Segoe UI" panose="020B0502040204020203" pitchFamily="34" charset="0"/>
              </a:rPr>
              <a:t>billions </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of entities</a:t>
            </a:r>
          </a:p>
        </p:txBody>
      </p:sp>
      <p:sp>
        <p:nvSpPr>
          <p:cNvPr id="22" name="TextBox 21"/>
          <p:cNvSpPr txBox="1"/>
          <p:nvPr/>
        </p:nvSpPr>
        <p:spPr>
          <a:xfrm>
            <a:off x="457198" y="4093646"/>
            <a:ext cx="7132639" cy="369332"/>
          </a:xfrm>
          <a:prstGeom prst="rect">
            <a:avLst/>
          </a:prstGeom>
          <a:noFill/>
        </p:spPr>
        <p:txBody>
          <a:bodyPr wrap="square" lIns="182880" tIns="0" rIns="0" bIns="0" rtlCol="0">
            <a:spAutoFit/>
          </a:bodyPr>
          <a:lstStyle/>
          <a:p>
            <a:pPr defTabSz="932559"/>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Seeing</a:t>
            </a:r>
            <a:r>
              <a:rPr lang="en-US" sz="2400" dirty="0">
                <a:gradFill>
                  <a:gsLst>
                    <a:gs pos="1250">
                      <a:srgbClr val="FFFFFF"/>
                    </a:gs>
                    <a:gs pos="100000">
                      <a:srgbClr val="FFFFFF"/>
                    </a:gs>
                  </a:gsLst>
                  <a:lin ang="5400000" scaled="0"/>
                </a:gradFill>
                <a:cs typeface="Segoe UI Light" panose="020B0502040204020203" pitchFamily="34" charset="0"/>
              </a:rPr>
              <a:t> </a:t>
            </a:r>
            <a:r>
              <a:rPr lang="en-US" sz="2400" dirty="0">
                <a:gradFill>
                  <a:gsLst>
                    <a:gs pos="1250">
                      <a:srgbClr val="FFFFFF"/>
                    </a:gs>
                    <a:gs pos="100000">
                      <a:srgbClr val="FFFFFF"/>
                    </a:gs>
                  </a:gsLst>
                  <a:lin ang="5400000" scaled="0"/>
                </a:gradFill>
                <a:cs typeface="Segoe UI" panose="020B0502040204020203" pitchFamily="34" charset="0"/>
              </a:rPr>
              <a:t>hundreds of billions </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of queries and clicks</a:t>
            </a:r>
          </a:p>
        </p:txBody>
      </p:sp>
      <p:sp>
        <p:nvSpPr>
          <p:cNvPr id="23" name="TextBox 22"/>
          <p:cNvSpPr txBox="1"/>
          <p:nvPr/>
        </p:nvSpPr>
        <p:spPr>
          <a:xfrm>
            <a:off x="457198" y="3312596"/>
            <a:ext cx="7132639" cy="369332"/>
          </a:xfrm>
          <a:prstGeom prst="rect">
            <a:avLst/>
          </a:prstGeom>
          <a:noFill/>
        </p:spPr>
        <p:txBody>
          <a:bodyPr wrap="square" lIns="182880" tIns="0" rIns="0" bIns="0" rtlCol="0">
            <a:spAutoFit/>
          </a:bodyPr>
          <a:lstStyle/>
          <a:p>
            <a:pPr defTabSz="932559"/>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Reasoning </a:t>
            </a:r>
            <a:r>
              <a:rPr lang="en-US" sz="2400" dirty="0">
                <a:gradFill>
                  <a:gsLst>
                    <a:gs pos="1250">
                      <a:srgbClr val="FFFFFF"/>
                    </a:gs>
                    <a:gs pos="100000">
                      <a:srgbClr val="FFFFFF"/>
                    </a:gs>
                  </a:gsLst>
                  <a:lin ang="5400000" scaled="0"/>
                </a:gradFill>
                <a:cs typeface="Segoe UI" panose="020B0502040204020203" pitchFamily="34" charset="0"/>
              </a:rPr>
              <a:t>trillions</a:t>
            </a:r>
            <a:r>
              <a:rPr lang="en-US" sz="2400" dirty="0">
                <a:gradFill>
                  <a:gsLst>
                    <a:gs pos="1250">
                      <a:srgbClr val="FFFFFF"/>
                    </a:gs>
                    <a:gs pos="100000">
                      <a:srgbClr val="FFFFFF"/>
                    </a:gs>
                  </a:gsLst>
                  <a:lin ang="5400000" scaled="0"/>
                </a:gradFill>
                <a:cs typeface="Segoe UI Light" panose="020B0502040204020203" pitchFamily="34" charset="0"/>
              </a:rPr>
              <a:t> </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of entity relationships</a:t>
            </a:r>
          </a:p>
        </p:txBody>
      </p:sp>
      <p:sp>
        <p:nvSpPr>
          <p:cNvPr id="24" name="Title 1"/>
          <p:cNvSpPr txBox="1">
            <a:spLocks/>
          </p:cNvSpPr>
          <p:nvPr/>
        </p:nvSpPr>
        <p:spPr>
          <a:xfrm>
            <a:off x="8316876" y="3764498"/>
            <a:ext cx="3873500" cy="917575"/>
          </a:xfrm>
          <a:prstGeom prst="rect">
            <a:avLst/>
          </a:prstGeom>
        </p:spPr>
        <p:txBody>
          <a:bodyPr vert="horz" wrap="square" lIns="274320"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a:gradFill>
                  <a:gsLst>
                    <a:gs pos="1250">
                      <a:srgbClr val="FFFFFF">
                        <a:alpha val="70000"/>
                      </a:srgbClr>
                    </a:gs>
                    <a:gs pos="100000">
                      <a:srgbClr val="FFFFFF">
                        <a:alpha val="70000"/>
                      </a:srgbClr>
                    </a:gs>
                  </a:gsLst>
                  <a:lin ang="5400000" scaled="0"/>
                </a:gradFill>
                <a:effectLst>
                  <a:outerShdw blurRad="228600" sx="102000" sy="102000" algn="ctr" rotWithShape="0">
                    <a:srgbClr val="283F4C"/>
                  </a:outerShdw>
                </a:effectLst>
                <a:latin typeface="Segoe UI Semilight" panose="020B0402040204020203" pitchFamily="34" charset="0"/>
                <a:cs typeface="Segoe UI Semilight" panose="020B0402040204020203" pitchFamily="34" charset="0"/>
              </a:rPr>
              <a:t>Search is a </a:t>
            </a:r>
            <a:br>
              <a:rPr>
                <a:gradFill>
                  <a:gsLst>
                    <a:gs pos="1250">
                      <a:srgbClr val="FFFFFF"/>
                    </a:gs>
                    <a:gs pos="100000">
                      <a:srgbClr val="FFFFFF"/>
                    </a:gs>
                  </a:gsLst>
                  <a:lin ang="5400000" scaled="0"/>
                </a:gradFill>
                <a:effectLst>
                  <a:outerShdw blurRad="228600" sx="102000" sy="102000" algn="ctr" rotWithShape="0">
                    <a:srgbClr val="283F4C"/>
                  </a:outerShdw>
                </a:effectLst>
                <a:latin typeface="Segoe UI Semilight" panose="020B0402040204020203" pitchFamily="34" charset="0"/>
                <a:cs typeface="Segoe UI Semilight" panose="020B0402040204020203" pitchFamily="34" charset="0"/>
              </a:rPr>
            </a:br>
            <a:r>
              <a:rPr>
                <a:gradFill>
                  <a:gsLst>
                    <a:gs pos="1250">
                      <a:srgbClr val="FFFFFF"/>
                    </a:gs>
                    <a:gs pos="100000">
                      <a:srgbClr val="FFFFFF"/>
                    </a:gs>
                  </a:gsLst>
                  <a:lin ang="5400000" scaled="0"/>
                </a:gradFill>
                <a:effectLst>
                  <a:outerShdw blurRad="228600" sx="102000" sy="102000" algn="ctr" rotWithShape="0">
                    <a:srgbClr val="283F4C"/>
                  </a:outerShdw>
                </a:effectLst>
                <a:latin typeface="Segoe UI Semilight" panose="020B0402040204020203" pitchFamily="34" charset="0"/>
                <a:cs typeface="Segoe UI Semilight" panose="020B0402040204020203" pitchFamily="34" charset="0"/>
              </a:rPr>
              <a:t>big data </a:t>
            </a:r>
            <a:r>
              <a:rPr>
                <a:gradFill>
                  <a:gsLst>
                    <a:gs pos="1250">
                      <a:srgbClr val="FFFFFF">
                        <a:alpha val="70000"/>
                      </a:srgbClr>
                    </a:gs>
                    <a:gs pos="100000">
                      <a:srgbClr val="FFFFFF">
                        <a:alpha val="70000"/>
                      </a:srgbClr>
                    </a:gs>
                  </a:gsLst>
                  <a:lin ang="5400000" scaled="0"/>
                </a:gradFill>
                <a:effectLst>
                  <a:outerShdw blurRad="228600" sx="102000" sy="102000" algn="ctr" rotWithShape="0">
                    <a:srgbClr val="283F4C"/>
                  </a:outerShdw>
                </a:effectLst>
                <a:latin typeface="Segoe UI Semilight" panose="020B0402040204020203" pitchFamily="34" charset="0"/>
                <a:cs typeface="Segoe UI Semilight" panose="020B0402040204020203" pitchFamily="34" charset="0"/>
              </a:rPr>
              <a:t>play</a:t>
            </a:r>
          </a:p>
        </p:txBody>
      </p:sp>
      <p:grpSp>
        <p:nvGrpSpPr>
          <p:cNvPr id="2" name="Group 1"/>
          <p:cNvGrpSpPr/>
          <p:nvPr/>
        </p:nvGrpSpPr>
        <p:grpSpPr>
          <a:xfrm>
            <a:off x="8536046" y="2312451"/>
            <a:ext cx="928172" cy="928172"/>
            <a:chOff x="8536046" y="2312451"/>
            <a:chExt cx="928172" cy="928172"/>
          </a:xfrm>
        </p:grpSpPr>
        <p:sp>
          <p:nvSpPr>
            <p:cNvPr id="25" name="Oval 24"/>
            <p:cNvSpPr/>
            <p:nvPr/>
          </p:nvSpPr>
          <p:spPr bwMode="auto">
            <a:xfrm>
              <a:off x="8536046" y="2312451"/>
              <a:ext cx="928172" cy="928172"/>
            </a:xfrm>
            <a:prstGeom prst="ellipse">
              <a:avLst/>
            </a:prstGeom>
            <a:solidFill>
              <a:schemeClr val="tx1">
                <a:alpha val="20000"/>
              </a:schemeClr>
            </a:solid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6" name="Freeform 5"/>
            <p:cNvSpPr>
              <a:spLocks noEditPoints="1"/>
            </p:cNvSpPr>
            <p:nvPr/>
          </p:nvSpPr>
          <p:spPr bwMode="auto">
            <a:xfrm>
              <a:off x="8758238" y="2535238"/>
              <a:ext cx="484187" cy="482600"/>
            </a:xfrm>
            <a:custGeom>
              <a:avLst/>
              <a:gdLst>
                <a:gd name="T0" fmla="*/ 86 w 126"/>
                <a:gd name="T1" fmla="*/ 0 h 126"/>
                <a:gd name="T2" fmla="*/ 46 w 126"/>
                <a:gd name="T3" fmla="*/ 40 h 126"/>
                <a:gd name="T4" fmla="*/ 55 w 126"/>
                <a:gd name="T5" fmla="*/ 65 h 126"/>
                <a:gd name="T6" fmla="*/ 0 w 126"/>
                <a:gd name="T7" fmla="*/ 121 h 126"/>
                <a:gd name="T8" fmla="*/ 5 w 126"/>
                <a:gd name="T9" fmla="*/ 126 h 126"/>
                <a:gd name="T10" fmla="*/ 61 w 126"/>
                <a:gd name="T11" fmla="*/ 71 h 126"/>
                <a:gd name="T12" fmla="*/ 86 w 126"/>
                <a:gd name="T13" fmla="*/ 80 h 126"/>
                <a:gd name="T14" fmla="*/ 126 w 126"/>
                <a:gd name="T15" fmla="*/ 40 h 126"/>
                <a:gd name="T16" fmla="*/ 86 w 126"/>
                <a:gd name="T17" fmla="*/ 0 h 126"/>
                <a:gd name="T18" fmla="*/ 86 w 126"/>
                <a:gd name="T19" fmla="*/ 72 h 126"/>
                <a:gd name="T20" fmla="*/ 54 w 126"/>
                <a:gd name="T21" fmla="*/ 40 h 126"/>
                <a:gd name="T22" fmla="*/ 86 w 126"/>
                <a:gd name="T23" fmla="*/ 8 h 126"/>
                <a:gd name="T24" fmla="*/ 118 w 126"/>
                <a:gd name="T25" fmla="*/ 40 h 126"/>
                <a:gd name="T26" fmla="*/ 86 w 126"/>
                <a:gd name="T27" fmla="*/ 7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6" h="126">
                  <a:moveTo>
                    <a:pt x="86" y="0"/>
                  </a:moveTo>
                  <a:cubicBezTo>
                    <a:pt x="64" y="0"/>
                    <a:pt x="46" y="18"/>
                    <a:pt x="46" y="40"/>
                  </a:cubicBezTo>
                  <a:cubicBezTo>
                    <a:pt x="46" y="49"/>
                    <a:pt x="50" y="58"/>
                    <a:pt x="55" y="65"/>
                  </a:cubicBezTo>
                  <a:cubicBezTo>
                    <a:pt x="0" y="121"/>
                    <a:pt x="0" y="121"/>
                    <a:pt x="0" y="121"/>
                  </a:cubicBezTo>
                  <a:cubicBezTo>
                    <a:pt x="5" y="126"/>
                    <a:pt x="5" y="126"/>
                    <a:pt x="5" y="126"/>
                  </a:cubicBezTo>
                  <a:cubicBezTo>
                    <a:pt x="61" y="71"/>
                    <a:pt x="61" y="71"/>
                    <a:pt x="61" y="71"/>
                  </a:cubicBezTo>
                  <a:cubicBezTo>
                    <a:pt x="68" y="76"/>
                    <a:pt x="77" y="80"/>
                    <a:pt x="86" y="80"/>
                  </a:cubicBezTo>
                  <a:cubicBezTo>
                    <a:pt x="108" y="80"/>
                    <a:pt x="126" y="62"/>
                    <a:pt x="126" y="40"/>
                  </a:cubicBezTo>
                  <a:cubicBezTo>
                    <a:pt x="126" y="18"/>
                    <a:pt x="108" y="0"/>
                    <a:pt x="86" y="0"/>
                  </a:cubicBezTo>
                  <a:moveTo>
                    <a:pt x="86" y="72"/>
                  </a:moveTo>
                  <a:cubicBezTo>
                    <a:pt x="69" y="72"/>
                    <a:pt x="54" y="57"/>
                    <a:pt x="54" y="40"/>
                  </a:cubicBezTo>
                  <a:cubicBezTo>
                    <a:pt x="54" y="22"/>
                    <a:pt x="69" y="8"/>
                    <a:pt x="86" y="8"/>
                  </a:cubicBezTo>
                  <a:cubicBezTo>
                    <a:pt x="104" y="8"/>
                    <a:pt x="118" y="22"/>
                    <a:pt x="118" y="40"/>
                  </a:cubicBezTo>
                  <a:cubicBezTo>
                    <a:pt x="118" y="57"/>
                    <a:pt x="104" y="72"/>
                    <a:pt x="86" y="72"/>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23246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0-#ppt_w/2"/>
                                          </p:val>
                                        </p:tav>
                                        <p:tav tm="100000">
                                          <p:val>
                                            <p:strVal val="#ppt_x"/>
                                          </p:val>
                                        </p:tav>
                                      </p:tavLst>
                                    </p:anim>
                                    <p:anim calcmode="lin" valueType="num">
                                      <p:cBhvr additive="base">
                                        <p:cTn id="8" dur="500" fill="hold"/>
                                        <p:tgtEl>
                                          <p:spTgt spid="1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800"/>
                                        <p:tgtEl>
                                          <p:spTgt spid="13"/>
                                        </p:tgtEl>
                                      </p:cBhvr>
                                    </p:animEffect>
                                  </p:childTnLst>
                                </p:cTn>
                              </p:par>
                              <p:par>
                                <p:cTn id="12" presetID="1" presetClass="entr" presetSubtype="0" fill="hold" nodeType="withEffect">
                                  <p:stCondLst>
                                    <p:cond delay="0"/>
                                  </p:stCondLst>
                                  <p:childTnLst>
                                    <p:set>
                                      <p:cBhvr>
                                        <p:cTn id="13" dur="1" fill="hold">
                                          <p:stCondLst>
                                            <p:cond delay="499"/>
                                          </p:stCondLst>
                                        </p:cTn>
                                        <p:tgtEl>
                                          <p:spTgt spid="2"/>
                                        </p:tgtEl>
                                        <p:attrNameLst>
                                          <p:attrName>style.visibility</p:attrName>
                                        </p:attrNameLst>
                                      </p:cBhvr>
                                      <p:to>
                                        <p:strVal val="visible"/>
                                      </p:to>
                                    </p:set>
                                  </p:childTnLst>
                                </p:cTn>
                              </p:par>
                              <p:par>
                                <p:cTn id="14" presetID="6" presetClass="emph" presetSubtype="0" accel="100000" autoRev="1" fill="hold" nodeType="withEffect">
                                  <p:stCondLst>
                                    <p:cond delay="0"/>
                                  </p:stCondLst>
                                  <p:childTnLst>
                                    <p:animScale>
                                      <p:cBhvr>
                                        <p:cTn id="15" dur="500" fill="hold"/>
                                        <p:tgtEl>
                                          <p:spTgt spid="2"/>
                                        </p:tgtEl>
                                      </p:cBhvr>
                                      <p:by x="0" y="0"/>
                                    </p:animScale>
                                  </p:childTnLst>
                                </p:cTn>
                              </p:par>
                              <p:par>
                                <p:cTn id="16" presetID="10" presetClass="entr" presetSubtype="0" fill="hold" grpId="0" nodeType="withEffect">
                                  <p:stCondLst>
                                    <p:cond delay="500"/>
                                  </p:stCondLst>
                                  <p:childTnLst>
                                    <p:set>
                                      <p:cBhvr>
                                        <p:cTn id="17" dur="1" fill="hold">
                                          <p:stCondLst>
                                            <p:cond delay="0"/>
                                          </p:stCondLst>
                                        </p:cTn>
                                        <p:tgtEl>
                                          <p:spTgt spid="24"/>
                                        </p:tgtEl>
                                        <p:attrNameLst>
                                          <p:attrName>style.visibility</p:attrName>
                                        </p:attrNameLst>
                                      </p:cBhvr>
                                      <p:to>
                                        <p:strVal val="visible"/>
                                      </p:to>
                                    </p:set>
                                    <p:animEffect transition="in" filter="fade">
                                      <p:cBhvr>
                                        <p:cTn id="18" dur="500"/>
                                        <p:tgtEl>
                                          <p:spTgt spid="24"/>
                                        </p:tgtEl>
                                      </p:cBhvr>
                                    </p:animEffect>
                                  </p:childTnLst>
                                </p:cTn>
                              </p:par>
                              <p:par>
                                <p:cTn id="19" presetID="63" presetClass="path" presetSubtype="0" decel="100000" fill="hold" grpId="1" nodeType="withEffect">
                                  <p:stCondLst>
                                    <p:cond delay="500"/>
                                  </p:stCondLst>
                                  <p:childTnLst>
                                    <p:animMotion origin="layout" path="M 3.22951E-6 -1.77031E-6 L 0.018 -1.77031E-6 " pathEditMode="relative" rAng="0" ptsTypes="AA">
                                      <p:cBhvr>
                                        <p:cTn id="20" dur="500" spd="-100000" fill="hold"/>
                                        <p:tgtEl>
                                          <p:spTgt spid="24"/>
                                        </p:tgtEl>
                                        <p:attrNameLst>
                                          <p:attrName>ppt_x</p:attrName>
                                          <p:attrName>ppt_y</p:attrName>
                                        </p:attrNameLst>
                                      </p:cBhvr>
                                      <p:rCtr x="894" y="0"/>
                                    </p:animMotion>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par>
                                <p:cTn id="25" presetID="42" presetClass="path" presetSubtype="0" decel="100000" fill="hold" grpId="1" nodeType="withEffect">
                                  <p:stCondLst>
                                    <p:cond delay="0"/>
                                  </p:stCondLst>
                                  <p:childTnLst>
                                    <p:animMotion origin="layout" path="M -1.83304E-6 1.82025E-6 L -1.83304E-6 0.03064 " pathEditMode="relative" rAng="0" ptsTypes="AA">
                                      <p:cBhvr>
                                        <p:cTn id="26" dur="500" spd="-100000" fill="hold"/>
                                        <p:tgtEl>
                                          <p:spTgt spid="15"/>
                                        </p:tgtEl>
                                        <p:attrNameLst>
                                          <p:attrName>ppt_x</p:attrName>
                                          <p:attrName>ppt_y</p:attrName>
                                        </p:attrNameLst>
                                      </p:cBhvr>
                                      <p:rCtr x="0" y="1521"/>
                                    </p:animMotion>
                                  </p:childTnLst>
                                </p:cTn>
                              </p:par>
                              <p:par>
                                <p:cTn id="27" presetID="10" presetClass="entr" presetSubtype="0" fill="hold" grpId="0" nodeType="withEffect">
                                  <p:stCondLst>
                                    <p:cond delay="1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500"/>
                                        <p:tgtEl>
                                          <p:spTgt spid="16"/>
                                        </p:tgtEl>
                                      </p:cBhvr>
                                    </p:animEffect>
                                  </p:childTnLst>
                                </p:cTn>
                              </p:par>
                              <p:par>
                                <p:cTn id="30" presetID="42" presetClass="path" presetSubtype="0" decel="100000" fill="hold" grpId="1" nodeType="withEffect">
                                  <p:stCondLst>
                                    <p:cond delay="100"/>
                                  </p:stCondLst>
                                  <p:childTnLst>
                                    <p:animMotion origin="layout" path="M -1.83304E-6 1.82025E-6 L -1.83304E-6 0.03064 " pathEditMode="relative" rAng="0" ptsTypes="AA">
                                      <p:cBhvr>
                                        <p:cTn id="31" dur="500" spd="-100000" fill="hold"/>
                                        <p:tgtEl>
                                          <p:spTgt spid="16"/>
                                        </p:tgtEl>
                                        <p:attrNameLst>
                                          <p:attrName>ppt_x</p:attrName>
                                          <p:attrName>ppt_y</p:attrName>
                                        </p:attrNameLst>
                                      </p:cBhvr>
                                      <p:rCtr x="0" y="1521"/>
                                    </p:animMotion>
                                  </p:childTnLst>
                                </p:cTn>
                              </p:par>
                              <p:par>
                                <p:cTn id="32" presetID="10" presetClass="entr" presetSubtype="0" fill="hold" grpId="0" nodeType="withEffect">
                                  <p:stCondLst>
                                    <p:cond delay="20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500"/>
                                        <p:tgtEl>
                                          <p:spTgt spid="23"/>
                                        </p:tgtEl>
                                      </p:cBhvr>
                                    </p:animEffect>
                                  </p:childTnLst>
                                </p:cTn>
                              </p:par>
                              <p:par>
                                <p:cTn id="35" presetID="42" presetClass="path" presetSubtype="0" decel="100000" fill="hold" grpId="1" nodeType="withEffect">
                                  <p:stCondLst>
                                    <p:cond delay="200"/>
                                  </p:stCondLst>
                                  <p:childTnLst>
                                    <p:animMotion origin="layout" path="M -1.83304E-6 1.82025E-6 L -1.83304E-6 0.03064 " pathEditMode="relative" rAng="0" ptsTypes="AA">
                                      <p:cBhvr>
                                        <p:cTn id="36" dur="500" spd="-100000" fill="hold"/>
                                        <p:tgtEl>
                                          <p:spTgt spid="23"/>
                                        </p:tgtEl>
                                        <p:attrNameLst>
                                          <p:attrName>ppt_x</p:attrName>
                                          <p:attrName>ppt_y</p:attrName>
                                        </p:attrNameLst>
                                      </p:cBhvr>
                                      <p:rCtr x="0" y="1521"/>
                                    </p:animMotion>
                                  </p:childTnLst>
                                </p:cTn>
                              </p:par>
                              <p:par>
                                <p:cTn id="37" presetID="10" presetClass="entr" presetSubtype="0" fill="hold" grpId="0" nodeType="withEffect">
                                  <p:stCondLst>
                                    <p:cond delay="300"/>
                                  </p:stCondLst>
                                  <p:childTnLst>
                                    <p:set>
                                      <p:cBhvr>
                                        <p:cTn id="38" dur="1" fill="hold">
                                          <p:stCondLst>
                                            <p:cond delay="0"/>
                                          </p:stCondLst>
                                        </p:cTn>
                                        <p:tgtEl>
                                          <p:spTgt spid="22"/>
                                        </p:tgtEl>
                                        <p:attrNameLst>
                                          <p:attrName>style.visibility</p:attrName>
                                        </p:attrNameLst>
                                      </p:cBhvr>
                                      <p:to>
                                        <p:strVal val="visible"/>
                                      </p:to>
                                    </p:set>
                                    <p:animEffect transition="in" filter="fade">
                                      <p:cBhvr>
                                        <p:cTn id="39" dur="500"/>
                                        <p:tgtEl>
                                          <p:spTgt spid="22"/>
                                        </p:tgtEl>
                                      </p:cBhvr>
                                    </p:animEffect>
                                  </p:childTnLst>
                                </p:cTn>
                              </p:par>
                              <p:par>
                                <p:cTn id="40" presetID="42" presetClass="path" presetSubtype="0" decel="100000" fill="hold" grpId="1" nodeType="withEffect">
                                  <p:stCondLst>
                                    <p:cond delay="300"/>
                                  </p:stCondLst>
                                  <p:childTnLst>
                                    <p:animMotion origin="layout" path="M -1.83304E-6 1.82025E-6 L -1.83304E-6 0.03064 " pathEditMode="relative" rAng="0" ptsTypes="AA">
                                      <p:cBhvr>
                                        <p:cTn id="41" dur="500" spd="-100000" fill="hold"/>
                                        <p:tgtEl>
                                          <p:spTgt spid="22"/>
                                        </p:tgtEl>
                                        <p:attrNameLst>
                                          <p:attrName>ppt_x</p:attrName>
                                          <p:attrName>ppt_y</p:attrName>
                                        </p:attrNameLst>
                                      </p:cBhvr>
                                      <p:rCtr x="0" y="1521"/>
                                    </p:animMotion>
                                  </p:childTnLst>
                                </p:cTn>
                              </p:par>
                              <p:par>
                                <p:cTn id="42" presetID="10" presetClass="entr" presetSubtype="0" fill="hold" grpId="0" nodeType="withEffect">
                                  <p:stCondLst>
                                    <p:cond delay="400"/>
                                  </p:stCondLst>
                                  <p:childTnLst>
                                    <p:set>
                                      <p:cBhvr>
                                        <p:cTn id="43" dur="1" fill="hold">
                                          <p:stCondLst>
                                            <p:cond delay="0"/>
                                          </p:stCondLst>
                                        </p:cTn>
                                        <p:tgtEl>
                                          <p:spTgt spid="14"/>
                                        </p:tgtEl>
                                        <p:attrNameLst>
                                          <p:attrName>style.visibility</p:attrName>
                                        </p:attrNameLst>
                                      </p:cBhvr>
                                      <p:to>
                                        <p:strVal val="visible"/>
                                      </p:to>
                                    </p:set>
                                    <p:animEffect transition="in" filter="fade">
                                      <p:cBhvr>
                                        <p:cTn id="44" dur="500"/>
                                        <p:tgtEl>
                                          <p:spTgt spid="14"/>
                                        </p:tgtEl>
                                      </p:cBhvr>
                                    </p:animEffect>
                                  </p:childTnLst>
                                </p:cTn>
                              </p:par>
                              <p:par>
                                <p:cTn id="45" presetID="42" presetClass="path" presetSubtype="0" decel="100000" fill="hold" grpId="1" nodeType="withEffect">
                                  <p:stCondLst>
                                    <p:cond delay="400"/>
                                  </p:stCondLst>
                                  <p:childTnLst>
                                    <p:animMotion origin="layout" path="M -1.83304E-6 1.82025E-6 L -1.83304E-6 0.03064 " pathEditMode="relative" rAng="0" ptsTypes="AA">
                                      <p:cBhvr>
                                        <p:cTn id="46" dur="500" spd="-100000" fill="hold"/>
                                        <p:tgtEl>
                                          <p:spTgt spid="14"/>
                                        </p:tgtEl>
                                        <p:attrNameLst>
                                          <p:attrName>ppt_x</p:attrName>
                                          <p:attrName>ppt_y</p:attrName>
                                        </p:attrNameLst>
                                      </p:cBhvr>
                                      <p:rCtr x="0" y="152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p:bldP spid="14" grpId="1"/>
      <p:bldP spid="15" grpId="0"/>
      <p:bldP spid="15" grpId="1"/>
      <p:bldP spid="16" grpId="0"/>
      <p:bldP spid="16" grpId="1"/>
      <p:bldP spid="22" grpId="0"/>
      <p:bldP spid="22" grpId="1"/>
      <p:bldP spid="23" grpId="0"/>
      <p:bldP spid="23" grpId="1"/>
      <p:bldP spid="24" grpId="0"/>
      <p:bldP spid="24" grpId="1"/>
    </p:bldLst>
  </p:timing>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500" dirty="0"/>
              <a:t>Microsoft had a sliding US search share 2005-2009</a:t>
            </a:r>
          </a:p>
        </p:txBody>
      </p:sp>
      <p:sp>
        <p:nvSpPr>
          <p:cNvPr id="46" name="Rectangle 45"/>
          <p:cNvSpPr/>
          <p:nvPr/>
        </p:nvSpPr>
        <p:spPr bwMode="auto">
          <a:xfrm rot="5400000">
            <a:off x="3211433" y="-2389708"/>
            <a:ext cx="5841706" cy="12206513"/>
          </a:xfrm>
          <a:prstGeom prst="rect">
            <a:avLst/>
          </a:prstGeom>
          <a:noFill/>
          <a:ln>
            <a:noFill/>
            <a:headEnd type="none" w="med" len="med"/>
            <a:tailEnd type="none" w="med" len="med"/>
          </a:ln>
          <a:effectLst>
            <a:outerShdw blurRad="44450" dist="13970" dir="5400000" algn="ctr" rotWithShape="0">
              <a:srgbClr val="000000">
                <a:alpha val="45000"/>
              </a:srgbClr>
            </a:outerShdw>
          </a:effectLst>
          <a:scene3d>
            <a:camera prst="orthographicFront" fov="0">
              <a:rot lat="0" lon="0" rev="0"/>
            </a:camera>
            <a:lightRig rig="soft" dir="tl">
              <a:rot lat="0" lon="0" rev="20000000"/>
            </a:lightRig>
          </a:scene3d>
          <a:sp3d prstMaterial="matte"/>
        </p:spPr>
        <p:txBody>
          <a:bodyPr vert="horz" wrap="square" lIns="124233" tIns="62116" rIns="124233" bIns="62116" numCol="1" rtlCol="0" anchor="ctr" anchorCtr="0" compatLnSpc="1">
            <a:prstTxWarp prst="textNoShape">
              <a:avLst/>
            </a:prstTxWarp>
          </a:bodyPr>
          <a:lstStyle/>
          <a:p>
            <a:pPr marL="0" lvl="1" indent="-317089" algn="ctr" defTabSz="1242019" fontAlgn="base">
              <a:lnSpc>
                <a:spcPct val="120000"/>
              </a:lnSpc>
              <a:spcBef>
                <a:spcPct val="0"/>
              </a:spcBef>
              <a:spcAft>
                <a:spcPct val="0"/>
              </a:spcAft>
              <a:buClr>
                <a:srgbClr val="FFFFFF"/>
              </a:buClr>
              <a:buSzPct val="120000"/>
              <a:defRPr/>
            </a:pPr>
            <a:endParaRPr lang="en-US" altLang="zh-CN" sz="3200" b="1" kern="0" dirty="0">
              <a:gradFill>
                <a:gsLst>
                  <a:gs pos="66372">
                    <a:srgbClr val="FFFFFF"/>
                  </a:gs>
                  <a:gs pos="83000">
                    <a:srgbClr val="FFFFFF"/>
                  </a:gs>
                </a:gsLst>
                <a:lin ang="5400000" scaled="1"/>
              </a:gradFill>
            </a:endParaRPr>
          </a:p>
        </p:txBody>
      </p:sp>
      <p:grpSp>
        <p:nvGrpSpPr>
          <p:cNvPr id="47" name="Group 46"/>
          <p:cNvGrpSpPr/>
          <p:nvPr/>
        </p:nvGrpSpPr>
        <p:grpSpPr>
          <a:xfrm>
            <a:off x="972497" y="6141016"/>
            <a:ext cx="11006778" cy="494785"/>
            <a:chOff x="656359" y="6141016"/>
            <a:chExt cx="10544496" cy="494785"/>
          </a:xfrm>
        </p:grpSpPr>
        <p:sp>
          <p:nvSpPr>
            <p:cNvPr id="49" name="Rectangle 48"/>
            <p:cNvSpPr/>
            <p:nvPr/>
          </p:nvSpPr>
          <p:spPr>
            <a:xfrm>
              <a:off x="5965243" y="6141016"/>
              <a:ext cx="584329"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Oct </a:t>
              </a:r>
            </a:p>
            <a:p>
              <a:pPr algn="ctr" defTabSz="1242428">
                <a:defRPr/>
              </a:pPr>
              <a:r>
                <a:rPr lang="en-US" sz="1200" kern="0" dirty="0">
                  <a:gradFill>
                    <a:gsLst>
                      <a:gs pos="66372">
                        <a:srgbClr val="FFFFFF"/>
                      </a:gs>
                      <a:gs pos="83000">
                        <a:srgbClr val="FFFFFF"/>
                      </a:gs>
                    </a:gsLst>
                    <a:lin ang="5400000" scaled="1"/>
                  </a:gradFill>
                </a:rPr>
                <a:t>2007</a:t>
              </a:r>
            </a:p>
          </p:txBody>
        </p:sp>
        <p:sp>
          <p:nvSpPr>
            <p:cNvPr id="50" name="Rectangle 49"/>
            <p:cNvSpPr/>
            <p:nvPr/>
          </p:nvSpPr>
          <p:spPr>
            <a:xfrm>
              <a:off x="6622842" y="6141016"/>
              <a:ext cx="584329"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Jan </a:t>
              </a:r>
            </a:p>
            <a:p>
              <a:pPr algn="ctr" defTabSz="1242428">
                <a:defRPr/>
              </a:pPr>
              <a:r>
                <a:rPr lang="en-US" sz="1200" kern="0" dirty="0">
                  <a:gradFill>
                    <a:gsLst>
                      <a:gs pos="66372">
                        <a:srgbClr val="FFFFFF"/>
                      </a:gs>
                      <a:gs pos="83000">
                        <a:srgbClr val="FFFFFF"/>
                      </a:gs>
                    </a:gsLst>
                    <a:lin ang="5400000" scaled="1"/>
                  </a:gradFill>
                </a:rPr>
                <a:t>2008</a:t>
              </a:r>
            </a:p>
          </p:txBody>
        </p:sp>
        <p:sp>
          <p:nvSpPr>
            <p:cNvPr id="90" name="Rectangle 89"/>
            <p:cNvSpPr/>
            <p:nvPr/>
          </p:nvSpPr>
          <p:spPr>
            <a:xfrm>
              <a:off x="7962086" y="6141016"/>
              <a:ext cx="584329"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July </a:t>
              </a:r>
            </a:p>
            <a:p>
              <a:pPr algn="ctr" defTabSz="1242428">
                <a:defRPr/>
              </a:pPr>
              <a:r>
                <a:rPr lang="en-US" sz="1200" kern="0" dirty="0">
                  <a:gradFill>
                    <a:gsLst>
                      <a:gs pos="66372">
                        <a:srgbClr val="FFFFFF"/>
                      </a:gs>
                      <a:gs pos="83000">
                        <a:srgbClr val="FFFFFF"/>
                      </a:gs>
                    </a:gsLst>
                    <a:lin ang="5400000" scaled="1"/>
                  </a:gradFill>
                </a:rPr>
                <a:t>2008</a:t>
              </a:r>
            </a:p>
          </p:txBody>
        </p:sp>
        <p:sp>
          <p:nvSpPr>
            <p:cNvPr id="94" name="Rectangle 93"/>
            <p:cNvSpPr/>
            <p:nvPr/>
          </p:nvSpPr>
          <p:spPr>
            <a:xfrm>
              <a:off x="7280441" y="6141016"/>
              <a:ext cx="608375"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April </a:t>
              </a:r>
            </a:p>
            <a:p>
              <a:pPr algn="ctr" defTabSz="1242428">
                <a:defRPr/>
              </a:pPr>
              <a:r>
                <a:rPr lang="en-US" sz="1200" kern="0" dirty="0">
                  <a:gradFill>
                    <a:gsLst>
                      <a:gs pos="66372">
                        <a:srgbClr val="FFFFFF"/>
                      </a:gs>
                      <a:gs pos="83000">
                        <a:srgbClr val="FFFFFF"/>
                      </a:gs>
                    </a:gsLst>
                    <a:lin ang="5400000" scaled="1"/>
                  </a:gradFill>
                </a:rPr>
                <a:t>2008</a:t>
              </a:r>
            </a:p>
          </p:txBody>
        </p:sp>
        <p:sp>
          <p:nvSpPr>
            <p:cNvPr id="95" name="Rectangle 94"/>
            <p:cNvSpPr/>
            <p:nvPr/>
          </p:nvSpPr>
          <p:spPr>
            <a:xfrm>
              <a:off x="8619685" y="6141016"/>
              <a:ext cx="584329"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Oct </a:t>
              </a:r>
            </a:p>
            <a:p>
              <a:pPr algn="ctr" defTabSz="1242428">
                <a:defRPr/>
              </a:pPr>
              <a:r>
                <a:rPr lang="en-US" sz="1200" kern="0" dirty="0">
                  <a:gradFill>
                    <a:gsLst>
                      <a:gs pos="66372">
                        <a:srgbClr val="FFFFFF"/>
                      </a:gs>
                      <a:gs pos="83000">
                        <a:srgbClr val="FFFFFF"/>
                      </a:gs>
                    </a:gsLst>
                    <a:lin ang="5400000" scaled="1"/>
                  </a:gradFill>
                </a:rPr>
                <a:t>2008</a:t>
              </a:r>
            </a:p>
          </p:txBody>
        </p:sp>
        <p:sp>
          <p:nvSpPr>
            <p:cNvPr id="96" name="Rectangle 95"/>
            <p:cNvSpPr/>
            <p:nvPr/>
          </p:nvSpPr>
          <p:spPr>
            <a:xfrm>
              <a:off x="9277284" y="6141016"/>
              <a:ext cx="584329"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Jan </a:t>
              </a:r>
            </a:p>
            <a:p>
              <a:pPr algn="ctr" defTabSz="1242428">
                <a:defRPr/>
              </a:pPr>
              <a:r>
                <a:rPr lang="en-US" sz="1200" kern="0" dirty="0">
                  <a:gradFill>
                    <a:gsLst>
                      <a:gs pos="66372">
                        <a:srgbClr val="FFFFFF"/>
                      </a:gs>
                      <a:gs pos="83000">
                        <a:srgbClr val="FFFFFF"/>
                      </a:gs>
                    </a:gsLst>
                    <a:lin ang="5400000" scaled="1"/>
                  </a:gradFill>
                </a:rPr>
                <a:t>2009</a:t>
              </a:r>
            </a:p>
          </p:txBody>
        </p:sp>
        <p:sp>
          <p:nvSpPr>
            <p:cNvPr id="97" name="Rectangle 96"/>
            <p:cNvSpPr/>
            <p:nvPr/>
          </p:nvSpPr>
          <p:spPr>
            <a:xfrm>
              <a:off x="10616526" y="6141016"/>
              <a:ext cx="584329"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July </a:t>
              </a:r>
            </a:p>
            <a:p>
              <a:pPr algn="ctr" defTabSz="1242428">
                <a:defRPr/>
              </a:pPr>
              <a:r>
                <a:rPr lang="en-US" sz="1200" kern="0" dirty="0">
                  <a:gradFill>
                    <a:gsLst>
                      <a:gs pos="66372">
                        <a:srgbClr val="FFFFFF"/>
                      </a:gs>
                      <a:gs pos="83000">
                        <a:srgbClr val="FFFFFF"/>
                      </a:gs>
                    </a:gsLst>
                    <a:lin ang="5400000" scaled="1"/>
                  </a:gradFill>
                </a:rPr>
                <a:t>2009</a:t>
              </a:r>
            </a:p>
          </p:txBody>
        </p:sp>
        <p:sp>
          <p:nvSpPr>
            <p:cNvPr id="98" name="Rectangle 97"/>
            <p:cNvSpPr/>
            <p:nvPr/>
          </p:nvSpPr>
          <p:spPr>
            <a:xfrm>
              <a:off x="9934883" y="6141016"/>
              <a:ext cx="608375"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April </a:t>
              </a:r>
            </a:p>
            <a:p>
              <a:pPr algn="ctr" defTabSz="1242428">
                <a:defRPr/>
              </a:pPr>
              <a:r>
                <a:rPr lang="en-US" sz="1200" kern="0" dirty="0">
                  <a:gradFill>
                    <a:gsLst>
                      <a:gs pos="66372">
                        <a:srgbClr val="FFFFFF"/>
                      </a:gs>
                      <a:gs pos="83000">
                        <a:srgbClr val="FFFFFF"/>
                      </a:gs>
                    </a:gsLst>
                    <a:lin ang="5400000" scaled="1"/>
                  </a:gradFill>
                </a:rPr>
                <a:t>2009</a:t>
              </a:r>
            </a:p>
          </p:txBody>
        </p:sp>
        <p:sp>
          <p:nvSpPr>
            <p:cNvPr id="99" name="Rectangle 98"/>
            <p:cNvSpPr/>
            <p:nvPr/>
          </p:nvSpPr>
          <p:spPr>
            <a:xfrm>
              <a:off x="3310801" y="6141016"/>
              <a:ext cx="584329"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Oct </a:t>
              </a:r>
            </a:p>
            <a:p>
              <a:pPr algn="ctr" defTabSz="1242428">
                <a:defRPr/>
              </a:pPr>
              <a:r>
                <a:rPr lang="en-US" sz="1200" kern="0" dirty="0">
                  <a:gradFill>
                    <a:gsLst>
                      <a:gs pos="66372">
                        <a:srgbClr val="FFFFFF"/>
                      </a:gs>
                      <a:gs pos="83000">
                        <a:srgbClr val="FFFFFF"/>
                      </a:gs>
                    </a:gsLst>
                    <a:lin ang="5400000" scaled="1"/>
                  </a:gradFill>
                </a:rPr>
                <a:t>2006</a:t>
              </a:r>
            </a:p>
          </p:txBody>
        </p:sp>
        <p:sp>
          <p:nvSpPr>
            <p:cNvPr id="100" name="Rectangle 99"/>
            <p:cNvSpPr/>
            <p:nvPr/>
          </p:nvSpPr>
          <p:spPr>
            <a:xfrm>
              <a:off x="3968400" y="6141016"/>
              <a:ext cx="584329"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Jan </a:t>
              </a:r>
            </a:p>
            <a:p>
              <a:pPr algn="ctr" defTabSz="1242428">
                <a:defRPr/>
              </a:pPr>
              <a:r>
                <a:rPr lang="en-US" sz="1200" kern="0" dirty="0">
                  <a:gradFill>
                    <a:gsLst>
                      <a:gs pos="66372">
                        <a:srgbClr val="FFFFFF"/>
                      </a:gs>
                      <a:gs pos="83000">
                        <a:srgbClr val="FFFFFF"/>
                      </a:gs>
                    </a:gsLst>
                    <a:lin ang="5400000" scaled="1"/>
                  </a:gradFill>
                </a:rPr>
                <a:t>2007</a:t>
              </a:r>
            </a:p>
          </p:txBody>
        </p:sp>
        <p:sp>
          <p:nvSpPr>
            <p:cNvPr id="101" name="Rectangle 100"/>
            <p:cNvSpPr/>
            <p:nvPr/>
          </p:nvSpPr>
          <p:spPr>
            <a:xfrm>
              <a:off x="5307644" y="6141016"/>
              <a:ext cx="584329"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July </a:t>
              </a:r>
            </a:p>
            <a:p>
              <a:pPr algn="ctr" defTabSz="1242428">
                <a:defRPr/>
              </a:pPr>
              <a:r>
                <a:rPr lang="en-US" sz="1200" kern="0" dirty="0">
                  <a:gradFill>
                    <a:gsLst>
                      <a:gs pos="66372">
                        <a:srgbClr val="FFFFFF"/>
                      </a:gs>
                      <a:gs pos="83000">
                        <a:srgbClr val="FFFFFF"/>
                      </a:gs>
                    </a:gsLst>
                    <a:lin ang="5400000" scaled="1"/>
                  </a:gradFill>
                </a:rPr>
                <a:t>2007</a:t>
              </a:r>
            </a:p>
          </p:txBody>
        </p:sp>
        <p:sp>
          <p:nvSpPr>
            <p:cNvPr id="102" name="Rectangle 101"/>
            <p:cNvSpPr/>
            <p:nvPr/>
          </p:nvSpPr>
          <p:spPr>
            <a:xfrm>
              <a:off x="4625999" y="6141016"/>
              <a:ext cx="608375"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April </a:t>
              </a:r>
            </a:p>
            <a:p>
              <a:pPr algn="ctr" defTabSz="1242428">
                <a:defRPr/>
              </a:pPr>
              <a:r>
                <a:rPr lang="en-US" sz="1200" kern="0" dirty="0">
                  <a:gradFill>
                    <a:gsLst>
                      <a:gs pos="66372">
                        <a:srgbClr val="FFFFFF"/>
                      </a:gs>
                      <a:gs pos="83000">
                        <a:srgbClr val="FFFFFF"/>
                      </a:gs>
                    </a:gsLst>
                    <a:lin ang="5400000" scaled="1"/>
                  </a:gradFill>
                </a:rPr>
                <a:t>2007</a:t>
              </a:r>
            </a:p>
          </p:txBody>
        </p:sp>
        <p:sp>
          <p:nvSpPr>
            <p:cNvPr id="103" name="Rectangle 102"/>
            <p:cNvSpPr/>
            <p:nvPr/>
          </p:nvSpPr>
          <p:spPr>
            <a:xfrm>
              <a:off x="656359" y="6141016"/>
              <a:ext cx="584329"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ea typeface="Segoe UI" pitchFamily="34" charset="0"/>
                  <a:cs typeface="Segoe UI" pitchFamily="34" charset="0"/>
                </a:rPr>
                <a:t>Oct </a:t>
              </a:r>
            </a:p>
            <a:p>
              <a:pPr algn="ctr" defTabSz="1242428">
                <a:defRPr/>
              </a:pPr>
              <a:r>
                <a:rPr lang="en-US" sz="1200" kern="0" dirty="0">
                  <a:gradFill>
                    <a:gsLst>
                      <a:gs pos="66372">
                        <a:srgbClr val="FFFFFF"/>
                      </a:gs>
                      <a:gs pos="83000">
                        <a:srgbClr val="FFFFFF"/>
                      </a:gs>
                    </a:gsLst>
                    <a:lin ang="5400000" scaled="1"/>
                  </a:gradFill>
                  <a:ea typeface="Segoe UI" pitchFamily="34" charset="0"/>
                  <a:cs typeface="Segoe UI" pitchFamily="34" charset="0"/>
                </a:rPr>
                <a:t>2005</a:t>
              </a:r>
            </a:p>
          </p:txBody>
        </p:sp>
        <p:sp>
          <p:nvSpPr>
            <p:cNvPr id="104" name="Rectangle 103"/>
            <p:cNvSpPr/>
            <p:nvPr/>
          </p:nvSpPr>
          <p:spPr>
            <a:xfrm>
              <a:off x="1313958" y="6141016"/>
              <a:ext cx="584329"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Jan </a:t>
              </a:r>
            </a:p>
            <a:p>
              <a:pPr algn="ctr" defTabSz="1242428">
                <a:defRPr/>
              </a:pPr>
              <a:r>
                <a:rPr lang="en-US" sz="1200" kern="0" dirty="0">
                  <a:gradFill>
                    <a:gsLst>
                      <a:gs pos="66372">
                        <a:srgbClr val="FFFFFF"/>
                      </a:gs>
                      <a:gs pos="83000">
                        <a:srgbClr val="FFFFFF"/>
                      </a:gs>
                    </a:gsLst>
                    <a:lin ang="5400000" scaled="1"/>
                  </a:gradFill>
                </a:rPr>
                <a:t>2006</a:t>
              </a:r>
            </a:p>
          </p:txBody>
        </p:sp>
        <p:sp>
          <p:nvSpPr>
            <p:cNvPr id="105" name="Rectangle 104"/>
            <p:cNvSpPr/>
            <p:nvPr/>
          </p:nvSpPr>
          <p:spPr>
            <a:xfrm>
              <a:off x="2653202" y="6141016"/>
              <a:ext cx="584329"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July </a:t>
              </a:r>
            </a:p>
            <a:p>
              <a:pPr algn="ctr" defTabSz="1242428">
                <a:defRPr/>
              </a:pPr>
              <a:r>
                <a:rPr lang="en-US" sz="1200" kern="0" dirty="0">
                  <a:gradFill>
                    <a:gsLst>
                      <a:gs pos="66372">
                        <a:srgbClr val="FFFFFF"/>
                      </a:gs>
                      <a:gs pos="83000">
                        <a:srgbClr val="FFFFFF"/>
                      </a:gs>
                    </a:gsLst>
                    <a:lin ang="5400000" scaled="1"/>
                  </a:gradFill>
                </a:rPr>
                <a:t>2006</a:t>
              </a:r>
            </a:p>
          </p:txBody>
        </p:sp>
        <p:sp>
          <p:nvSpPr>
            <p:cNvPr id="106" name="Rectangle 105"/>
            <p:cNvSpPr/>
            <p:nvPr/>
          </p:nvSpPr>
          <p:spPr>
            <a:xfrm>
              <a:off x="1971557" y="6141016"/>
              <a:ext cx="608375"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April </a:t>
              </a:r>
            </a:p>
            <a:p>
              <a:pPr algn="ctr" defTabSz="1242428">
                <a:defRPr/>
              </a:pPr>
              <a:r>
                <a:rPr lang="en-US" sz="1200" kern="0" dirty="0">
                  <a:gradFill>
                    <a:gsLst>
                      <a:gs pos="66372">
                        <a:srgbClr val="FFFFFF"/>
                      </a:gs>
                      <a:gs pos="83000">
                        <a:srgbClr val="FFFFFF"/>
                      </a:gs>
                    </a:gsLst>
                    <a:lin ang="5400000" scaled="1"/>
                  </a:gradFill>
                </a:rPr>
                <a:t>2006</a:t>
              </a:r>
            </a:p>
          </p:txBody>
        </p:sp>
      </p:grpSp>
      <p:grpSp>
        <p:nvGrpSpPr>
          <p:cNvPr id="107" name="Group 106"/>
          <p:cNvGrpSpPr/>
          <p:nvPr/>
        </p:nvGrpSpPr>
        <p:grpSpPr>
          <a:xfrm>
            <a:off x="345228" y="1333948"/>
            <a:ext cx="11634047" cy="4747538"/>
            <a:chOff x="345228" y="1076740"/>
            <a:chExt cx="11634047" cy="5004746"/>
          </a:xfrm>
        </p:grpSpPr>
        <p:sp>
          <p:nvSpPr>
            <p:cNvPr id="108" name="Rectangle 107"/>
            <p:cNvSpPr/>
            <p:nvPr/>
          </p:nvSpPr>
          <p:spPr>
            <a:xfrm>
              <a:off x="345228" y="5258581"/>
              <a:ext cx="544255" cy="310119"/>
            </a:xfrm>
            <a:prstGeom prst="rect">
              <a:avLst/>
            </a:prstGeom>
          </p:spPr>
          <p:txBody>
            <a:bodyPr wrap="none" lIns="124239" tIns="62120" rIns="124239" bIns="62120">
              <a:spAutoFit/>
            </a:bodyPr>
            <a:lstStyle/>
            <a:p>
              <a:pPr defTabSz="1242428">
                <a:defRPr/>
              </a:pPr>
              <a:r>
                <a:rPr lang="en-US" sz="1200" kern="0" dirty="0">
                  <a:gradFill>
                    <a:gsLst>
                      <a:gs pos="66372">
                        <a:srgbClr val="FFFFFF"/>
                      </a:gs>
                      <a:gs pos="83000">
                        <a:srgbClr val="FFFFFF"/>
                      </a:gs>
                    </a:gsLst>
                    <a:lin ang="5400000" scaled="1"/>
                  </a:gradFill>
                  <a:ea typeface="Segoe UI" pitchFamily="34" charset="0"/>
                  <a:cs typeface="Segoe UI" pitchFamily="34" charset="0"/>
                </a:rPr>
                <a:t>10%</a:t>
              </a:r>
            </a:p>
          </p:txBody>
        </p:sp>
        <p:sp>
          <p:nvSpPr>
            <p:cNvPr id="109" name="Rectangle 108"/>
            <p:cNvSpPr/>
            <p:nvPr/>
          </p:nvSpPr>
          <p:spPr>
            <a:xfrm>
              <a:off x="357908" y="4561607"/>
              <a:ext cx="544255" cy="310119"/>
            </a:xfrm>
            <a:prstGeom prst="rect">
              <a:avLst/>
            </a:prstGeom>
          </p:spPr>
          <p:txBody>
            <a:bodyPr wrap="none" lIns="124239" tIns="62120" rIns="124239" bIns="62120">
              <a:spAutoFit/>
            </a:bodyPr>
            <a:lstStyle/>
            <a:p>
              <a:pPr defTabSz="1242428">
                <a:defRPr/>
              </a:pPr>
              <a:r>
                <a:rPr lang="en-US" sz="1200" kern="0" dirty="0">
                  <a:gradFill>
                    <a:gsLst>
                      <a:gs pos="66372">
                        <a:srgbClr val="FFFFFF"/>
                      </a:gs>
                      <a:gs pos="83000">
                        <a:srgbClr val="FFFFFF"/>
                      </a:gs>
                    </a:gsLst>
                    <a:lin ang="5400000" scaled="1"/>
                  </a:gradFill>
                  <a:ea typeface="Segoe UI" pitchFamily="34" charset="0"/>
                  <a:cs typeface="Segoe UI" pitchFamily="34" charset="0"/>
                </a:rPr>
                <a:t>20%</a:t>
              </a:r>
            </a:p>
          </p:txBody>
        </p:sp>
        <p:sp>
          <p:nvSpPr>
            <p:cNvPr id="110" name="Rectangle 109"/>
            <p:cNvSpPr/>
            <p:nvPr/>
          </p:nvSpPr>
          <p:spPr>
            <a:xfrm>
              <a:off x="357908" y="3864638"/>
              <a:ext cx="544255" cy="310119"/>
            </a:xfrm>
            <a:prstGeom prst="rect">
              <a:avLst/>
            </a:prstGeom>
          </p:spPr>
          <p:txBody>
            <a:bodyPr wrap="none" lIns="124239" tIns="62120" rIns="124239" bIns="62120">
              <a:spAutoFit/>
            </a:bodyPr>
            <a:lstStyle/>
            <a:p>
              <a:pPr defTabSz="1242428">
                <a:defRPr/>
              </a:pPr>
              <a:r>
                <a:rPr lang="en-US" sz="1200" kern="0" dirty="0">
                  <a:gradFill>
                    <a:gsLst>
                      <a:gs pos="66372">
                        <a:srgbClr val="FFFFFF"/>
                      </a:gs>
                      <a:gs pos="83000">
                        <a:srgbClr val="FFFFFF"/>
                      </a:gs>
                    </a:gsLst>
                    <a:lin ang="5400000" scaled="1"/>
                  </a:gradFill>
                  <a:ea typeface="Segoe UI" pitchFamily="34" charset="0"/>
                  <a:cs typeface="Segoe UI" pitchFamily="34" charset="0"/>
                </a:rPr>
                <a:t>30%</a:t>
              </a:r>
            </a:p>
          </p:txBody>
        </p:sp>
        <p:sp>
          <p:nvSpPr>
            <p:cNvPr id="111" name="Rectangle 110"/>
            <p:cNvSpPr/>
            <p:nvPr/>
          </p:nvSpPr>
          <p:spPr>
            <a:xfrm>
              <a:off x="357908" y="3167658"/>
              <a:ext cx="544255" cy="310119"/>
            </a:xfrm>
            <a:prstGeom prst="rect">
              <a:avLst/>
            </a:prstGeom>
          </p:spPr>
          <p:txBody>
            <a:bodyPr wrap="none" lIns="124239" tIns="62120" rIns="124239" bIns="62120">
              <a:spAutoFit/>
            </a:bodyPr>
            <a:lstStyle/>
            <a:p>
              <a:pPr defTabSz="1242428">
                <a:defRPr/>
              </a:pPr>
              <a:r>
                <a:rPr lang="en-US" sz="1200" kern="0" dirty="0">
                  <a:gradFill>
                    <a:gsLst>
                      <a:gs pos="66372">
                        <a:srgbClr val="FFFFFF"/>
                      </a:gs>
                      <a:gs pos="83000">
                        <a:srgbClr val="FFFFFF"/>
                      </a:gs>
                    </a:gsLst>
                    <a:lin ang="5400000" scaled="1"/>
                  </a:gradFill>
                  <a:ea typeface="Segoe UI" pitchFamily="34" charset="0"/>
                  <a:cs typeface="Segoe UI" pitchFamily="34" charset="0"/>
                </a:rPr>
                <a:t>40%</a:t>
              </a:r>
            </a:p>
          </p:txBody>
        </p:sp>
        <p:sp>
          <p:nvSpPr>
            <p:cNvPr id="112" name="Rectangle 111"/>
            <p:cNvSpPr/>
            <p:nvPr/>
          </p:nvSpPr>
          <p:spPr>
            <a:xfrm>
              <a:off x="357908" y="2470694"/>
              <a:ext cx="544255" cy="310119"/>
            </a:xfrm>
            <a:prstGeom prst="rect">
              <a:avLst/>
            </a:prstGeom>
          </p:spPr>
          <p:txBody>
            <a:bodyPr wrap="none" lIns="124239" tIns="62120" rIns="124239" bIns="62120">
              <a:spAutoFit/>
            </a:bodyPr>
            <a:lstStyle/>
            <a:p>
              <a:pPr defTabSz="1242428">
                <a:defRPr/>
              </a:pPr>
              <a:r>
                <a:rPr lang="en-US" sz="1200" kern="0" dirty="0">
                  <a:gradFill>
                    <a:gsLst>
                      <a:gs pos="66372">
                        <a:srgbClr val="FFFFFF"/>
                      </a:gs>
                      <a:gs pos="83000">
                        <a:srgbClr val="FFFFFF"/>
                      </a:gs>
                    </a:gsLst>
                    <a:lin ang="5400000" scaled="1"/>
                  </a:gradFill>
                  <a:ea typeface="Segoe UI" pitchFamily="34" charset="0"/>
                  <a:cs typeface="Segoe UI" pitchFamily="34" charset="0"/>
                </a:rPr>
                <a:t>50%</a:t>
              </a:r>
            </a:p>
          </p:txBody>
        </p:sp>
        <p:sp>
          <p:nvSpPr>
            <p:cNvPr id="113" name="Rectangle 112"/>
            <p:cNvSpPr/>
            <p:nvPr/>
          </p:nvSpPr>
          <p:spPr>
            <a:xfrm>
              <a:off x="357908" y="1773719"/>
              <a:ext cx="544255" cy="310119"/>
            </a:xfrm>
            <a:prstGeom prst="rect">
              <a:avLst/>
            </a:prstGeom>
          </p:spPr>
          <p:txBody>
            <a:bodyPr wrap="none" lIns="124239" tIns="62120" rIns="124239" bIns="62120">
              <a:spAutoFit/>
            </a:bodyPr>
            <a:lstStyle/>
            <a:p>
              <a:pPr defTabSz="1242428">
                <a:defRPr/>
              </a:pPr>
              <a:r>
                <a:rPr lang="en-US" sz="1200" kern="0" dirty="0">
                  <a:gradFill>
                    <a:gsLst>
                      <a:gs pos="66372">
                        <a:srgbClr val="FFFFFF"/>
                      </a:gs>
                      <a:gs pos="83000">
                        <a:srgbClr val="FFFFFF"/>
                      </a:gs>
                    </a:gsLst>
                    <a:lin ang="5400000" scaled="1"/>
                  </a:gradFill>
                  <a:ea typeface="Segoe UI" pitchFamily="34" charset="0"/>
                  <a:cs typeface="Segoe UI" pitchFamily="34" charset="0"/>
                </a:rPr>
                <a:t>60%</a:t>
              </a:r>
            </a:p>
          </p:txBody>
        </p:sp>
        <p:sp>
          <p:nvSpPr>
            <p:cNvPr id="114" name="Rectangle 113"/>
            <p:cNvSpPr/>
            <p:nvPr/>
          </p:nvSpPr>
          <p:spPr>
            <a:xfrm>
              <a:off x="357908" y="1076740"/>
              <a:ext cx="544255" cy="310119"/>
            </a:xfrm>
            <a:prstGeom prst="rect">
              <a:avLst/>
            </a:prstGeom>
          </p:spPr>
          <p:txBody>
            <a:bodyPr wrap="none" lIns="124239" tIns="62120" rIns="124239" bIns="62120">
              <a:spAutoFit/>
            </a:bodyPr>
            <a:lstStyle/>
            <a:p>
              <a:pPr defTabSz="1242428">
                <a:defRPr/>
              </a:pPr>
              <a:r>
                <a:rPr lang="en-US" sz="1200" kern="0" dirty="0">
                  <a:gradFill>
                    <a:gsLst>
                      <a:gs pos="66372">
                        <a:srgbClr val="FFFFFF"/>
                      </a:gs>
                      <a:gs pos="83000">
                        <a:srgbClr val="FFFFFF"/>
                      </a:gs>
                    </a:gsLst>
                    <a:lin ang="5400000" scaled="1"/>
                  </a:gradFill>
                  <a:ea typeface="Segoe UI" pitchFamily="34" charset="0"/>
                  <a:cs typeface="Segoe UI" pitchFamily="34" charset="0"/>
                </a:rPr>
                <a:t>70%</a:t>
              </a:r>
            </a:p>
          </p:txBody>
        </p:sp>
        <p:grpSp>
          <p:nvGrpSpPr>
            <p:cNvPr id="115" name="Group 114"/>
            <p:cNvGrpSpPr/>
            <p:nvPr/>
          </p:nvGrpSpPr>
          <p:grpSpPr>
            <a:xfrm>
              <a:off x="953275" y="1231799"/>
              <a:ext cx="11026000" cy="4830611"/>
              <a:chOff x="953275" y="1231799"/>
              <a:chExt cx="10070152" cy="4830611"/>
            </a:xfrm>
          </p:grpSpPr>
          <p:cxnSp>
            <p:nvCxnSpPr>
              <p:cNvPr id="117" name="Straight Connector 116"/>
              <p:cNvCxnSpPr/>
              <p:nvPr/>
            </p:nvCxnSpPr>
            <p:spPr>
              <a:xfrm>
                <a:off x="974419" y="5413640"/>
                <a:ext cx="10049008" cy="0"/>
              </a:xfrm>
              <a:prstGeom prst="line">
                <a:avLst/>
              </a:prstGeom>
              <a:noFill/>
              <a:ln w="28575" cap="flat" cmpd="sng" algn="ctr">
                <a:solidFill>
                  <a:srgbClr val="FFFFFF">
                    <a:lumMod val="50000"/>
                    <a:lumOff val="50000"/>
                    <a:alpha val="22000"/>
                  </a:srgbClr>
                </a:solidFill>
                <a:prstDash val="solid"/>
              </a:ln>
              <a:effectLst/>
            </p:spPr>
          </p:cxnSp>
          <p:cxnSp>
            <p:nvCxnSpPr>
              <p:cNvPr id="118" name="Straight Connector 117"/>
              <p:cNvCxnSpPr/>
              <p:nvPr/>
            </p:nvCxnSpPr>
            <p:spPr>
              <a:xfrm>
                <a:off x="974419" y="1231799"/>
                <a:ext cx="10049008" cy="0"/>
              </a:xfrm>
              <a:prstGeom prst="line">
                <a:avLst/>
              </a:prstGeom>
              <a:noFill/>
              <a:ln w="28575" cap="flat" cmpd="sng" algn="ctr">
                <a:solidFill>
                  <a:srgbClr val="FFFFFF">
                    <a:lumMod val="50000"/>
                    <a:lumOff val="50000"/>
                    <a:alpha val="22000"/>
                  </a:srgbClr>
                </a:solidFill>
                <a:prstDash val="solid"/>
              </a:ln>
              <a:effectLst/>
            </p:spPr>
          </p:cxnSp>
          <p:cxnSp>
            <p:nvCxnSpPr>
              <p:cNvPr id="119" name="Straight Connector 118"/>
              <p:cNvCxnSpPr/>
              <p:nvPr/>
            </p:nvCxnSpPr>
            <p:spPr>
              <a:xfrm>
                <a:off x="974419" y="1928773"/>
                <a:ext cx="10049008" cy="0"/>
              </a:xfrm>
              <a:prstGeom prst="line">
                <a:avLst/>
              </a:prstGeom>
              <a:noFill/>
              <a:ln w="28575" cap="flat" cmpd="sng" algn="ctr">
                <a:solidFill>
                  <a:srgbClr val="FFFFFF">
                    <a:lumMod val="50000"/>
                    <a:lumOff val="50000"/>
                    <a:alpha val="22000"/>
                  </a:srgbClr>
                </a:solidFill>
                <a:prstDash val="solid"/>
              </a:ln>
              <a:effectLst/>
            </p:spPr>
          </p:cxnSp>
          <p:cxnSp>
            <p:nvCxnSpPr>
              <p:cNvPr id="120" name="Straight Connector 119"/>
              <p:cNvCxnSpPr/>
              <p:nvPr/>
            </p:nvCxnSpPr>
            <p:spPr>
              <a:xfrm>
                <a:off x="974419" y="2625747"/>
                <a:ext cx="10049008" cy="0"/>
              </a:xfrm>
              <a:prstGeom prst="line">
                <a:avLst/>
              </a:prstGeom>
              <a:noFill/>
              <a:ln w="28575" cap="flat" cmpd="sng" algn="ctr">
                <a:solidFill>
                  <a:srgbClr val="FFFFFF">
                    <a:lumMod val="50000"/>
                    <a:lumOff val="50000"/>
                    <a:alpha val="22000"/>
                  </a:srgbClr>
                </a:solidFill>
                <a:prstDash val="solid"/>
              </a:ln>
              <a:effectLst/>
            </p:spPr>
          </p:cxnSp>
          <p:cxnSp>
            <p:nvCxnSpPr>
              <p:cNvPr id="121" name="Straight Connector 120"/>
              <p:cNvCxnSpPr/>
              <p:nvPr/>
            </p:nvCxnSpPr>
            <p:spPr>
              <a:xfrm>
                <a:off x="974419" y="3322721"/>
                <a:ext cx="10049008" cy="0"/>
              </a:xfrm>
              <a:prstGeom prst="line">
                <a:avLst/>
              </a:prstGeom>
              <a:noFill/>
              <a:ln w="28575" cap="flat" cmpd="sng" algn="ctr">
                <a:solidFill>
                  <a:srgbClr val="FFFFFF">
                    <a:lumMod val="50000"/>
                    <a:lumOff val="50000"/>
                    <a:alpha val="22000"/>
                  </a:srgbClr>
                </a:solidFill>
                <a:prstDash val="solid"/>
              </a:ln>
              <a:effectLst/>
            </p:spPr>
          </p:cxnSp>
          <p:cxnSp>
            <p:nvCxnSpPr>
              <p:cNvPr id="122" name="Straight Connector 121"/>
              <p:cNvCxnSpPr/>
              <p:nvPr/>
            </p:nvCxnSpPr>
            <p:spPr>
              <a:xfrm>
                <a:off x="974419" y="4019695"/>
                <a:ext cx="10049008" cy="0"/>
              </a:xfrm>
              <a:prstGeom prst="line">
                <a:avLst/>
              </a:prstGeom>
              <a:noFill/>
              <a:ln w="28575" cap="flat" cmpd="sng" algn="ctr">
                <a:solidFill>
                  <a:srgbClr val="FFFFFF">
                    <a:lumMod val="50000"/>
                    <a:lumOff val="50000"/>
                    <a:alpha val="22000"/>
                  </a:srgbClr>
                </a:solidFill>
                <a:prstDash val="solid"/>
              </a:ln>
              <a:effectLst/>
            </p:spPr>
          </p:cxnSp>
          <p:cxnSp>
            <p:nvCxnSpPr>
              <p:cNvPr id="123" name="Straight Connector 122"/>
              <p:cNvCxnSpPr/>
              <p:nvPr/>
            </p:nvCxnSpPr>
            <p:spPr>
              <a:xfrm>
                <a:off x="974419" y="4716669"/>
                <a:ext cx="10049008" cy="0"/>
              </a:xfrm>
              <a:prstGeom prst="line">
                <a:avLst/>
              </a:prstGeom>
              <a:noFill/>
              <a:ln w="28575" cap="flat" cmpd="sng" algn="ctr">
                <a:solidFill>
                  <a:srgbClr val="FFFFFF">
                    <a:lumMod val="50000"/>
                    <a:lumOff val="50000"/>
                    <a:alpha val="22000"/>
                  </a:srgbClr>
                </a:solidFill>
                <a:prstDash val="solid"/>
              </a:ln>
              <a:effectLst/>
            </p:spPr>
          </p:cxnSp>
          <p:cxnSp>
            <p:nvCxnSpPr>
              <p:cNvPr id="124" name="Straight Connector 123"/>
              <p:cNvCxnSpPr/>
              <p:nvPr/>
            </p:nvCxnSpPr>
            <p:spPr>
              <a:xfrm>
                <a:off x="953275" y="6062410"/>
                <a:ext cx="10070152" cy="0"/>
              </a:xfrm>
              <a:prstGeom prst="line">
                <a:avLst/>
              </a:prstGeom>
              <a:noFill/>
              <a:ln w="28575" cap="flat" cmpd="sng" algn="ctr">
                <a:solidFill>
                  <a:srgbClr val="567986"/>
                </a:solidFill>
                <a:prstDash val="solid"/>
              </a:ln>
              <a:effectLst/>
            </p:spPr>
          </p:cxnSp>
        </p:grpSp>
        <p:cxnSp>
          <p:nvCxnSpPr>
            <p:cNvPr id="116" name="Straight Connector 115"/>
            <p:cNvCxnSpPr/>
            <p:nvPr/>
          </p:nvCxnSpPr>
          <p:spPr>
            <a:xfrm>
              <a:off x="972497" y="1215614"/>
              <a:ext cx="0" cy="4865872"/>
            </a:xfrm>
            <a:prstGeom prst="line">
              <a:avLst/>
            </a:prstGeom>
            <a:noFill/>
            <a:ln w="28575" cap="flat" cmpd="sng" algn="ctr">
              <a:solidFill>
                <a:srgbClr val="567986"/>
              </a:solidFill>
              <a:prstDash val="solid"/>
            </a:ln>
            <a:effectLst/>
          </p:spPr>
        </p:cxnSp>
      </p:grpSp>
      <p:pic>
        <p:nvPicPr>
          <p:cNvPr id="125" name="Picture 2" descr="C:\Users\ADI2\Desktop\lines-03.png"/>
          <p:cNvPicPr>
            <a:picLocks noChangeAspect="1" noChangeArrowheads="1"/>
          </p:cNvPicPr>
          <p:nvPr/>
        </p:nvPicPr>
        <p:blipFill>
          <a:blip r:embed="rId3" cstate="email">
            <a:duotone>
              <a:schemeClr val="accent6">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194196" y="5028610"/>
            <a:ext cx="9936110" cy="774564"/>
          </a:xfrm>
          <a:prstGeom prst="rect">
            <a:avLst/>
          </a:prstGeom>
          <a:noFill/>
        </p:spPr>
      </p:pic>
      <p:pic>
        <p:nvPicPr>
          <p:cNvPr id="126" name="Picture 3" descr="C:\Users\ADI2\Desktop\lines-01.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194196" y="1604516"/>
            <a:ext cx="9936110" cy="2148750"/>
          </a:xfrm>
          <a:prstGeom prst="rect">
            <a:avLst/>
          </a:prstGeom>
          <a:noFill/>
          <a:ln>
            <a:noFill/>
          </a:ln>
        </p:spPr>
      </p:pic>
      <p:pic>
        <p:nvPicPr>
          <p:cNvPr id="127" name="Picture 4" descr="C:\Users\ADI2\Desktop\lines-02.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194196" y="4001752"/>
            <a:ext cx="9936110" cy="1026835"/>
          </a:xfrm>
          <a:prstGeom prst="rect">
            <a:avLst/>
          </a:prstGeom>
          <a:noFill/>
        </p:spPr>
      </p:pic>
      <p:pic>
        <p:nvPicPr>
          <p:cNvPr id="128" name="Picture 138" descr="C:\Documents and Settings\Eva\My Documents\MS598\Google.png"/>
          <p:cNvPicPr>
            <a:picLocks noChangeAspect="1" noChangeArrowheads="1"/>
          </p:cNvPicPr>
          <p:nvPr/>
        </p:nvPicPr>
        <p:blipFill>
          <a:blip r:embed="rId6" cstate="email">
            <a:lum bright="100000" contrast="-100000"/>
            <a:extLst>
              <a:ext uri="{28A0092B-C50C-407E-A947-70E740481C1C}">
                <a14:useLocalDpi xmlns:a14="http://schemas.microsoft.com/office/drawing/2010/main"/>
              </a:ext>
            </a:extLst>
          </a:blip>
          <a:stretch>
            <a:fillRect/>
          </a:stretch>
        </p:blipFill>
        <p:spPr bwMode="auto">
          <a:xfrm>
            <a:off x="5677555" y="1822137"/>
            <a:ext cx="969392" cy="334832"/>
          </a:xfrm>
          <a:prstGeom prst="rect">
            <a:avLst/>
          </a:prstGeom>
          <a:noFill/>
        </p:spPr>
      </p:pic>
      <p:pic>
        <p:nvPicPr>
          <p:cNvPr id="129" name="Picture 2"/>
          <p:cNvPicPr>
            <a:picLocks noChangeAspect="1" noChangeArrowheads="1"/>
          </p:cNvPicPr>
          <p:nvPr/>
        </p:nvPicPr>
        <p:blipFill>
          <a:blip r:embed="rId7" cstate="email">
            <a:lum bright="100000"/>
            <a:extLst>
              <a:ext uri="{28A0092B-C50C-407E-A947-70E740481C1C}">
                <a14:useLocalDpi xmlns:a14="http://schemas.microsoft.com/office/drawing/2010/main"/>
              </a:ext>
            </a:extLst>
          </a:blip>
          <a:stretch>
            <a:fillRect/>
          </a:stretch>
        </p:blipFill>
        <p:spPr bwMode="auto">
          <a:xfrm>
            <a:off x="5497107" y="4126189"/>
            <a:ext cx="1330288" cy="242433"/>
          </a:xfrm>
          <a:prstGeom prst="rect">
            <a:avLst/>
          </a:prstGeom>
          <a:noFill/>
          <a:ln>
            <a:noFill/>
          </a:ln>
          <a:extLst>
            <a:ext uri="{909E8E84-426E-40DD-AFC4-6F175D3DCCD1}">
              <a14:hiddenFill xmlns:a14="http://schemas.microsoft.com/office/drawing/2010/main">
                <a:solidFill>
                  <a:srgbClr val="FFFFFF"/>
                </a:solidFill>
              </a14:hiddenFill>
            </a:ext>
            <a:ext uri="{53640926-AAD7-44D8-BBD7-CCE9431645EC}">
              <a14:shadowObscured xmlns:a14="http://schemas.microsoft.com/office/drawing/2010/main" val="1"/>
            </a:ext>
          </a:extLst>
        </p:spPr>
      </p:pic>
      <p:pic>
        <p:nvPicPr>
          <p:cNvPr id="130" name="Picture 129"/>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5366503" y="4842632"/>
            <a:ext cx="1591496" cy="384424"/>
          </a:xfrm>
          <a:prstGeom prst="rect">
            <a:avLst/>
          </a:prstGeom>
        </p:spPr>
      </p:pic>
    </p:spTree>
    <p:extLst>
      <p:ext uri="{BB962C8B-B14F-4D97-AF65-F5344CB8AC3E}">
        <p14:creationId xmlns:p14="http://schemas.microsoft.com/office/powerpoint/2010/main" val="1224754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275364"/>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435840" cy="6995160"/>
          </a:xfrm>
          <a:prstGeom prst="rect">
            <a:avLst/>
          </a:prstGeom>
        </p:spPr>
      </p:pic>
      <p:sp>
        <p:nvSpPr>
          <p:cNvPr id="8" name="Rectangle 7"/>
          <p:cNvSpPr/>
          <p:nvPr/>
        </p:nvSpPr>
        <p:spPr bwMode="auto">
          <a:xfrm>
            <a:off x="0" y="0"/>
            <a:ext cx="6610892" cy="6994525"/>
          </a:xfrm>
          <a:prstGeom prst="rect">
            <a:avLst/>
          </a:prstGeom>
          <a:gradFill flip="none" rotWithShape="1">
            <a:gsLst>
              <a:gs pos="0">
                <a:srgbClr val="101F28">
                  <a:alpha val="51000"/>
                </a:srgbClr>
              </a:gs>
              <a:gs pos="88000">
                <a:srgbClr val="101F28">
                  <a:alpha val="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 name="Title 1"/>
          <p:cNvSpPr txBox="1">
            <a:spLocks/>
          </p:cNvSpPr>
          <p:nvPr/>
        </p:nvSpPr>
        <p:spPr>
          <a:xfrm>
            <a:off x="1808368" y="3038475"/>
            <a:ext cx="5486399"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a:gradFill>
                  <a:gsLst>
                    <a:gs pos="1250">
                      <a:srgbClr val="FFFFFF"/>
                    </a:gs>
                    <a:gs pos="100000">
                      <a:srgbClr val="FFFFFF"/>
                    </a:gs>
                  </a:gsLst>
                  <a:lin ang="5400000" scaled="0"/>
                </a:gradFill>
              </a:rPr>
              <a:t>Why</a:t>
            </a:r>
          </a:p>
        </p:txBody>
      </p:sp>
      <p:sp>
        <p:nvSpPr>
          <p:cNvPr id="4" name="Oval 3"/>
          <p:cNvSpPr/>
          <p:nvPr/>
        </p:nvSpPr>
        <p:spPr bwMode="auto">
          <a:xfrm>
            <a:off x="575531" y="2967448"/>
            <a:ext cx="1059628" cy="1059628"/>
          </a:xfrm>
          <a:prstGeom prst="ellipse">
            <a:avLst/>
          </a:prstGeom>
          <a:solidFill>
            <a:schemeClr val="tx1">
              <a:alpha val="20000"/>
            </a:schemeClr>
          </a:solid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000" dirty="0">
                <a:gradFill>
                  <a:gsLst>
                    <a:gs pos="0">
                      <a:srgbClr val="FFFFFF"/>
                    </a:gs>
                    <a:gs pos="100000">
                      <a:srgbClr val="FFFFFF"/>
                    </a:gs>
                  </a:gsLst>
                  <a:lin ang="5400000" scaled="0"/>
                </a:gradFill>
              </a:rPr>
              <a:t>?</a:t>
            </a:r>
          </a:p>
        </p:txBody>
      </p:sp>
    </p:spTree>
    <p:extLst>
      <p:ext uri="{BB962C8B-B14F-4D97-AF65-F5344CB8AC3E}">
        <p14:creationId xmlns:p14="http://schemas.microsoft.com/office/powerpoint/2010/main" val="1679719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 presetClass="entr" presetSubtype="0" fill="hold" grpId="0" nodeType="withEffect">
                                  <p:stCondLst>
                                    <p:cond delay="0"/>
                                  </p:stCondLst>
                                  <p:childTnLst>
                                    <p:set>
                                      <p:cBhvr>
                                        <p:cTn id="9" dur="1" fill="hold">
                                          <p:stCondLst>
                                            <p:cond delay="499"/>
                                          </p:stCondLst>
                                        </p:cTn>
                                        <p:tgtEl>
                                          <p:spTgt spid="4"/>
                                        </p:tgtEl>
                                        <p:attrNameLst>
                                          <p:attrName>style.visibility</p:attrName>
                                        </p:attrNameLst>
                                      </p:cBhvr>
                                      <p:to>
                                        <p:strVal val="visible"/>
                                      </p:to>
                                    </p:set>
                                  </p:childTnLst>
                                </p:cTn>
                              </p:par>
                              <p:par>
                                <p:cTn id="10" presetID="6" presetClass="emph" presetSubtype="0" accel="100000" autoRev="1" fill="hold" grpId="1" nodeType="withEffect">
                                  <p:stCondLst>
                                    <p:cond delay="0"/>
                                  </p:stCondLst>
                                  <p:childTnLst>
                                    <p:animScale>
                                      <p:cBhvr>
                                        <p:cTn id="11" dur="500" fill="hold"/>
                                        <p:tgtEl>
                                          <p:spTgt spid="4"/>
                                        </p:tgtEl>
                                      </p:cBhvr>
                                      <p:by x="0" y="0"/>
                                    </p:animScale>
                                  </p:childTnLst>
                                </p:cTn>
                              </p:par>
                              <p:par>
                                <p:cTn id="12" presetID="10" presetClass="entr" presetSubtype="0" fill="hold" grpId="0" nodeType="withEffect">
                                  <p:stCondLst>
                                    <p:cond delay="5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63" presetClass="path" presetSubtype="0" decel="100000" fill="hold" grpId="1" nodeType="withEffect">
                                  <p:stCondLst>
                                    <p:cond delay="500"/>
                                  </p:stCondLst>
                                  <p:childTnLst>
                                    <p:animMotion origin="layout" path="M 3.22951E-6 -1.77031E-6 L 0.018 -1.77031E-6 " pathEditMode="relative" rAng="0" ptsTypes="AA">
                                      <p:cBhvr>
                                        <p:cTn id="16" dur="500" spd="-100000" fill="hold"/>
                                        <p:tgtEl>
                                          <p:spTgt spid="3"/>
                                        </p:tgtEl>
                                        <p:attrNameLst>
                                          <p:attrName>ppt_x</p:attrName>
                                          <p:attrName>ppt_y</p:attrName>
                                        </p:attrNameLst>
                                      </p:cBhvr>
                                      <p:rCtr x="8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3" grpId="0"/>
      <p:bldP spid="3" grpId="1"/>
      <p:bldP spid="4" grpId="0" animBg="1"/>
      <p:bldP spid="4" grpId="1"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435840" cy="6995160"/>
          </a:xfrm>
          <a:prstGeom prst="rect">
            <a:avLst/>
          </a:prstGeom>
        </p:spPr>
      </p:pic>
      <p:sp>
        <p:nvSpPr>
          <p:cNvPr id="9" name="Rectangle 8"/>
          <p:cNvSpPr/>
          <p:nvPr/>
        </p:nvSpPr>
        <p:spPr bwMode="auto">
          <a:xfrm>
            <a:off x="0" y="0"/>
            <a:ext cx="12436475" cy="6995159"/>
          </a:xfrm>
          <a:prstGeom prst="rect">
            <a:avLst/>
          </a:prstGeom>
          <a:solidFill>
            <a:srgbClr val="275364">
              <a:alpha val="50000"/>
            </a:srgb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6" name="Rectangle 15"/>
          <p:cNvSpPr/>
          <p:nvPr/>
        </p:nvSpPr>
        <p:spPr bwMode="auto">
          <a:xfrm>
            <a:off x="0" y="0"/>
            <a:ext cx="6610892" cy="6994525"/>
          </a:xfrm>
          <a:prstGeom prst="rect">
            <a:avLst/>
          </a:prstGeom>
          <a:gradFill flip="none" rotWithShape="1">
            <a:gsLst>
              <a:gs pos="0">
                <a:srgbClr val="101F28">
                  <a:alpha val="51000"/>
                </a:srgbClr>
              </a:gs>
              <a:gs pos="88000">
                <a:srgbClr val="101F28">
                  <a:alpha val="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 name="Rectangle 7"/>
          <p:cNvSpPr/>
          <p:nvPr/>
        </p:nvSpPr>
        <p:spPr bwMode="auto">
          <a:xfrm>
            <a:off x="0" y="0"/>
            <a:ext cx="8297826" cy="6994526"/>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TextBox 9"/>
          <p:cNvSpPr txBox="1"/>
          <p:nvPr/>
        </p:nvSpPr>
        <p:spPr>
          <a:xfrm>
            <a:off x="457198" y="2141021"/>
            <a:ext cx="7132639" cy="369332"/>
          </a:xfrm>
          <a:prstGeom prst="rect">
            <a:avLst/>
          </a:prstGeom>
          <a:noFill/>
        </p:spPr>
        <p:txBody>
          <a:bodyPr wrap="square" lIns="182880" tIns="0" rIns="0" bIns="0" rtlCol="0">
            <a:spAutoFit/>
          </a:bodyPr>
          <a:lstStyle/>
          <a:p>
            <a:pPr defTabSz="932559"/>
            <a:r>
              <a:rPr lang="en-US" sz="2400" dirty="0">
                <a:solidFill>
                  <a:schemeClr val="bg2">
                    <a:lumMod val="20000"/>
                    <a:lumOff val="80000"/>
                  </a:schemeClr>
                </a:solidFill>
                <a:cs typeface="Segoe UI Light" panose="020B0502040204020203" pitchFamily="34" charset="0"/>
              </a:rPr>
              <a:t>Hard to hire </a:t>
            </a:r>
            <a:r>
              <a:rPr lang="en-US" sz="2400" dirty="0">
                <a:gradFill>
                  <a:gsLst>
                    <a:gs pos="1250">
                      <a:srgbClr val="FFFFFF"/>
                    </a:gs>
                    <a:gs pos="100000">
                      <a:srgbClr val="FFFFFF"/>
                    </a:gs>
                  </a:gsLst>
                  <a:lin ang="5400000" scaled="0"/>
                </a:gradFill>
                <a:cs typeface="Segoe UI" panose="020B0502040204020203" pitchFamily="34" charset="0"/>
              </a:rPr>
              <a:t>data scientists</a:t>
            </a:r>
          </a:p>
        </p:txBody>
      </p:sp>
      <p:sp>
        <p:nvSpPr>
          <p:cNvPr id="11" name="TextBox 10"/>
          <p:cNvSpPr txBox="1"/>
          <p:nvPr/>
        </p:nvSpPr>
        <p:spPr>
          <a:xfrm>
            <a:off x="457198" y="2922071"/>
            <a:ext cx="7132639" cy="369332"/>
          </a:xfrm>
          <a:prstGeom prst="rect">
            <a:avLst/>
          </a:prstGeom>
          <a:noFill/>
        </p:spPr>
        <p:txBody>
          <a:bodyPr wrap="square" lIns="182880" tIns="0" rIns="0" bIns="0" rtlCol="0">
            <a:spAutoFit/>
          </a:bodyPr>
          <a:lstStyle/>
          <a:p>
            <a:pPr defTabSz="932559"/>
            <a:r>
              <a:rPr lang="en-US" sz="2400" dirty="0">
                <a:solidFill>
                  <a:schemeClr val="bg2">
                    <a:lumMod val="20000"/>
                    <a:lumOff val="80000"/>
                  </a:schemeClr>
                </a:solidFill>
                <a:cs typeface="Segoe UI Light" panose="020B0502040204020203" pitchFamily="34" charset="0"/>
              </a:rPr>
              <a:t>Lots of people involved </a:t>
            </a:r>
            <a:r>
              <a:rPr lang="en-US" sz="2400" dirty="0">
                <a:gradFill>
                  <a:gsLst>
                    <a:gs pos="1250">
                      <a:srgbClr val="FFFFFF"/>
                    </a:gs>
                    <a:gs pos="100000">
                      <a:srgbClr val="FFFFFF"/>
                    </a:gs>
                  </a:gsLst>
                  <a:lin ang="5400000" scaled="0"/>
                </a:gradFill>
                <a:cs typeface="Segoe UI" panose="020B0502040204020203" pitchFamily="34" charset="0"/>
              </a:rPr>
              <a:t>need access</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 </a:t>
            </a:r>
            <a:r>
              <a:rPr lang="en-US" sz="2400" dirty="0">
                <a:solidFill>
                  <a:schemeClr val="bg2">
                    <a:lumMod val="20000"/>
                    <a:lumOff val="80000"/>
                  </a:schemeClr>
                </a:solidFill>
                <a:cs typeface="Segoe UI Light" panose="020B0502040204020203" pitchFamily="34" charset="0"/>
              </a:rPr>
              <a:t>to data</a:t>
            </a:r>
          </a:p>
        </p:txBody>
      </p:sp>
      <p:sp>
        <p:nvSpPr>
          <p:cNvPr id="12" name="TextBox 11"/>
          <p:cNvSpPr txBox="1"/>
          <p:nvPr/>
        </p:nvSpPr>
        <p:spPr>
          <a:xfrm>
            <a:off x="457198" y="4484171"/>
            <a:ext cx="7132639" cy="369332"/>
          </a:xfrm>
          <a:prstGeom prst="rect">
            <a:avLst/>
          </a:prstGeom>
          <a:noFill/>
        </p:spPr>
        <p:txBody>
          <a:bodyPr wrap="square" lIns="182880" tIns="0" rIns="0" bIns="0" rtlCol="0">
            <a:spAutoFit/>
          </a:bodyPr>
          <a:lstStyle/>
          <a:p>
            <a:pPr defTabSz="932559"/>
            <a:r>
              <a:rPr lang="en-US" sz="2400" dirty="0">
                <a:solidFill>
                  <a:schemeClr val="bg2">
                    <a:lumMod val="20000"/>
                    <a:lumOff val="80000"/>
                  </a:schemeClr>
                </a:solidFill>
                <a:cs typeface="Segoe UI Light" panose="020B0502040204020203" pitchFamily="34" charset="0"/>
              </a:rPr>
              <a:t>Massive</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 </a:t>
            </a:r>
            <a:r>
              <a:rPr lang="en-US" sz="2400" dirty="0">
                <a:gradFill>
                  <a:gsLst>
                    <a:gs pos="1250">
                      <a:srgbClr val="FFFFFF"/>
                    </a:gs>
                    <a:gs pos="100000">
                      <a:srgbClr val="FFFFFF"/>
                    </a:gs>
                  </a:gsLst>
                  <a:lin ang="5400000" scaled="0"/>
                </a:gradFill>
                <a:cs typeface="Segoe UI" panose="020B0502040204020203" pitchFamily="34" charset="0"/>
              </a:rPr>
              <a:t>volume</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 </a:t>
            </a:r>
            <a:r>
              <a:rPr lang="en-US" sz="2400" dirty="0">
                <a:gradFill>
                  <a:gsLst>
                    <a:gs pos="1250">
                      <a:srgbClr val="FFFFFF"/>
                    </a:gs>
                    <a:gs pos="100000">
                      <a:srgbClr val="FFFFFF"/>
                    </a:gs>
                  </a:gsLst>
                  <a:lin ang="5400000" scaled="0"/>
                </a:gradFill>
                <a:cs typeface="Segoe UI" panose="020B0502040204020203" pitchFamily="34" charset="0"/>
              </a:rPr>
              <a:t>velocity</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 </a:t>
            </a:r>
            <a:r>
              <a:rPr lang="en-US" sz="2400" dirty="0">
                <a:solidFill>
                  <a:schemeClr val="bg2">
                    <a:lumMod val="20000"/>
                    <a:lumOff val="80000"/>
                  </a:schemeClr>
                </a:solidFill>
                <a:cs typeface="Segoe UI Light" panose="020B0502040204020203" pitchFamily="34" charset="0"/>
              </a:rPr>
              <a:t>and</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 </a:t>
            </a:r>
            <a:r>
              <a:rPr lang="en-US" sz="2400" dirty="0">
                <a:gradFill>
                  <a:gsLst>
                    <a:gs pos="1250">
                      <a:srgbClr val="FFFFFF"/>
                    </a:gs>
                    <a:gs pos="100000">
                      <a:srgbClr val="FFFFFF"/>
                    </a:gs>
                  </a:gsLst>
                  <a:lin ang="5400000" scaled="0"/>
                </a:gradFill>
                <a:cs typeface="Segoe UI" panose="020B0502040204020203" pitchFamily="34" charset="0"/>
              </a:rPr>
              <a:t>variety</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 </a:t>
            </a:r>
            <a:r>
              <a:rPr lang="en-US" sz="2400" dirty="0">
                <a:solidFill>
                  <a:schemeClr val="bg2">
                    <a:lumMod val="20000"/>
                    <a:lumOff val="80000"/>
                  </a:schemeClr>
                </a:solidFill>
                <a:cs typeface="Segoe UI Light" panose="020B0502040204020203" pitchFamily="34" charset="0"/>
              </a:rPr>
              <a:t>of data</a:t>
            </a:r>
          </a:p>
        </p:txBody>
      </p:sp>
      <p:sp>
        <p:nvSpPr>
          <p:cNvPr id="13" name="TextBox 12"/>
          <p:cNvSpPr txBox="1"/>
          <p:nvPr/>
        </p:nvSpPr>
        <p:spPr>
          <a:xfrm>
            <a:off x="457198" y="3703121"/>
            <a:ext cx="7132639" cy="369332"/>
          </a:xfrm>
          <a:prstGeom prst="rect">
            <a:avLst/>
          </a:prstGeom>
          <a:noFill/>
        </p:spPr>
        <p:txBody>
          <a:bodyPr wrap="square" lIns="182880" tIns="0" rIns="0" bIns="0" rtlCol="0">
            <a:spAutoFit/>
          </a:bodyPr>
          <a:lstStyle/>
          <a:p>
            <a:pPr defTabSz="932559"/>
            <a:r>
              <a:rPr lang="en-US" sz="2400" dirty="0">
                <a:solidFill>
                  <a:schemeClr val="bg2">
                    <a:lumMod val="20000"/>
                    <a:lumOff val="80000"/>
                  </a:schemeClr>
                </a:solidFill>
                <a:cs typeface="Segoe UI Light" panose="020B0502040204020203" pitchFamily="34" charset="0"/>
              </a:rPr>
              <a:t>Huge technical integration </a:t>
            </a:r>
            <a:r>
              <a:rPr lang="en-US" sz="2400" dirty="0">
                <a:gradFill>
                  <a:gsLst>
                    <a:gs pos="1250">
                      <a:srgbClr val="FFFFFF"/>
                    </a:gs>
                    <a:gs pos="100000">
                      <a:srgbClr val="FFFFFF"/>
                    </a:gs>
                  </a:gsLst>
                  <a:lin ang="5400000" scaled="0"/>
                </a:gradFill>
                <a:cs typeface="Segoe UI" panose="020B0502040204020203" pitchFamily="34" charset="0"/>
              </a:rPr>
              <a:t>challenges</a:t>
            </a:r>
          </a:p>
        </p:txBody>
      </p:sp>
      <p:sp>
        <p:nvSpPr>
          <p:cNvPr id="14" name="Title 1"/>
          <p:cNvSpPr txBox="1">
            <a:spLocks/>
          </p:cNvSpPr>
          <p:nvPr/>
        </p:nvSpPr>
        <p:spPr>
          <a:xfrm>
            <a:off x="8244306" y="3038475"/>
            <a:ext cx="4118964" cy="917575"/>
          </a:xfrm>
          <a:prstGeom prst="rect">
            <a:avLst/>
          </a:prstGeom>
        </p:spPr>
        <p:txBody>
          <a:bodyPr vert="horz" wrap="square" lIns="274320"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4300">
                <a:gradFill>
                  <a:gsLst>
                    <a:gs pos="1250">
                      <a:srgbClr val="FFFFFF">
                        <a:alpha val="70000"/>
                      </a:srgbClr>
                    </a:gs>
                    <a:gs pos="100000">
                      <a:srgbClr val="FFFFFF">
                        <a:alpha val="70000"/>
                      </a:srgbClr>
                    </a:gs>
                  </a:gsLst>
                  <a:lin ang="5400000" scaled="0"/>
                </a:gradFill>
                <a:effectLst>
                  <a:outerShdw blurRad="228600" sx="102000" sy="102000" algn="ctr" rotWithShape="0">
                    <a:srgbClr val="275364">
                      <a:alpha val="61000"/>
                    </a:srgbClr>
                  </a:outerShdw>
                </a:effectLst>
                <a:latin typeface="Segoe UI Semilight" panose="020B0402040204020203" pitchFamily="34" charset="0"/>
                <a:cs typeface="Segoe UI Semilight" panose="020B0402040204020203" pitchFamily="34" charset="0"/>
              </a:rPr>
              <a:t>Organizationally, it’s a </a:t>
            </a:r>
            <a:r>
              <a:rPr sz="4300">
                <a:gradFill>
                  <a:gsLst>
                    <a:gs pos="1250">
                      <a:srgbClr val="FFFFFF"/>
                    </a:gs>
                    <a:gs pos="100000">
                      <a:srgbClr val="FFFFFF"/>
                    </a:gs>
                  </a:gsLst>
                  <a:lin ang="5400000" scaled="0"/>
                </a:gradFill>
                <a:effectLst>
                  <a:outerShdw blurRad="228600" sx="102000" sy="102000" algn="ctr" rotWithShape="0">
                    <a:srgbClr val="275364">
                      <a:alpha val="61000"/>
                    </a:srgbClr>
                  </a:outerShdw>
                </a:effectLst>
                <a:latin typeface="Segoe UI Semilight" panose="020B0402040204020203" pitchFamily="34" charset="0"/>
                <a:cs typeface="Segoe UI Semilight" panose="020B0402040204020203" pitchFamily="34" charset="0"/>
              </a:rPr>
              <a:t>hard problem </a:t>
            </a:r>
            <a:r>
              <a:rPr sz="4300">
                <a:gradFill>
                  <a:gsLst>
                    <a:gs pos="1250">
                      <a:srgbClr val="FFFFFF">
                        <a:alpha val="70000"/>
                      </a:srgbClr>
                    </a:gs>
                    <a:gs pos="100000">
                      <a:srgbClr val="FFFFFF">
                        <a:alpha val="70000"/>
                      </a:srgbClr>
                    </a:gs>
                  </a:gsLst>
                  <a:lin ang="5400000" scaled="0"/>
                </a:gradFill>
                <a:effectLst>
                  <a:outerShdw blurRad="228600" sx="102000" sy="102000" algn="ctr" rotWithShape="0">
                    <a:srgbClr val="275364">
                      <a:alpha val="61000"/>
                    </a:srgbClr>
                  </a:outerShdw>
                </a:effectLst>
                <a:latin typeface="Segoe UI Semilight" panose="020B0402040204020203" pitchFamily="34" charset="0"/>
                <a:cs typeface="Segoe UI Semilight" panose="020B0402040204020203" pitchFamily="34" charset="0"/>
              </a:rPr>
              <a:t>too</a:t>
            </a:r>
          </a:p>
        </p:txBody>
      </p:sp>
    </p:spTree>
    <p:extLst>
      <p:ext uri="{BB962C8B-B14F-4D97-AF65-F5344CB8AC3E}">
        <p14:creationId xmlns:p14="http://schemas.microsoft.com/office/powerpoint/2010/main" val="2727527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2" presetClass="entr" presetSubtype="8" decel="10000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 calcmode="lin" valueType="num">
                                      <p:cBhvr additive="base">
                                        <p:cTn id="10" dur="500" fill="hold"/>
                                        <p:tgtEl>
                                          <p:spTgt spid="8"/>
                                        </p:tgtEl>
                                        <p:attrNameLst>
                                          <p:attrName>ppt_x</p:attrName>
                                        </p:attrNameLst>
                                      </p:cBhvr>
                                      <p:tavLst>
                                        <p:tav tm="0">
                                          <p:val>
                                            <p:strVal val="0-#ppt_w/2"/>
                                          </p:val>
                                        </p:tav>
                                        <p:tav tm="100000">
                                          <p:val>
                                            <p:strVal val="#ppt_x"/>
                                          </p:val>
                                        </p:tav>
                                      </p:tavLst>
                                    </p:anim>
                                    <p:anim calcmode="lin" valueType="num">
                                      <p:cBhvr additive="base">
                                        <p:cTn id="11" dur="500" fill="hold"/>
                                        <p:tgtEl>
                                          <p:spTgt spid="8"/>
                                        </p:tgtEl>
                                        <p:attrNameLst>
                                          <p:attrName>ppt_y</p:attrName>
                                        </p:attrNameLst>
                                      </p:cBhvr>
                                      <p:tavLst>
                                        <p:tav tm="0">
                                          <p:val>
                                            <p:strVal val="#ppt_y"/>
                                          </p:val>
                                        </p:tav>
                                        <p:tav tm="100000">
                                          <p:val>
                                            <p:strVal val="#ppt_y"/>
                                          </p:val>
                                        </p:tav>
                                      </p:tavLst>
                                    </p:anim>
                                  </p:childTnLst>
                                </p:cTn>
                              </p:par>
                              <p:par>
                                <p:cTn id="12" presetID="10" presetClass="entr" presetSubtype="0" fill="hold" grpId="0" nodeType="withEffect">
                                  <p:stCondLst>
                                    <p:cond delay="50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par>
                                <p:cTn id="15" presetID="63" presetClass="path" presetSubtype="0" decel="100000" fill="hold" grpId="1" nodeType="withEffect">
                                  <p:stCondLst>
                                    <p:cond delay="500"/>
                                  </p:stCondLst>
                                  <p:childTnLst>
                                    <p:animMotion origin="layout" path="M 3.22951E-6 -1.77031E-6 L 0.018 -1.77031E-6 " pathEditMode="relative" rAng="0" ptsTypes="AA">
                                      <p:cBhvr>
                                        <p:cTn id="16" dur="500" spd="-100000" fill="hold"/>
                                        <p:tgtEl>
                                          <p:spTgt spid="14"/>
                                        </p:tgtEl>
                                        <p:attrNameLst>
                                          <p:attrName>ppt_x</p:attrName>
                                          <p:attrName>ppt_y</p:attrName>
                                        </p:attrNameLst>
                                      </p:cBhvr>
                                      <p:rCtr x="894" y="0"/>
                                    </p:animMotion>
                                  </p:childTnLst>
                                </p:cTn>
                              </p:par>
                            </p:childTnLst>
                          </p:cTn>
                        </p:par>
                        <p:par>
                          <p:cTn id="17" fill="hold">
                            <p:stCondLst>
                              <p:cond delay="1000"/>
                            </p:stCondLst>
                            <p:childTnLst>
                              <p:par>
                                <p:cTn id="18" presetID="10" presetClass="entr" presetSubtype="0" fill="hold" grpId="0" nodeType="after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fade">
                                      <p:cBhvr>
                                        <p:cTn id="20" dur="500"/>
                                        <p:tgtEl>
                                          <p:spTgt spid="10"/>
                                        </p:tgtEl>
                                      </p:cBhvr>
                                    </p:animEffect>
                                  </p:childTnLst>
                                </p:cTn>
                              </p:par>
                              <p:par>
                                <p:cTn id="21" presetID="42" presetClass="path" presetSubtype="0" decel="100000" fill="hold" grpId="1" nodeType="withEffect">
                                  <p:stCondLst>
                                    <p:cond delay="0"/>
                                  </p:stCondLst>
                                  <p:childTnLst>
                                    <p:animMotion origin="layout" path="M -1.83304E-6 1.82025E-6 L -1.83304E-6 0.03064 " pathEditMode="relative" rAng="0" ptsTypes="AA">
                                      <p:cBhvr>
                                        <p:cTn id="22" dur="500" spd="-100000" fill="hold"/>
                                        <p:tgtEl>
                                          <p:spTgt spid="10"/>
                                        </p:tgtEl>
                                        <p:attrNameLst>
                                          <p:attrName>ppt_x</p:attrName>
                                          <p:attrName>ppt_y</p:attrName>
                                        </p:attrNameLst>
                                      </p:cBhvr>
                                      <p:rCtr x="0" y="1521"/>
                                    </p:animMotion>
                                  </p:childTnLst>
                                </p:cTn>
                              </p:par>
                              <p:par>
                                <p:cTn id="23" presetID="10" presetClass="entr" presetSubtype="0" fill="hold" grpId="0" nodeType="withEffect">
                                  <p:stCondLst>
                                    <p:cond delay="10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500"/>
                                        <p:tgtEl>
                                          <p:spTgt spid="11"/>
                                        </p:tgtEl>
                                      </p:cBhvr>
                                    </p:animEffect>
                                  </p:childTnLst>
                                </p:cTn>
                              </p:par>
                              <p:par>
                                <p:cTn id="26" presetID="42" presetClass="path" presetSubtype="0" decel="100000" fill="hold" grpId="1" nodeType="withEffect">
                                  <p:stCondLst>
                                    <p:cond delay="100"/>
                                  </p:stCondLst>
                                  <p:childTnLst>
                                    <p:animMotion origin="layout" path="M -1.83304E-6 1.82025E-6 L -1.83304E-6 0.03064 " pathEditMode="relative" rAng="0" ptsTypes="AA">
                                      <p:cBhvr>
                                        <p:cTn id="27" dur="500" spd="-100000" fill="hold"/>
                                        <p:tgtEl>
                                          <p:spTgt spid="11"/>
                                        </p:tgtEl>
                                        <p:attrNameLst>
                                          <p:attrName>ppt_x</p:attrName>
                                          <p:attrName>ppt_y</p:attrName>
                                        </p:attrNameLst>
                                      </p:cBhvr>
                                      <p:rCtr x="0" y="1521"/>
                                    </p:animMotion>
                                  </p:childTnLst>
                                </p:cTn>
                              </p:par>
                              <p:par>
                                <p:cTn id="28" presetID="10" presetClass="entr" presetSubtype="0" fill="hold" grpId="0" nodeType="withEffect">
                                  <p:stCondLst>
                                    <p:cond delay="20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500"/>
                                        <p:tgtEl>
                                          <p:spTgt spid="13"/>
                                        </p:tgtEl>
                                      </p:cBhvr>
                                    </p:animEffect>
                                  </p:childTnLst>
                                </p:cTn>
                              </p:par>
                              <p:par>
                                <p:cTn id="31" presetID="42" presetClass="path" presetSubtype="0" decel="100000" fill="hold" grpId="1" nodeType="withEffect">
                                  <p:stCondLst>
                                    <p:cond delay="200"/>
                                  </p:stCondLst>
                                  <p:childTnLst>
                                    <p:animMotion origin="layout" path="M -1.83304E-6 1.82025E-6 L -1.83304E-6 0.03064 " pathEditMode="relative" rAng="0" ptsTypes="AA">
                                      <p:cBhvr>
                                        <p:cTn id="32" dur="500" spd="-100000" fill="hold"/>
                                        <p:tgtEl>
                                          <p:spTgt spid="13"/>
                                        </p:tgtEl>
                                        <p:attrNameLst>
                                          <p:attrName>ppt_x</p:attrName>
                                          <p:attrName>ppt_y</p:attrName>
                                        </p:attrNameLst>
                                      </p:cBhvr>
                                      <p:rCtr x="0" y="1521"/>
                                    </p:animMotion>
                                  </p:childTnLst>
                                </p:cTn>
                              </p:par>
                              <p:par>
                                <p:cTn id="33" presetID="10" presetClass="entr" presetSubtype="0" fill="hold" grpId="0" nodeType="withEffect">
                                  <p:stCondLst>
                                    <p:cond delay="30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par>
                                <p:cTn id="36" presetID="42" presetClass="path" presetSubtype="0" decel="100000" fill="hold" grpId="1" nodeType="withEffect">
                                  <p:stCondLst>
                                    <p:cond delay="300"/>
                                  </p:stCondLst>
                                  <p:childTnLst>
                                    <p:animMotion origin="layout" path="M -1.83304E-6 1.82025E-6 L -1.83304E-6 0.03064 " pathEditMode="relative" rAng="0" ptsTypes="AA">
                                      <p:cBhvr>
                                        <p:cTn id="37" dur="500" spd="-100000" fill="hold"/>
                                        <p:tgtEl>
                                          <p:spTgt spid="12"/>
                                        </p:tgtEl>
                                        <p:attrNameLst>
                                          <p:attrName>ppt_x</p:attrName>
                                          <p:attrName>ppt_y</p:attrName>
                                        </p:attrNameLst>
                                      </p:cBhvr>
                                      <p:rCtr x="0" y="152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8" grpId="0" animBg="1"/>
      <p:bldP spid="10" grpId="0"/>
      <p:bldP spid="10" grpId="1"/>
      <p:bldP spid="11" grpId="0"/>
      <p:bldP spid="11" grpId="1"/>
      <p:bldP spid="12" grpId="0"/>
      <p:bldP spid="12" grpId="1"/>
      <p:bldP spid="13" grpId="0"/>
      <p:bldP spid="13" grpId="1"/>
      <p:bldP spid="14" grpId="0"/>
      <p:bldP spid="14" grpId="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435840" cy="6995160"/>
          </a:xfrm>
          <a:prstGeom prst="rect">
            <a:avLst/>
          </a:prstGeom>
        </p:spPr>
      </p:pic>
      <p:sp>
        <p:nvSpPr>
          <p:cNvPr id="9" name="Rectangle 8"/>
          <p:cNvSpPr/>
          <p:nvPr/>
        </p:nvSpPr>
        <p:spPr bwMode="auto">
          <a:xfrm>
            <a:off x="0" y="0"/>
            <a:ext cx="12436475" cy="6995159"/>
          </a:xfrm>
          <a:prstGeom prst="rect">
            <a:avLst/>
          </a:prstGeom>
          <a:solidFill>
            <a:srgbClr val="275364">
              <a:alpha val="50000"/>
            </a:srgb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6" name="Rectangle 15"/>
          <p:cNvSpPr/>
          <p:nvPr/>
        </p:nvSpPr>
        <p:spPr bwMode="auto">
          <a:xfrm>
            <a:off x="0" y="0"/>
            <a:ext cx="6610892" cy="6994525"/>
          </a:xfrm>
          <a:prstGeom prst="rect">
            <a:avLst/>
          </a:prstGeom>
          <a:gradFill flip="none" rotWithShape="1">
            <a:gsLst>
              <a:gs pos="0">
                <a:srgbClr val="101F28">
                  <a:alpha val="51000"/>
                </a:srgbClr>
              </a:gs>
              <a:gs pos="88000">
                <a:srgbClr val="101F28">
                  <a:alpha val="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 name="Rectangle 7"/>
          <p:cNvSpPr/>
          <p:nvPr/>
        </p:nvSpPr>
        <p:spPr bwMode="auto">
          <a:xfrm>
            <a:off x="0" y="0"/>
            <a:ext cx="8297826" cy="6994526"/>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TextBox 9"/>
          <p:cNvSpPr txBox="1"/>
          <p:nvPr/>
        </p:nvSpPr>
        <p:spPr>
          <a:xfrm>
            <a:off x="457198" y="2141021"/>
            <a:ext cx="7551740" cy="369332"/>
          </a:xfrm>
          <a:prstGeom prst="rect">
            <a:avLst/>
          </a:prstGeom>
          <a:noFill/>
        </p:spPr>
        <p:txBody>
          <a:bodyPr wrap="square" lIns="182880" tIns="0" rIns="0" bIns="0" rtlCol="0">
            <a:spAutoFit/>
          </a:bodyPr>
          <a:lstStyle/>
          <a:p>
            <a:r>
              <a:rPr lang="en-US" sz="2400" dirty="0">
                <a:solidFill>
                  <a:schemeClr val="bg2">
                    <a:lumMod val="20000"/>
                    <a:lumOff val="80000"/>
                  </a:schemeClr>
                </a:solidFill>
                <a:cs typeface="Segoe UI Light" panose="020B0502040204020203" pitchFamily="34" charset="0"/>
              </a:rPr>
              <a:t>Qi Lu was brought on board—a new perspective </a:t>
            </a:r>
          </a:p>
        </p:txBody>
      </p:sp>
      <p:sp>
        <p:nvSpPr>
          <p:cNvPr id="11" name="TextBox 10"/>
          <p:cNvSpPr txBox="1"/>
          <p:nvPr/>
        </p:nvSpPr>
        <p:spPr>
          <a:xfrm>
            <a:off x="457198" y="2922071"/>
            <a:ext cx="7132639" cy="369332"/>
          </a:xfrm>
          <a:prstGeom prst="rect">
            <a:avLst/>
          </a:prstGeom>
          <a:noFill/>
        </p:spPr>
        <p:txBody>
          <a:bodyPr wrap="square" lIns="182880" tIns="0" rIns="0" bIns="0" rtlCol="0">
            <a:spAutoFit/>
          </a:bodyPr>
          <a:lstStyle/>
          <a:p>
            <a:pPr defTabSz="932559"/>
            <a:r>
              <a:rPr lang="en-US" sz="2400" dirty="0">
                <a:solidFill>
                  <a:schemeClr val="bg2">
                    <a:lumMod val="20000"/>
                    <a:lumOff val="80000"/>
                  </a:schemeClr>
                </a:solidFill>
                <a:cs typeface="Segoe UI Light" panose="020B0502040204020203" pitchFamily="34" charset="0"/>
              </a:rPr>
              <a:t>Laser focused on measuring relevance (NDCG)</a:t>
            </a:r>
          </a:p>
        </p:txBody>
      </p:sp>
      <p:sp>
        <p:nvSpPr>
          <p:cNvPr id="12" name="TextBox 11"/>
          <p:cNvSpPr txBox="1"/>
          <p:nvPr/>
        </p:nvSpPr>
        <p:spPr>
          <a:xfrm>
            <a:off x="457198" y="4484171"/>
            <a:ext cx="7132639" cy="369332"/>
          </a:xfrm>
          <a:prstGeom prst="rect">
            <a:avLst/>
          </a:prstGeom>
          <a:noFill/>
        </p:spPr>
        <p:txBody>
          <a:bodyPr wrap="square" lIns="182880" tIns="0" rIns="0" bIns="0" rtlCol="0">
            <a:spAutoFit/>
          </a:bodyPr>
          <a:lstStyle/>
          <a:p>
            <a:pPr defTabSz="932559"/>
            <a:r>
              <a:rPr lang="en-US" sz="2400" dirty="0">
                <a:solidFill>
                  <a:schemeClr val="bg2">
                    <a:lumMod val="20000"/>
                    <a:lumOff val="80000"/>
                  </a:schemeClr>
                </a:solidFill>
                <a:cs typeface="Segoe UI Light" panose="020B0502040204020203" pitchFamily="34" charset="0"/>
              </a:rPr>
              <a:t>Empower everyone to explore (100x people)</a:t>
            </a:r>
          </a:p>
        </p:txBody>
      </p:sp>
      <p:sp>
        <p:nvSpPr>
          <p:cNvPr id="13" name="TextBox 12"/>
          <p:cNvSpPr txBox="1"/>
          <p:nvPr/>
        </p:nvSpPr>
        <p:spPr>
          <a:xfrm>
            <a:off x="457198" y="3703121"/>
            <a:ext cx="7714538" cy="369332"/>
          </a:xfrm>
          <a:prstGeom prst="rect">
            <a:avLst/>
          </a:prstGeom>
          <a:noFill/>
        </p:spPr>
        <p:txBody>
          <a:bodyPr wrap="square" lIns="182880" tIns="0" rIns="0" bIns="0" rtlCol="0">
            <a:spAutoFit/>
          </a:bodyPr>
          <a:lstStyle/>
          <a:p>
            <a:pPr defTabSz="932559"/>
            <a:r>
              <a:rPr lang="en-US" sz="2400" dirty="0">
                <a:solidFill>
                  <a:schemeClr val="bg2">
                    <a:lumMod val="20000"/>
                    <a:lumOff val="80000"/>
                  </a:schemeClr>
                </a:solidFill>
                <a:cs typeface="Segoe UI Light" panose="020B0502040204020203" pitchFamily="34" charset="0"/>
              </a:rPr>
              <a:t>Measure the rate of exploration (count of experiments)</a:t>
            </a:r>
          </a:p>
        </p:txBody>
      </p:sp>
      <p:sp>
        <p:nvSpPr>
          <p:cNvPr id="14" name="Title 1"/>
          <p:cNvSpPr txBox="1">
            <a:spLocks/>
          </p:cNvSpPr>
          <p:nvPr/>
        </p:nvSpPr>
        <p:spPr>
          <a:xfrm>
            <a:off x="8244306" y="3038475"/>
            <a:ext cx="4118964" cy="917575"/>
          </a:xfrm>
          <a:prstGeom prst="rect">
            <a:avLst/>
          </a:prstGeom>
        </p:spPr>
        <p:txBody>
          <a:bodyPr vert="horz" wrap="square" lIns="274320"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4300">
                <a:gradFill>
                  <a:gsLst>
                    <a:gs pos="1250">
                      <a:srgbClr val="FFFFFF">
                        <a:alpha val="70000"/>
                      </a:srgbClr>
                    </a:gs>
                    <a:gs pos="100000">
                      <a:srgbClr val="FFFFFF">
                        <a:alpha val="70000"/>
                      </a:srgbClr>
                    </a:gs>
                  </a:gsLst>
                  <a:lin ang="5400000" scaled="0"/>
                </a:gradFill>
                <a:effectLst>
                  <a:outerShdw blurRad="228600" sx="102000" sy="102000" algn="ctr" rotWithShape="0">
                    <a:srgbClr val="275364">
                      <a:alpha val="61000"/>
                    </a:srgbClr>
                  </a:outerShdw>
                </a:effectLst>
                <a:latin typeface="Segoe UI Semilight" panose="020B0402040204020203" pitchFamily="34" charset="0"/>
                <a:cs typeface="Segoe UI Semilight" panose="020B0402040204020203" pitchFamily="34" charset="0"/>
              </a:rPr>
              <a:t>So, what did we do </a:t>
            </a:r>
            <a:r>
              <a:rPr sz="4300">
                <a:gradFill>
                  <a:gsLst>
                    <a:gs pos="1250">
                      <a:srgbClr val="FFFFFF"/>
                    </a:gs>
                    <a:gs pos="100000">
                      <a:srgbClr val="FFFFFF"/>
                    </a:gs>
                  </a:gsLst>
                  <a:lin ang="5400000" scaled="0"/>
                </a:gradFill>
                <a:effectLst>
                  <a:outerShdw blurRad="228600" sx="102000" sy="102000" algn="ctr" rotWithShape="0">
                    <a:srgbClr val="275364">
                      <a:alpha val="61000"/>
                    </a:srgbClr>
                  </a:outerShdw>
                </a:effectLst>
                <a:latin typeface="Segoe UI Semilight" panose="020B0402040204020203" pitchFamily="34" charset="0"/>
                <a:cs typeface="Segoe UI Semilight" panose="020B0402040204020203" pitchFamily="34" charset="0"/>
              </a:rPr>
              <a:t>differently</a:t>
            </a:r>
            <a:r>
              <a:rPr sz="4300">
                <a:gradFill>
                  <a:gsLst>
                    <a:gs pos="1250">
                      <a:srgbClr val="FFFFFF">
                        <a:alpha val="70000"/>
                      </a:srgbClr>
                    </a:gs>
                    <a:gs pos="100000">
                      <a:srgbClr val="FFFFFF">
                        <a:alpha val="70000"/>
                      </a:srgbClr>
                    </a:gs>
                  </a:gsLst>
                  <a:lin ang="5400000" scaled="0"/>
                </a:gradFill>
                <a:effectLst>
                  <a:outerShdw blurRad="228600" sx="102000" sy="102000" algn="ctr" rotWithShape="0">
                    <a:srgbClr val="275364">
                      <a:alpha val="61000"/>
                    </a:srgbClr>
                  </a:outerShdw>
                </a:effectLst>
                <a:latin typeface="Segoe UI Semilight" panose="020B0402040204020203" pitchFamily="34" charset="0"/>
                <a:cs typeface="Segoe UI Semilight" panose="020B0402040204020203" pitchFamily="34" charset="0"/>
              </a:rPr>
              <a:t>?</a:t>
            </a:r>
          </a:p>
        </p:txBody>
      </p:sp>
    </p:spTree>
    <p:extLst>
      <p:ext uri="{BB962C8B-B14F-4D97-AF65-F5344CB8AC3E}">
        <p14:creationId xmlns:p14="http://schemas.microsoft.com/office/powerpoint/2010/main" val="1106689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grpId="1" nodeType="withEffect">
                                  <p:stCondLst>
                                    <p:cond delay="0"/>
                                  </p:stCondLst>
                                  <p:childTnLst>
                                    <p:animMotion origin="layout" path="M -1.46285E-6 1.13028E-6 L -1.46285E-6 0.03064 " pathEditMode="relative" rAng="0" ptsTypes="AA">
                                      <p:cBhvr>
                                        <p:cTn id="9" dur="500" spd="-100000" fill="hold"/>
                                        <p:tgtEl>
                                          <p:spTgt spid="10"/>
                                        </p:tgtEl>
                                        <p:attrNameLst>
                                          <p:attrName>ppt_x</p:attrName>
                                          <p:attrName>ppt_y</p:attrName>
                                        </p:attrNameLst>
                                      </p:cBhvr>
                                      <p:rCtr x="0" y="1521"/>
                                    </p:animMotion>
                                  </p:childTnLst>
                                </p:cTn>
                              </p:par>
                              <p:par>
                                <p:cTn id="10" presetID="10" presetClass="entr" presetSubtype="0" fill="hold" grpId="0" nodeType="withEffect">
                                  <p:stCondLst>
                                    <p:cond delay="10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par>
                                <p:cTn id="13" presetID="42" presetClass="path" presetSubtype="0" decel="100000" fill="hold" grpId="1" nodeType="withEffect">
                                  <p:stCondLst>
                                    <p:cond delay="100"/>
                                  </p:stCondLst>
                                  <p:childTnLst>
                                    <p:animMotion origin="layout" path="M -1.83304E-6 1.82025E-6 L -1.83304E-6 0.03064 " pathEditMode="relative" rAng="0" ptsTypes="AA">
                                      <p:cBhvr>
                                        <p:cTn id="14" dur="500" spd="-100000" fill="hold"/>
                                        <p:tgtEl>
                                          <p:spTgt spid="11"/>
                                        </p:tgtEl>
                                        <p:attrNameLst>
                                          <p:attrName>ppt_x</p:attrName>
                                          <p:attrName>ppt_y</p:attrName>
                                        </p:attrNameLst>
                                      </p:cBhvr>
                                      <p:rCtr x="0" y="1521"/>
                                    </p:animMotion>
                                  </p:childTnLst>
                                </p:cTn>
                              </p:par>
                              <p:par>
                                <p:cTn id="15" presetID="10" presetClass="entr" presetSubtype="0" fill="hold" grpId="0" nodeType="withEffect">
                                  <p:stCondLst>
                                    <p:cond delay="20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par>
                                <p:cTn id="18" presetID="42" presetClass="path" presetSubtype="0" decel="100000" fill="hold" grpId="1" nodeType="withEffect">
                                  <p:stCondLst>
                                    <p:cond delay="200"/>
                                  </p:stCondLst>
                                  <p:childTnLst>
                                    <p:animMotion origin="layout" path="M 8.04187E-7 -6.89968E-7 L 8.04187E-7 0.03064 " pathEditMode="relative" rAng="0" ptsTypes="AA">
                                      <p:cBhvr>
                                        <p:cTn id="19" dur="500" spd="-100000" fill="hold"/>
                                        <p:tgtEl>
                                          <p:spTgt spid="13"/>
                                        </p:tgtEl>
                                        <p:attrNameLst>
                                          <p:attrName>ppt_x</p:attrName>
                                          <p:attrName>ppt_y</p:attrName>
                                        </p:attrNameLst>
                                      </p:cBhvr>
                                      <p:rCtr x="0" y="1521"/>
                                    </p:animMotion>
                                  </p:childTnLst>
                                </p:cTn>
                              </p:par>
                              <p:par>
                                <p:cTn id="20" presetID="10" presetClass="entr" presetSubtype="0" fill="hold" grpId="0" nodeType="withEffect">
                                  <p:stCondLst>
                                    <p:cond delay="30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par>
                                <p:cTn id="23" presetID="42" presetClass="path" presetSubtype="0" decel="100000" fill="hold" grpId="1" nodeType="withEffect">
                                  <p:stCondLst>
                                    <p:cond delay="300"/>
                                  </p:stCondLst>
                                  <p:childTnLst>
                                    <p:animMotion origin="layout" path="M -1.83304E-6 -4.08534E-7 L -1.83304E-6 0.03064 " pathEditMode="relative" rAng="0" ptsTypes="AA">
                                      <p:cBhvr>
                                        <p:cTn id="24" dur="500" spd="-100000" fill="hold"/>
                                        <p:tgtEl>
                                          <p:spTgt spid="12"/>
                                        </p:tgtEl>
                                        <p:attrNameLst>
                                          <p:attrName>ppt_x</p:attrName>
                                          <p:attrName>ppt_y</p:attrName>
                                        </p:attrNameLst>
                                      </p:cBhvr>
                                      <p:rCtr x="0" y="152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P spid="11" grpId="0"/>
      <p:bldP spid="11" grpId="1"/>
      <p:bldP spid="12" grpId="0"/>
      <p:bldP spid="12" grpId="1"/>
      <p:bldP spid="13" grpId="0"/>
      <p:bldP spid="13" grpId="1"/>
    </p:bldLst>
  </p:timing>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pic>
        <p:nvPicPr>
          <p:cNvPr id="17" name="Picture 1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4149089" y="0"/>
            <a:ext cx="8287385" cy="6994525"/>
          </a:xfrm>
          <a:prstGeom prst="rect">
            <a:avLst/>
          </a:prstGeom>
        </p:spPr>
      </p:pic>
      <p:sp>
        <p:nvSpPr>
          <p:cNvPr id="3" name="Rectangle 2"/>
          <p:cNvSpPr/>
          <p:nvPr/>
        </p:nvSpPr>
        <p:spPr bwMode="auto">
          <a:xfrm>
            <a:off x="4148138" y="0"/>
            <a:ext cx="4645666" cy="6994525"/>
          </a:xfrm>
          <a:prstGeom prst="rect">
            <a:avLst/>
          </a:prstGeom>
          <a:gradFill flip="none" rotWithShape="1">
            <a:gsLst>
              <a:gs pos="0">
                <a:srgbClr val="0B0C13">
                  <a:alpha val="63000"/>
                </a:srgbClr>
              </a:gs>
              <a:gs pos="88000">
                <a:srgbClr val="0B0C13">
                  <a:alpha val="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1" name="Rectangle 10"/>
          <p:cNvSpPr/>
          <p:nvPr/>
        </p:nvSpPr>
        <p:spPr bwMode="auto">
          <a:xfrm>
            <a:off x="4148138" y="0"/>
            <a:ext cx="2527300" cy="6994525"/>
          </a:xfrm>
          <a:prstGeom prst="rect">
            <a:avLst/>
          </a:prstGeom>
          <a:gradFill flip="none" rotWithShape="1">
            <a:gsLst>
              <a:gs pos="0">
                <a:srgbClr val="0B0C13">
                  <a:alpha val="63000"/>
                </a:srgbClr>
              </a:gs>
              <a:gs pos="88000">
                <a:srgbClr val="0B0C13">
                  <a:alpha val="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3" name="Rectangle 12"/>
          <p:cNvSpPr/>
          <p:nvPr/>
        </p:nvSpPr>
        <p:spPr bwMode="auto">
          <a:xfrm>
            <a:off x="0" y="0"/>
            <a:ext cx="8297826" cy="6994526"/>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 name="Rectangle 4"/>
          <p:cNvSpPr/>
          <p:nvPr/>
        </p:nvSpPr>
        <p:spPr bwMode="auto">
          <a:xfrm>
            <a:off x="0" y="0"/>
            <a:ext cx="4148138" cy="6994526"/>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 name="Title 1"/>
          <p:cNvSpPr txBox="1">
            <a:spLocks/>
          </p:cNvSpPr>
          <p:nvPr/>
        </p:nvSpPr>
        <p:spPr>
          <a:xfrm>
            <a:off x="4123576" y="3038475"/>
            <a:ext cx="8000981" cy="917575"/>
          </a:xfrm>
          <a:prstGeom prst="rect">
            <a:avLst/>
          </a:prstGeom>
        </p:spPr>
        <p:txBody>
          <a:bodyPr vert="horz" wrap="square" lIns="274320"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a:gradFill>
                  <a:gsLst>
                    <a:gs pos="0">
                      <a:srgbClr val="FFFFFF"/>
                    </a:gs>
                    <a:gs pos="88000">
                      <a:srgbClr val="FFFFFF"/>
                    </a:gs>
                  </a:gsLst>
                  <a:lin ang="5400000" scaled="0"/>
                </a:gradFill>
                <a:cs typeface="Segoe UI Semilight" panose="020B0402040204020203" pitchFamily="34" charset="0"/>
              </a:rPr>
              <a:t>Infrastructure </a:t>
            </a:r>
            <a:br>
              <a:rPr>
                <a:gradFill>
                  <a:gsLst>
                    <a:gs pos="0">
                      <a:srgbClr val="FFFFFF"/>
                    </a:gs>
                    <a:gs pos="88000">
                      <a:srgbClr val="FFFFFF"/>
                    </a:gs>
                  </a:gsLst>
                  <a:lin ang="5400000" scaled="0"/>
                </a:gradFill>
                <a:cs typeface="Segoe UI Semilight" panose="020B0402040204020203" pitchFamily="34" charset="0"/>
              </a:rPr>
            </a:br>
            <a:r>
              <a:rPr>
                <a:gradFill>
                  <a:gsLst>
                    <a:gs pos="0">
                      <a:srgbClr val="FFFFFF"/>
                    </a:gs>
                    <a:gs pos="88000">
                      <a:srgbClr val="FFFFFF"/>
                    </a:gs>
                  </a:gsLst>
                  <a:lin ang="5400000" scaled="0"/>
                </a:gradFill>
                <a:cs typeface="Segoe UI Semilight" panose="020B0402040204020203" pitchFamily="34" charset="0"/>
              </a:rPr>
              <a:t>investments </a:t>
            </a:r>
            <a:br>
              <a:rPr>
                <a:gradFill>
                  <a:gsLst>
                    <a:gs pos="0">
                      <a:srgbClr val="FFFFFF"/>
                    </a:gs>
                    <a:gs pos="88000">
                      <a:srgbClr val="FFFFFF"/>
                    </a:gs>
                  </a:gsLst>
                  <a:lin ang="5400000" scaled="0"/>
                </a:gradFill>
                <a:cs typeface="Segoe UI Semilight" panose="020B0402040204020203" pitchFamily="34" charset="0"/>
              </a:rPr>
            </a:br>
            <a:r>
              <a:rPr>
                <a:gradFill>
                  <a:gsLst>
                    <a:gs pos="0">
                      <a:srgbClr val="FFFFFF"/>
                    </a:gs>
                    <a:gs pos="88000">
                      <a:srgbClr val="FFFFFF"/>
                    </a:gs>
                  </a:gsLst>
                  <a:lin ang="5400000" scaled="0"/>
                </a:gradFill>
                <a:cs typeface="Segoe UI Semilight" panose="020B0402040204020203" pitchFamily="34" charset="0"/>
              </a:rPr>
              <a:t>are risky</a:t>
            </a:r>
          </a:p>
        </p:txBody>
      </p:sp>
      <p:sp>
        <p:nvSpPr>
          <p:cNvPr id="7" name="TextBox 6"/>
          <p:cNvSpPr txBox="1"/>
          <p:nvPr/>
        </p:nvSpPr>
        <p:spPr>
          <a:xfrm>
            <a:off x="286721" y="1866184"/>
            <a:ext cx="3475040" cy="1107996"/>
          </a:xfrm>
          <a:prstGeom prst="rect">
            <a:avLst/>
          </a:prstGeom>
          <a:noFill/>
        </p:spPr>
        <p:txBody>
          <a:bodyPr wrap="square" lIns="182880" tIns="0" rIns="0" bIns="0" rtlCol="0">
            <a:spAutoFit/>
          </a:bodyPr>
          <a:lstStyle/>
          <a:p>
            <a:pPr defTabSz="932559">
              <a:lnSpc>
                <a:spcPct val="90000"/>
              </a:lnSpc>
            </a:pPr>
            <a:r>
              <a:rPr lang="en-US" sz="2000" dirty="0">
                <a:gradFill>
                  <a:gsLst>
                    <a:gs pos="2655">
                      <a:srgbClr val="FFFFFF"/>
                    </a:gs>
                    <a:gs pos="20000">
                      <a:srgbClr val="FFFFFF"/>
                    </a:gs>
                  </a:gsLst>
                  <a:lin ang="0" scaled="1"/>
                </a:gradFill>
                <a:cs typeface="Segoe UI" panose="020B0502040204020203" pitchFamily="34" charset="0"/>
              </a:rPr>
              <a:t>Built an </a:t>
            </a:r>
            <a:r>
              <a:rPr lang="en-US" sz="2000" dirty="0" err="1">
                <a:gradFill>
                  <a:gsLst>
                    <a:gs pos="2655">
                      <a:srgbClr val="FFFFFF"/>
                    </a:gs>
                    <a:gs pos="20000">
                      <a:srgbClr val="FFFFFF"/>
                    </a:gs>
                  </a:gsLst>
                  <a:lin ang="0" scaled="1"/>
                </a:gradFill>
                <a:cs typeface="Segoe UI" panose="020B0502040204020203" pitchFamily="34" charset="0"/>
              </a:rPr>
              <a:t>exabyte</a:t>
            </a:r>
            <a:r>
              <a:rPr lang="en-US" sz="2000" dirty="0">
                <a:gradFill>
                  <a:gsLst>
                    <a:gs pos="2655">
                      <a:srgbClr val="FFFFFF"/>
                    </a:gs>
                    <a:gs pos="20000">
                      <a:srgbClr val="FFFFFF"/>
                    </a:gs>
                  </a:gsLst>
                  <a:lin ang="0" scaled="1"/>
                </a:gradFill>
                <a:cs typeface="Segoe UI" panose="020B0502040204020203" pitchFamily="34" charset="0"/>
              </a:rPr>
              <a:t>-scale data lake for everyone to put their data of all types </a:t>
            </a:r>
            <a:r>
              <a:rPr lang="en-US" sz="2000" dirty="0">
                <a:gradFill>
                  <a:gsLst>
                    <a:gs pos="53097">
                      <a:srgbClr val="FFFFFF">
                        <a:alpha val="60000"/>
                      </a:srgbClr>
                    </a:gs>
                    <a:gs pos="20000">
                      <a:srgbClr val="FFFFFF">
                        <a:alpha val="60000"/>
                      </a:srgbClr>
                    </a:gs>
                  </a:gsLst>
                  <a:lin ang="0" scaled="1"/>
                </a:gradFill>
                <a:cs typeface="Segoe UI" panose="020B0502040204020203" pitchFamily="34" charset="0"/>
              </a:rPr>
              <a:t>(structured and unstructured)</a:t>
            </a:r>
          </a:p>
        </p:txBody>
      </p:sp>
      <p:sp>
        <p:nvSpPr>
          <p:cNvPr id="8" name="TextBox 7"/>
          <p:cNvSpPr txBox="1"/>
          <p:nvPr/>
        </p:nvSpPr>
        <p:spPr>
          <a:xfrm>
            <a:off x="286721" y="3373933"/>
            <a:ext cx="3475040" cy="553998"/>
          </a:xfrm>
          <a:prstGeom prst="rect">
            <a:avLst/>
          </a:prstGeom>
          <a:noFill/>
        </p:spPr>
        <p:txBody>
          <a:bodyPr wrap="square" lIns="182880" tIns="0" rIns="0" bIns="0" rtlCol="0">
            <a:spAutoFit/>
          </a:bodyPr>
          <a:lstStyle/>
          <a:p>
            <a:pPr defTabSz="932559">
              <a:lnSpc>
                <a:spcPct val="90000"/>
              </a:lnSpc>
            </a:pPr>
            <a:r>
              <a:rPr lang="en-US" sz="2000" dirty="0">
                <a:gradFill>
                  <a:gsLst>
                    <a:gs pos="2655">
                      <a:srgbClr val="FFFFFF"/>
                    </a:gs>
                    <a:gs pos="20000">
                      <a:srgbClr val="FFFFFF"/>
                    </a:gs>
                  </a:gsLst>
                  <a:lin ang="0" scaled="1"/>
                </a:gradFill>
                <a:cs typeface="Segoe UI" panose="020B0502040204020203" pitchFamily="34" charset="0"/>
              </a:rPr>
              <a:t>Built tools approachable </a:t>
            </a:r>
            <a:br>
              <a:rPr lang="en-US" sz="2000" dirty="0">
                <a:gradFill>
                  <a:gsLst>
                    <a:gs pos="2655">
                      <a:srgbClr val="FFFFFF"/>
                    </a:gs>
                    <a:gs pos="20000">
                      <a:srgbClr val="FFFFFF"/>
                    </a:gs>
                  </a:gsLst>
                  <a:lin ang="0" scaled="1"/>
                </a:gradFill>
                <a:cs typeface="Segoe UI" panose="020B0502040204020203" pitchFamily="34" charset="0"/>
              </a:rPr>
            </a:br>
            <a:r>
              <a:rPr lang="en-US" sz="2000" dirty="0">
                <a:gradFill>
                  <a:gsLst>
                    <a:gs pos="2655">
                      <a:srgbClr val="FFFFFF"/>
                    </a:gs>
                    <a:gs pos="20000">
                      <a:srgbClr val="FFFFFF"/>
                    </a:gs>
                  </a:gsLst>
                  <a:lin ang="0" scaled="1"/>
                </a:gradFill>
                <a:cs typeface="Segoe UI" panose="020B0502040204020203" pitchFamily="34" charset="0"/>
              </a:rPr>
              <a:t>by any developer </a:t>
            </a:r>
          </a:p>
        </p:txBody>
      </p:sp>
      <p:sp>
        <p:nvSpPr>
          <p:cNvPr id="10" name="TextBox 9"/>
          <p:cNvSpPr txBox="1"/>
          <p:nvPr/>
        </p:nvSpPr>
        <p:spPr>
          <a:xfrm>
            <a:off x="286721" y="4327684"/>
            <a:ext cx="3475040" cy="830997"/>
          </a:xfrm>
          <a:prstGeom prst="rect">
            <a:avLst/>
          </a:prstGeom>
          <a:noFill/>
        </p:spPr>
        <p:txBody>
          <a:bodyPr wrap="square" lIns="182880" tIns="0" rIns="0" bIns="0" rtlCol="0">
            <a:spAutoFit/>
          </a:bodyPr>
          <a:lstStyle/>
          <a:p>
            <a:pPr defTabSz="932559">
              <a:lnSpc>
                <a:spcPct val="90000"/>
              </a:lnSpc>
            </a:pPr>
            <a:r>
              <a:rPr lang="en-US" sz="2000" dirty="0">
                <a:gradFill>
                  <a:gsLst>
                    <a:gs pos="2655">
                      <a:srgbClr val="FFFFFF"/>
                    </a:gs>
                    <a:gs pos="20000">
                      <a:srgbClr val="FFFFFF"/>
                    </a:gs>
                  </a:gsLst>
                  <a:lin ang="0" scaled="1"/>
                </a:gradFill>
                <a:cs typeface="Segoe UI" panose="020B0502040204020203" pitchFamily="34" charset="0"/>
              </a:rPr>
              <a:t>Built machine learning tools for collaborating across large experiment models</a:t>
            </a:r>
          </a:p>
        </p:txBody>
      </p:sp>
    </p:spTree>
    <p:extLst>
      <p:ext uri="{BB962C8B-B14F-4D97-AF65-F5344CB8AC3E}">
        <p14:creationId xmlns:p14="http://schemas.microsoft.com/office/powerpoint/2010/main" val="928028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decel="100000" fill="hold" grpId="0" nodeType="withEffect">
                                  <p:stCondLst>
                                    <p:cond delay="0"/>
                                  </p:stCondLst>
                                  <p:childTnLst>
                                    <p:animMotion origin="layout" path="M 3.91882E-6 0 L -0.33355 3.13209E-6 " pathEditMode="relative" rAng="0" ptsTypes="AA">
                                      <p:cBhvr>
                                        <p:cTn id="6" dur="500" fill="hold"/>
                                        <p:tgtEl>
                                          <p:spTgt spid="13"/>
                                        </p:tgtEl>
                                        <p:attrNameLst>
                                          <p:attrName>ppt_x</p:attrName>
                                          <p:attrName>ppt_y</p:attrName>
                                        </p:attrNameLst>
                                      </p:cBhvr>
                                      <p:rCtr x="-16633" y="-885"/>
                                    </p:animMotion>
                                  </p:childTnLst>
                                </p:cTn>
                              </p:par>
                            </p:childTnLst>
                          </p:cTn>
                        </p:par>
                        <p:par>
                          <p:cTn id="7" fill="hold">
                            <p:stCondLst>
                              <p:cond delay="500"/>
                            </p:stCondLst>
                            <p:childTnLst>
                              <p:par>
                                <p:cTn id="8" presetID="1" presetClass="entr" presetSubtype="0" fill="hold" grpId="0" nodeType="afterEffect">
                                  <p:stCondLst>
                                    <p:cond delay="0"/>
                                  </p:stCondLst>
                                  <p:childTnLst>
                                    <p:set>
                                      <p:cBhvr>
                                        <p:cTn id="9" dur="1" fill="hold">
                                          <p:stCondLst>
                                            <p:cond delay="0"/>
                                          </p:stCondLst>
                                        </p:cTn>
                                        <p:tgtEl>
                                          <p:spTgt spid="5"/>
                                        </p:tgtEl>
                                        <p:attrNameLst>
                                          <p:attrName>style.visibility</p:attrName>
                                        </p:attrNameLst>
                                      </p:cBhvr>
                                      <p:to>
                                        <p:strVal val="visible"/>
                                      </p:to>
                                    </p:set>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63" presetClass="path" presetSubtype="0" decel="100000" fill="hold" grpId="1" nodeType="withEffect">
                                  <p:stCondLst>
                                    <p:cond delay="0"/>
                                  </p:stCondLst>
                                  <p:childTnLst>
                                    <p:animMotion origin="layout" path="M 3.89839E-6 0 L 0.01799 0 " pathEditMode="relative" rAng="0" ptsTypes="AA">
                                      <p:cBhvr>
                                        <p:cTn id="14" dur="500" spd="-100000" fill="hold"/>
                                        <p:tgtEl>
                                          <p:spTgt spid="4"/>
                                        </p:tgtEl>
                                        <p:attrNameLst>
                                          <p:attrName>ppt_x</p:attrName>
                                          <p:attrName>ppt_y</p:attrName>
                                        </p:attrNameLst>
                                      </p:cBhvr>
                                      <p:rCtr x="894" y="0"/>
                                    </p:animMotion>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par>
                                <p:cTn id="19" presetID="42" presetClass="path" presetSubtype="0" decel="100000" fill="hold" grpId="1" nodeType="withEffect">
                                  <p:stCondLst>
                                    <p:cond delay="0"/>
                                  </p:stCondLst>
                                  <p:childTnLst>
                                    <p:animMotion origin="layout" path="M -2.1062E-6 -1.9655E-6 L -2.1062E-6 0.03064 " pathEditMode="relative" rAng="0" ptsTypes="AA">
                                      <p:cBhvr>
                                        <p:cTn id="20" dur="500" spd="-100000" fill="hold"/>
                                        <p:tgtEl>
                                          <p:spTgt spid="7"/>
                                        </p:tgtEl>
                                        <p:attrNameLst>
                                          <p:attrName>ppt_x</p:attrName>
                                          <p:attrName>ppt_y</p:attrName>
                                        </p:attrNameLst>
                                      </p:cBhvr>
                                      <p:rCtr x="0" y="1521"/>
                                    </p:animMotion>
                                  </p:childTnLst>
                                </p:cTn>
                              </p:par>
                              <p:par>
                                <p:cTn id="21" presetID="10" presetClass="entr" presetSubtype="0" fill="hold" grpId="0" nodeType="withEffect">
                                  <p:stCondLst>
                                    <p:cond delay="10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42" presetClass="path" presetSubtype="0" decel="100000" fill="hold" grpId="1" nodeType="withEffect">
                                  <p:stCondLst>
                                    <p:cond delay="100"/>
                                  </p:stCondLst>
                                  <p:childTnLst>
                                    <p:animMotion origin="layout" path="M -2.1062E-6 1.52973E-6 L -2.1062E-6 0.03064 " pathEditMode="relative" rAng="0" ptsTypes="AA">
                                      <p:cBhvr>
                                        <p:cTn id="25" dur="500" spd="-100000" fill="hold"/>
                                        <p:tgtEl>
                                          <p:spTgt spid="8"/>
                                        </p:tgtEl>
                                        <p:attrNameLst>
                                          <p:attrName>ppt_x</p:attrName>
                                          <p:attrName>ppt_y</p:attrName>
                                        </p:attrNameLst>
                                      </p:cBhvr>
                                      <p:rCtr x="0" y="1521"/>
                                    </p:animMotion>
                                  </p:childTnLst>
                                </p:cTn>
                              </p:par>
                              <p:par>
                                <p:cTn id="26" presetID="10" presetClass="entr" presetSubtype="0" fill="hold" grpId="0" nodeType="withEffect">
                                  <p:stCondLst>
                                    <p:cond delay="20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500"/>
                                        <p:tgtEl>
                                          <p:spTgt spid="10"/>
                                        </p:tgtEl>
                                      </p:cBhvr>
                                    </p:animEffect>
                                  </p:childTnLst>
                                </p:cTn>
                              </p:par>
                              <p:par>
                                <p:cTn id="29" presetID="42" presetClass="path" presetSubtype="0" decel="100000" fill="hold" grpId="1" nodeType="withEffect">
                                  <p:stCondLst>
                                    <p:cond delay="200"/>
                                  </p:stCondLst>
                                  <p:childTnLst>
                                    <p:animMotion origin="layout" path="M -2.1062E-6 3.86291E-6 L -2.1062E-6 0.03064 " pathEditMode="relative" rAng="0" ptsTypes="AA">
                                      <p:cBhvr>
                                        <p:cTn id="30" dur="500" spd="-100000" fill="hold"/>
                                        <p:tgtEl>
                                          <p:spTgt spid="10"/>
                                        </p:tgtEl>
                                        <p:attrNameLst>
                                          <p:attrName>ppt_x</p:attrName>
                                          <p:attrName>ppt_y</p:attrName>
                                        </p:attrNameLst>
                                      </p:cBhvr>
                                      <p:rCtr x="0" y="152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5" grpId="0" animBg="1"/>
      <p:bldP spid="4" grpId="0"/>
      <p:bldP spid="4" grpId="1"/>
      <p:bldP spid="7" grpId="0"/>
      <p:bldP spid="7" grpId="1"/>
      <p:bldP spid="8" grpId="0"/>
      <p:bldP spid="8" grpId="1"/>
      <p:bldP spid="10" grpId="0"/>
      <p:bldP spid="10" grpId="1"/>
    </p:bldLst>
  </p:timing>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 name="Chart 1"/>
          <p:cNvGraphicFramePr>
            <a:graphicFrameLocks/>
          </p:cNvGraphicFramePr>
          <p:nvPr>
            <p:extLst/>
          </p:nvPr>
        </p:nvGraphicFramePr>
        <p:xfrm>
          <a:off x="457200" y="1460499"/>
          <a:ext cx="11979275" cy="4322763"/>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274638" y="6515100"/>
            <a:ext cx="8467286" cy="182563"/>
          </a:xfrm>
          <a:prstGeom prst="rect">
            <a:avLst/>
          </a:prstGeom>
          <a:noFill/>
        </p:spPr>
        <p:txBody>
          <a:bodyPr wrap="square" lIns="182880" tIns="146304" rIns="182880" bIns="146304" rtlCol="0" anchor="ctr">
            <a:noAutofit/>
          </a:bodyPr>
          <a:lstStyle/>
          <a:p>
            <a:pPr>
              <a:lnSpc>
                <a:spcPct val="90000"/>
              </a:lnSpc>
              <a:spcAft>
                <a:spcPts val="600"/>
              </a:spcAft>
            </a:pPr>
            <a:r>
              <a:rPr lang="en-US" sz="900" dirty="0">
                <a:gradFill>
                  <a:gsLst>
                    <a:gs pos="2917">
                      <a:srgbClr val="FFFFFF"/>
                    </a:gs>
                    <a:gs pos="30000">
                      <a:srgbClr val="FFFFFF"/>
                    </a:gs>
                  </a:gsLst>
                  <a:lin ang="5400000" scaled="0"/>
                </a:gradFill>
              </a:rPr>
              <a:t>Source: ComScore 2009-2015 Search Report US </a:t>
            </a:r>
          </a:p>
        </p:txBody>
      </p:sp>
      <p:sp>
        <p:nvSpPr>
          <p:cNvPr id="6" name="Title 5"/>
          <p:cNvSpPr>
            <a:spLocks noGrp="1"/>
          </p:cNvSpPr>
          <p:nvPr>
            <p:ph type="title"/>
          </p:nvPr>
        </p:nvSpPr>
        <p:spPr/>
        <p:txBody>
          <a:bodyPr/>
          <a:lstStyle/>
          <a:p>
            <a:r>
              <a:rPr lang="en-US" dirty="0"/>
              <a:t>Microsoft doubles search share</a:t>
            </a:r>
          </a:p>
        </p:txBody>
      </p:sp>
    </p:spTree>
    <p:extLst>
      <p:ext uri="{BB962C8B-B14F-4D97-AF65-F5344CB8AC3E}">
        <p14:creationId xmlns:p14="http://schemas.microsoft.com/office/powerpoint/2010/main" val="3504358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grpSp>
        <p:nvGrpSpPr>
          <p:cNvPr id="24" name="Group 23"/>
          <p:cNvGrpSpPr/>
          <p:nvPr/>
        </p:nvGrpSpPr>
        <p:grpSpPr>
          <a:xfrm>
            <a:off x="-635" y="-1"/>
            <a:ext cx="12436475" cy="6995160"/>
            <a:chOff x="-635" y="-1"/>
            <a:chExt cx="12436475" cy="6995160"/>
          </a:xfrm>
        </p:grpSpPr>
        <p:pic>
          <p:nvPicPr>
            <p:cNvPr id="25" name="Picture 2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26" name="Rectangle 25"/>
            <p:cNvSpPr/>
            <p:nvPr/>
          </p:nvSpPr>
          <p:spPr bwMode="auto">
            <a:xfrm>
              <a:off x="-635" y="-1"/>
              <a:ext cx="12436475" cy="6994525"/>
            </a:xfrm>
            <a:prstGeom prst="rect">
              <a:avLst/>
            </a:prstGeom>
            <a:solidFill>
              <a:srgbClr val="275364">
                <a:alpha val="30000"/>
              </a:srgb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27" name="Rectangle 26"/>
          <p:cNvSpPr/>
          <p:nvPr/>
        </p:nvSpPr>
        <p:spPr bwMode="auto">
          <a:xfrm>
            <a:off x="0" y="0"/>
            <a:ext cx="6610892" cy="6994525"/>
          </a:xfrm>
          <a:prstGeom prst="rect">
            <a:avLst/>
          </a:prstGeom>
          <a:gradFill flip="none" rotWithShape="1">
            <a:gsLst>
              <a:gs pos="0">
                <a:srgbClr val="101F28">
                  <a:alpha val="51000"/>
                </a:srgbClr>
              </a:gs>
              <a:gs pos="88000">
                <a:srgbClr val="101F28">
                  <a:alpha val="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6" name="Rectangle 15"/>
          <p:cNvSpPr/>
          <p:nvPr/>
        </p:nvSpPr>
        <p:spPr bwMode="auto">
          <a:xfrm>
            <a:off x="-634" y="0"/>
            <a:ext cx="12437110" cy="6995159"/>
          </a:xfrm>
          <a:prstGeom prst="rect">
            <a:avLst/>
          </a:prstGeom>
          <a:solidFill>
            <a:srgbClr val="275364">
              <a:alpha val="20000"/>
            </a:srgb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 name="Rectangle 4"/>
          <p:cNvSpPr/>
          <p:nvPr/>
        </p:nvSpPr>
        <p:spPr bwMode="auto">
          <a:xfrm>
            <a:off x="0" y="0"/>
            <a:ext cx="8297826" cy="6994526"/>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 name="Title 1"/>
          <p:cNvSpPr txBox="1">
            <a:spLocks/>
          </p:cNvSpPr>
          <p:nvPr/>
        </p:nvSpPr>
        <p:spPr>
          <a:xfrm>
            <a:off x="8316876" y="3038475"/>
            <a:ext cx="4118964" cy="917575"/>
          </a:xfrm>
          <a:prstGeom prst="rect">
            <a:avLst/>
          </a:prstGeom>
        </p:spPr>
        <p:txBody>
          <a:bodyPr vert="horz" wrap="square" lIns="274320"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4300">
                <a:gradFill>
                  <a:gsLst>
                    <a:gs pos="98230">
                      <a:srgbClr val="FFFFFF"/>
                    </a:gs>
                    <a:gs pos="88000">
                      <a:srgbClr val="FFFFFF"/>
                    </a:gs>
                  </a:gsLst>
                  <a:lin ang="5400000" scaled="0"/>
                </a:gradFill>
                <a:latin typeface="Segoe UI Semilight" panose="020B0402040204020203" pitchFamily="34" charset="0"/>
                <a:cs typeface="Segoe UI Semilight" panose="020B0402040204020203" pitchFamily="34" charset="0"/>
              </a:rPr>
              <a:t>Where does </a:t>
            </a:r>
            <a:br>
              <a:rPr sz="4300">
                <a:gradFill>
                  <a:gsLst>
                    <a:gs pos="98230">
                      <a:srgbClr val="FFFFFF"/>
                    </a:gs>
                    <a:gs pos="88000">
                      <a:srgbClr val="FFFFFF"/>
                    </a:gs>
                  </a:gsLst>
                  <a:lin ang="5400000" scaled="0"/>
                </a:gradFill>
                <a:latin typeface="Segoe UI Semilight" panose="020B0402040204020203" pitchFamily="34" charset="0"/>
                <a:cs typeface="Segoe UI Semilight" panose="020B0402040204020203" pitchFamily="34" charset="0"/>
              </a:rPr>
            </a:br>
            <a:r>
              <a:rPr sz="4300">
                <a:gradFill>
                  <a:gsLst>
                    <a:gs pos="98230">
                      <a:srgbClr val="FFFFFF"/>
                    </a:gs>
                    <a:gs pos="88000">
                      <a:srgbClr val="FFFFFF"/>
                    </a:gs>
                  </a:gsLst>
                  <a:lin ang="5400000" scaled="0"/>
                </a:gradFill>
                <a:latin typeface="Segoe UI Semilight" panose="020B0402040204020203" pitchFamily="34" charset="0"/>
                <a:cs typeface="Segoe UI Semilight" panose="020B0402040204020203" pitchFamily="34" charset="0"/>
              </a:rPr>
              <a:t>this leave you?</a:t>
            </a:r>
          </a:p>
        </p:txBody>
      </p:sp>
      <p:sp>
        <p:nvSpPr>
          <p:cNvPr id="19" name="TextBox 18"/>
          <p:cNvSpPr txBox="1"/>
          <p:nvPr/>
        </p:nvSpPr>
        <p:spPr>
          <a:xfrm>
            <a:off x="457198" y="1750496"/>
            <a:ext cx="7132639" cy="369332"/>
          </a:xfrm>
          <a:prstGeom prst="rect">
            <a:avLst/>
          </a:prstGeom>
          <a:noFill/>
        </p:spPr>
        <p:txBody>
          <a:bodyPr wrap="square" lIns="182880" tIns="0" rIns="0" bIns="0" rtlCol="0">
            <a:spAutoFit/>
          </a:bodyPr>
          <a:lstStyle/>
          <a:p>
            <a:pPr defTabSz="932559"/>
            <a:r>
              <a:rPr lang="en-US" sz="2400" dirty="0">
                <a:solidFill>
                  <a:schemeClr val="bg2">
                    <a:lumMod val="20000"/>
                    <a:lumOff val="80000"/>
                  </a:schemeClr>
                </a:solidFill>
                <a:cs typeface="Segoe UI Light" panose="020B0502040204020203" pitchFamily="34" charset="0"/>
              </a:rPr>
              <a:t>We went through these </a:t>
            </a:r>
            <a:r>
              <a:rPr lang="en-US" sz="2400" dirty="0">
                <a:gradFill>
                  <a:gsLst>
                    <a:gs pos="1250">
                      <a:srgbClr val="FFFFFF"/>
                    </a:gs>
                    <a:gs pos="100000">
                      <a:srgbClr val="FFFFFF"/>
                    </a:gs>
                  </a:gsLst>
                  <a:lin ang="5400000" scaled="0"/>
                </a:gradFill>
                <a:cs typeface="Segoe UI" panose="020B0502040204020203" pitchFamily="34" charset="0"/>
              </a:rPr>
              <a:t>learnings</a:t>
            </a:r>
          </a:p>
        </p:txBody>
      </p:sp>
      <p:sp>
        <p:nvSpPr>
          <p:cNvPr id="20" name="TextBox 19"/>
          <p:cNvSpPr txBox="1"/>
          <p:nvPr/>
        </p:nvSpPr>
        <p:spPr>
          <a:xfrm>
            <a:off x="457198" y="2500359"/>
            <a:ext cx="7132639" cy="369332"/>
          </a:xfrm>
          <a:prstGeom prst="rect">
            <a:avLst/>
          </a:prstGeom>
          <a:noFill/>
        </p:spPr>
        <p:txBody>
          <a:bodyPr wrap="square" lIns="182880" tIns="0" rIns="0" bIns="0" rtlCol="0">
            <a:spAutoFit/>
          </a:bodyPr>
          <a:lstStyle/>
          <a:p>
            <a:pPr defTabSz="932559"/>
            <a:r>
              <a:rPr lang="en-US" sz="2400" dirty="0">
                <a:solidFill>
                  <a:schemeClr val="bg2">
                    <a:lumMod val="20000"/>
                    <a:lumOff val="80000"/>
                  </a:schemeClr>
                </a:solidFill>
                <a:cs typeface="Segoe UI Light" panose="020B0502040204020203" pitchFamily="34" charset="0"/>
              </a:rPr>
              <a:t>It is a </a:t>
            </a:r>
            <a:r>
              <a:rPr lang="en-US" sz="2400" dirty="0">
                <a:gradFill>
                  <a:gsLst>
                    <a:gs pos="1250">
                      <a:srgbClr val="FFFFFF"/>
                    </a:gs>
                    <a:gs pos="100000">
                      <a:srgbClr val="FFFFFF"/>
                    </a:gs>
                  </a:gsLst>
                  <a:lin ang="5400000" scaled="0"/>
                </a:gradFill>
                <a:cs typeface="Segoe UI" panose="020B0502040204020203" pitchFamily="34" charset="0"/>
              </a:rPr>
              <a:t>hard problem</a:t>
            </a:r>
          </a:p>
        </p:txBody>
      </p:sp>
      <p:sp>
        <p:nvSpPr>
          <p:cNvPr id="21" name="TextBox 20"/>
          <p:cNvSpPr txBox="1"/>
          <p:nvPr/>
        </p:nvSpPr>
        <p:spPr>
          <a:xfrm>
            <a:off x="457198" y="4369418"/>
            <a:ext cx="7132639" cy="738664"/>
          </a:xfrm>
          <a:prstGeom prst="rect">
            <a:avLst/>
          </a:prstGeom>
          <a:noFill/>
        </p:spPr>
        <p:txBody>
          <a:bodyPr wrap="square" lIns="182880" tIns="0" rIns="0" bIns="0" rtlCol="0">
            <a:spAutoFit/>
          </a:bodyPr>
          <a:lstStyle/>
          <a:p>
            <a:pPr defTabSz="932559"/>
            <a:r>
              <a:rPr lang="en-US" sz="2400" dirty="0">
                <a:solidFill>
                  <a:schemeClr val="bg2">
                    <a:lumMod val="20000"/>
                    <a:lumOff val="80000"/>
                  </a:schemeClr>
                </a:solidFill>
                <a:cs typeface="Segoe UI Light" panose="020B0502040204020203" pitchFamily="34" charset="0"/>
              </a:rPr>
              <a:t>With</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 </a:t>
            </a:r>
            <a:r>
              <a:rPr lang="en-US" sz="2400" dirty="0">
                <a:gradFill>
                  <a:gsLst>
                    <a:gs pos="1250">
                      <a:srgbClr val="FFFFFF"/>
                    </a:gs>
                    <a:gs pos="100000">
                      <a:srgbClr val="FFFFFF"/>
                    </a:gs>
                  </a:gsLst>
                  <a:lin ang="5400000" scaled="0"/>
                </a:gradFill>
                <a:cs typeface="Segoe UI" panose="020B0502040204020203" pitchFamily="34" charset="0"/>
              </a:rPr>
              <a:t>Cortana Analytics</a:t>
            </a:r>
            <a:r>
              <a:rPr lang="en-US" sz="2400" dirty="0">
                <a:solidFill>
                  <a:schemeClr val="bg2">
                    <a:lumMod val="20000"/>
                    <a:lumOff val="80000"/>
                  </a:schemeClr>
                </a:solidFill>
                <a:cs typeface="Segoe UI Light" panose="020B0502040204020203" pitchFamily="34" charset="0"/>
              </a:rPr>
              <a:t>, you don’t have to be the size of Bing to solve the problem</a:t>
            </a:r>
          </a:p>
        </p:txBody>
      </p:sp>
      <p:sp>
        <p:nvSpPr>
          <p:cNvPr id="22" name="TextBox 21"/>
          <p:cNvSpPr txBox="1"/>
          <p:nvPr/>
        </p:nvSpPr>
        <p:spPr>
          <a:xfrm>
            <a:off x="457198" y="3250222"/>
            <a:ext cx="7132639" cy="738664"/>
          </a:xfrm>
          <a:prstGeom prst="rect">
            <a:avLst/>
          </a:prstGeom>
          <a:noFill/>
        </p:spPr>
        <p:txBody>
          <a:bodyPr wrap="square" lIns="182880" tIns="0" rIns="0" bIns="0" rtlCol="0">
            <a:spAutoFit/>
          </a:bodyPr>
          <a:lstStyle/>
          <a:p>
            <a:pPr defTabSz="932559"/>
            <a:r>
              <a:rPr lang="en-US" sz="2400" dirty="0">
                <a:solidFill>
                  <a:schemeClr val="bg2">
                    <a:lumMod val="20000"/>
                    <a:lumOff val="80000"/>
                  </a:schemeClr>
                </a:solidFill>
                <a:cs typeface="Segoe UI Light" panose="020B0502040204020203" pitchFamily="34" charset="0"/>
              </a:rPr>
              <a:t>It requires a lot of </a:t>
            </a:r>
            <a:r>
              <a:rPr lang="en-US" sz="2400" dirty="0">
                <a:gradFill>
                  <a:gsLst>
                    <a:gs pos="1250">
                      <a:srgbClr val="FFFFFF"/>
                    </a:gs>
                    <a:gs pos="100000">
                      <a:srgbClr val="FFFFFF"/>
                    </a:gs>
                  </a:gsLst>
                  <a:lin ang="5400000" scaled="0"/>
                </a:gradFill>
                <a:cs typeface="Segoe UI" panose="020B0502040204020203" pitchFamily="34" charset="0"/>
              </a:rPr>
              <a:t>investment</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 </a:t>
            </a:r>
            <a:r>
              <a:rPr lang="en-US" sz="2400" dirty="0">
                <a:solidFill>
                  <a:schemeClr val="bg2">
                    <a:lumMod val="20000"/>
                    <a:lumOff val="80000"/>
                  </a:schemeClr>
                </a:solidFill>
                <a:cs typeface="Segoe UI Light" panose="020B0502040204020203" pitchFamily="34" charset="0"/>
              </a:rPr>
              <a:t>and</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 </a:t>
            </a:r>
            <a:r>
              <a:rPr lang="en-US" sz="2400" dirty="0">
                <a:gradFill>
                  <a:gsLst>
                    <a:gs pos="1250">
                      <a:srgbClr val="FFFFFF"/>
                    </a:gs>
                    <a:gs pos="100000">
                      <a:srgbClr val="FFFFFF"/>
                    </a:gs>
                  </a:gsLst>
                  <a:lin ang="5400000" scaled="0"/>
                </a:gradFill>
                <a:cs typeface="Segoe UI" panose="020B0502040204020203" pitchFamily="34" charset="0"/>
              </a:rPr>
              <a:t>know-how</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 </a:t>
            </a:r>
            <a:b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br>
            <a:r>
              <a:rPr lang="en-US" sz="2400" dirty="0">
                <a:solidFill>
                  <a:schemeClr val="bg2">
                    <a:lumMod val="20000"/>
                    <a:lumOff val="80000"/>
                  </a:schemeClr>
                </a:solidFill>
                <a:cs typeface="Segoe UI Light" panose="020B0502040204020203" pitchFamily="34" charset="0"/>
              </a:rPr>
              <a:t>to get it right</a:t>
            </a:r>
          </a:p>
        </p:txBody>
      </p:sp>
    </p:spTree>
    <p:extLst>
      <p:ext uri="{BB962C8B-B14F-4D97-AF65-F5344CB8AC3E}">
        <p14:creationId xmlns:p14="http://schemas.microsoft.com/office/powerpoint/2010/main" val="806982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42" presetClass="path" presetSubtype="0" decel="100000" fill="hold" grpId="1" nodeType="withEffect">
                                  <p:stCondLst>
                                    <p:cond delay="0"/>
                                  </p:stCondLst>
                                  <p:childTnLst>
                                    <p:animMotion origin="layout" path="M -1.83304E-6 1.82025E-6 L -1.83304E-6 0.03064 " pathEditMode="relative" rAng="0" ptsTypes="AA">
                                      <p:cBhvr>
                                        <p:cTn id="9" dur="500" spd="-100000" fill="hold"/>
                                        <p:tgtEl>
                                          <p:spTgt spid="19"/>
                                        </p:tgtEl>
                                        <p:attrNameLst>
                                          <p:attrName>ppt_x</p:attrName>
                                          <p:attrName>ppt_y</p:attrName>
                                        </p:attrNameLst>
                                      </p:cBhvr>
                                      <p:rCtr x="0" y="1521"/>
                                    </p:animMotion>
                                  </p:childTnLst>
                                </p:cTn>
                              </p:par>
                              <p:par>
                                <p:cTn id="10" presetID="10" presetClass="entr" presetSubtype="0" fill="hold" grpId="0" nodeType="withEffect">
                                  <p:stCondLst>
                                    <p:cond delay="10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42" presetClass="path" presetSubtype="0" decel="100000" fill="hold" grpId="1" nodeType="withEffect">
                                  <p:stCondLst>
                                    <p:cond delay="100"/>
                                  </p:stCondLst>
                                  <p:childTnLst>
                                    <p:animMotion origin="layout" path="M -1.83304E-6 -4.82524E-6 L -1.83304E-6 0.03064 " pathEditMode="relative" rAng="0" ptsTypes="AA">
                                      <p:cBhvr>
                                        <p:cTn id="14" dur="500" spd="-100000" fill="hold"/>
                                        <p:tgtEl>
                                          <p:spTgt spid="20"/>
                                        </p:tgtEl>
                                        <p:attrNameLst>
                                          <p:attrName>ppt_x</p:attrName>
                                          <p:attrName>ppt_y</p:attrName>
                                        </p:attrNameLst>
                                      </p:cBhvr>
                                      <p:rCtr x="0" y="1521"/>
                                    </p:animMotion>
                                  </p:childTnLst>
                                </p:cTn>
                              </p:par>
                              <p:par>
                                <p:cTn id="15" presetID="10" presetClass="entr" presetSubtype="0" fill="hold" grpId="0" nodeType="withEffect">
                                  <p:stCondLst>
                                    <p:cond delay="20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par>
                                <p:cTn id="18" presetID="42" presetClass="path" presetSubtype="0" decel="100000" fill="hold" grpId="1" nodeType="withEffect">
                                  <p:stCondLst>
                                    <p:cond delay="200"/>
                                  </p:stCondLst>
                                  <p:childTnLst>
                                    <p:animMotion origin="layout" path="M -1.83304E-6 3.83114E-6 L -1.83304E-6 0.03064 " pathEditMode="relative" rAng="0" ptsTypes="AA">
                                      <p:cBhvr>
                                        <p:cTn id="19" dur="500" spd="-100000" fill="hold"/>
                                        <p:tgtEl>
                                          <p:spTgt spid="22"/>
                                        </p:tgtEl>
                                        <p:attrNameLst>
                                          <p:attrName>ppt_x</p:attrName>
                                          <p:attrName>ppt_y</p:attrName>
                                        </p:attrNameLst>
                                      </p:cBhvr>
                                      <p:rCtr x="0" y="1521"/>
                                    </p:animMotion>
                                  </p:childTnLst>
                                </p:cTn>
                              </p:par>
                              <p:par>
                                <p:cTn id="20" presetID="10" presetClass="entr" presetSubtype="0" fill="hold" grpId="0" nodeType="withEffect">
                                  <p:stCondLst>
                                    <p:cond delay="30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42" presetClass="path" presetSubtype="0" decel="100000" fill="hold" grpId="1" nodeType="withEffect">
                                  <p:stCondLst>
                                    <p:cond delay="300"/>
                                  </p:stCondLst>
                                  <p:childTnLst>
                                    <p:animMotion origin="layout" path="M -1.83304E-6 -2.70994E-6 L -1.83304E-6 0.03064 " pathEditMode="relative" rAng="0" ptsTypes="AA">
                                      <p:cBhvr>
                                        <p:cTn id="24" dur="500" spd="-100000" fill="hold"/>
                                        <p:tgtEl>
                                          <p:spTgt spid="21"/>
                                        </p:tgtEl>
                                        <p:attrNameLst>
                                          <p:attrName>ppt_x</p:attrName>
                                          <p:attrName>ppt_y</p:attrName>
                                        </p:attrNameLst>
                                      </p:cBhvr>
                                      <p:rCtr x="0" y="1521"/>
                                    </p:animMotion>
                                  </p:childTnLst>
                                </p:cTn>
                              </p:par>
                              <p:par>
                                <p:cTn id="25" presetID="10" presetClass="entr" presetSubtype="0" fill="hold" grpId="0" nodeType="withEffect">
                                  <p:stCondLst>
                                    <p:cond delay="0"/>
                                  </p:stCondLst>
                                  <p:childTnLst>
                                    <p:set>
                                      <p:cBhvr>
                                        <p:cTn id="26" dur="1" fill="hold">
                                          <p:stCondLst>
                                            <p:cond delay="0"/>
                                          </p:stCondLst>
                                        </p:cTn>
                                        <p:tgtEl>
                                          <p:spTgt spid="27"/>
                                        </p:tgtEl>
                                        <p:attrNameLst>
                                          <p:attrName>style.visibility</p:attrName>
                                        </p:attrNameLst>
                                      </p:cBhvr>
                                      <p:to>
                                        <p:strVal val="visible"/>
                                      </p:to>
                                    </p:set>
                                    <p:animEffect transition="in" filter="fade">
                                      <p:cBhvr>
                                        <p:cTn id="27"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19" grpId="0"/>
      <p:bldP spid="19" grpId="1"/>
      <p:bldP spid="20" grpId="0"/>
      <p:bldP spid="20" grpId="1"/>
      <p:bldP spid="21" grpId="0"/>
      <p:bldP spid="21" grpId="1"/>
      <p:bldP spid="22" grpId="0"/>
      <p:bldP spid="22" grpId="1"/>
    </p:bld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o matter your industry, Microsoft technologies can help you stay ahead</a:t>
            </a:r>
          </a:p>
        </p:txBody>
      </p:sp>
      <p:sp>
        <p:nvSpPr>
          <p:cNvPr id="47" name="Rectangle 46"/>
          <p:cNvSpPr/>
          <p:nvPr/>
        </p:nvSpPr>
        <p:spPr bwMode="auto">
          <a:xfrm>
            <a:off x="869653" y="3566388"/>
            <a:ext cx="1093131" cy="3117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563">
              <a:spcAft>
                <a:spcPts val="1224"/>
              </a:spcAft>
              <a:buSzPct val="90000"/>
            </a:pPr>
            <a:r>
              <a:rPr lang="en-US" sz="2040" b="1" dirty="0">
                <a:solidFill>
                  <a:schemeClr val="bg1"/>
                </a:solidFill>
              </a:rPr>
              <a:t>Retail</a:t>
            </a:r>
          </a:p>
          <a:p>
            <a:pPr marL="93260" indent="-93260" algn="ctr" defTabSz="932563">
              <a:spcAft>
                <a:spcPts val="1224"/>
              </a:spcAft>
              <a:buClr>
                <a:srgbClr val="0078D7"/>
              </a:buClr>
              <a:buSzPct val="90000"/>
              <a:buFont typeface="Arial" panose="020B0604020202020204" pitchFamily="34" charset="0"/>
              <a:buChar char="•"/>
            </a:pPr>
            <a:endParaRPr lang="en-US" sz="2040" b="1" dirty="0">
              <a:solidFill>
                <a:schemeClr val="bg1"/>
              </a:solidFill>
            </a:endParaRPr>
          </a:p>
          <a:p>
            <a:pPr algn="ctr" defTabSz="932563">
              <a:spcAft>
                <a:spcPts val="1224"/>
              </a:spcAft>
              <a:buSzPct val="90000"/>
            </a:pPr>
            <a:endParaRPr lang="en-US" sz="2040" b="1" dirty="0">
              <a:solidFill>
                <a:schemeClr val="bg1"/>
              </a:solidFill>
            </a:endParaRPr>
          </a:p>
        </p:txBody>
      </p:sp>
      <p:cxnSp>
        <p:nvCxnSpPr>
          <p:cNvPr id="7" name="Straight Connector 6"/>
          <p:cNvCxnSpPr/>
          <p:nvPr/>
        </p:nvCxnSpPr>
        <p:spPr>
          <a:xfrm>
            <a:off x="2624496" y="2149493"/>
            <a:ext cx="0" cy="3450632"/>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4992020" y="2149493"/>
            <a:ext cx="0" cy="3450632"/>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7736334" y="2149493"/>
            <a:ext cx="0" cy="3450632"/>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10095045" y="2149493"/>
            <a:ext cx="0" cy="3450632"/>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8" name="Rectangle 77"/>
          <p:cNvSpPr/>
          <p:nvPr/>
        </p:nvSpPr>
        <p:spPr bwMode="auto">
          <a:xfrm>
            <a:off x="457469" y="4096249"/>
            <a:ext cx="1917500" cy="14660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Real Time Offers </a:t>
            </a:r>
            <a:br>
              <a:rPr lang="en-US" sz="1428" dirty="0">
                <a:solidFill>
                  <a:schemeClr val="bg1"/>
                </a:solidFill>
              </a:rPr>
            </a:br>
            <a:r>
              <a:rPr lang="en-US" sz="1428" dirty="0">
                <a:solidFill>
                  <a:schemeClr val="bg1"/>
                </a:solidFill>
              </a:rPr>
              <a:t>&amp; Personalized Services</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Demand Forecasting</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Sentiment Analysis</a:t>
            </a:r>
          </a:p>
          <a:p>
            <a:pPr marL="93260" indent="-93260" defTabSz="932563">
              <a:spcAft>
                <a:spcPts val="1224"/>
              </a:spcAft>
              <a:buClr>
                <a:srgbClr val="0078D7"/>
              </a:buClr>
              <a:buSzPct val="90000"/>
              <a:buFont typeface="Arial" panose="020B0604020202020204" pitchFamily="34" charset="0"/>
              <a:buChar char="•"/>
            </a:pPr>
            <a:endParaRPr lang="en-US" sz="1428" dirty="0">
              <a:solidFill>
                <a:schemeClr val="bg1"/>
              </a:solidFill>
            </a:endParaRPr>
          </a:p>
        </p:txBody>
      </p:sp>
      <p:grpSp>
        <p:nvGrpSpPr>
          <p:cNvPr id="48" name="Group 47"/>
          <p:cNvGrpSpPr/>
          <p:nvPr/>
        </p:nvGrpSpPr>
        <p:grpSpPr>
          <a:xfrm>
            <a:off x="1011627" y="2205075"/>
            <a:ext cx="809185" cy="1157458"/>
            <a:chOff x="-2502439" y="685360"/>
            <a:chExt cx="992188" cy="1419225"/>
          </a:xfrm>
        </p:grpSpPr>
        <p:sp>
          <p:nvSpPr>
            <p:cNvPr id="53" name="Freeform 52"/>
            <p:cNvSpPr>
              <a:spLocks/>
            </p:cNvSpPr>
            <p:nvPr/>
          </p:nvSpPr>
          <p:spPr bwMode="auto">
            <a:xfrm>
              <a:off x="-2502439" y="1079060"/>
              <a:ext cx="992188" cy="1025525"/>
            </a:xfrm>
            <a:custGeom>
              <a:avLst/>
              <a:gdLst>
                <a:gd name="T0" fmla="*/ 483 w 625"/>
                <a:gd name="T1" fmla="*/ 0 h 646"/>
                <a:gd name="T2" fmla="*/ 625 w 625"/>
                <a:gd name="T3" fmla="*/ 0 h 646"/>
                <a:gd name="T4" fmla="*/ 625 w 625"/>
                <a:gd name="T5" fmla="*/ 646 h 646"/>
                <a:gd name="T6" fmla="*/ 0 w 625"/>
                <a:gd name="T7" fmla="*/ 646 h 646"/>
                <a:gd name="T8" fmla="*/ 0 w 625"/>
                <a:gd name="T9" fmla="*/ 0 h 646"/>
                <a:gd name="T10" fmla="*/ 142 w 625"/>
                <a:gd name="T11" fmla="*/ 0 h 646"/>
                <a:gd name="T12" fmla="*/ 483 w 625"/>
                <a:gd name="T13" fmla="*/ 0 h 646"/>
              </a:gdLst>
              <a:ahLst/>
              <a:cxnLst>
                <a:cxn ang="0">
                  <a:pos x="T0" y="T1"/>
                </a:cxn>
                <a:cxn ang="0">
                  <a:pos x="T2" y="T3"/>
                </a:cxn>
                <a:cxn ang="0">
                  <a:pos x="T4" y="T5"/>
                </a:cxn>
                <a:cxn ang="0">
                  <a:pos x="T6" y="T7"/>
                </a:cxn>
                <a:cxn ang="0">
                  <a:pos x="T8" y="T9"/>
                </a:cxn>
                <a:cxn ang="0">
                  <a:pos x="T10" y="T11"/>
                </a:cxn>
                <a:cxn ang="0">
                  <a:pos x="T12" y="T13"/>
                </a:cxn>
              </a:cxnLst>
              <a:rect l="0" t="0" r="r" b="b"/>
              <a:pathLst>
                <a:path w="625" h="646">
                  <a:moveTo>
                    <a:pt x="483" y="0"/>
                  </a:moveTo>
                  <a:lnTo>
                    <a:pt x="625" y="0"/>
                  </a:lnTo>
                  <a:lnTo>
                    <a:pt x="625" y="646"/>
                  </a:lnTo>
                  <a:lnTo>
                    <a:pt x="0" y="646"/>
                  </a:lnTo>
                  <a:lnTo>
                    <a:pt x="0" y="0"/>
                  </a:lnTo>
                  <a:lnTo>
                    <a:pt x="142" y="0"/>
                  </a:lnTo>
                  <a:lnTo>
                    <a:pt x="483" y="0"/>
                  </a:lnTo>
                  <a:close/>
                </a:path>
              </a:pathLst>
            </a:cu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54" name="Freeform 6"/>
            <p:cNvSpPr>
              <a:spLocks/>
            </p:cNvSpPr>
            <p:nvPr/>
          </p:nvSpPr>
          <p:spPr bwMode="auto">
            <a:xfrm>
              <a:off x="-2232564" y="685360"/>
              <a:ext cx="450850" cy="528638"/>
            </a:xfrm>
            <a:custGeom>
              <a:avLst/>
              <a:gdLst>
                <a:gd name="T0" fmla="*/ 0 w 40"/>
                <a:gd name="T1" fmla="*/ 47 h 47"/>
                <a:gd name="T2" fmla="*/ 0 w 40"/>
                <a:gd name="T3" fmla="*/ 21 h 47"/>
                <a:gd name="T4" fmla="*/ 20 w 40"/>
                <a:gd name="T5" fmla="*/ 0 h 47"/>
                <a:gd name="T6" fmla="*/ 40 w 40"/>
                <a:gd name="T7" fmla="*/ 21 h 47"/>
                <a:gd name="T8" fmla="*/ 40 w 40"/>
                <a:gd name="T9" fmla="*/ 47 h 47"/>
              </a:gdLst>
              <a:ahLst/>
              <a:cxnLst>
                <a:cxn ang="0">
                  <a:pos x="T0" y="T1"/>
                </a:cxn>
                <a:cxn ang="0">
                  <a:pos x="T2" y="T3"/>
                </a:cxn>
                <a:cxn ang="0">
                  <a:pos x="T4" y="T5"/>
                </a:cxn>
                <a:cxn ang="0">
                  <a:pos x="T6" y="T7"/>
                </a:cxn>
                <a:cxn ang="0">
                  <a:pos x="T8" y="T9"/>
                </a:cxn>
              </a:cxnLst>
              <a:rect l="0" t="0" r="r" b="b"/>
              <a:pathLst>
                <a:path w="40" h="47">
                  <a:moveTo>
                    <a:pt x="0" y="47"/>
                  </a:moveTo>
                  <a:cubicBezTo>
                    <a:pt x="0" y="21"/>
                    <a:pt x="0" y="21"/>
                    <a:pt x="0" y="21"/>
                  </a:cubicBezTo>
                  <a:cubicBezTo>
                    <a:pt x="0" y="9"/>
                    <a:pt x="9" y="0"/>
                    <a:pt x="20" y="0"/>
                  </a:cubicBezTo>
                  <a:cubicBezTo>
                    <a:pt x="31" y="0"/>
                    <a:pt x="40" y="9"/>
                    <a:pt x="40" y="21"/>
                  </a:cubicBezTo>
                  <a:cubicBezTo>
                    <a:pt x="40" y="47"/>
                    <a:pt x="40" y="47"/>
                    <a:pt x="40" y="47"/>
                  </a:cubicBezTo>
                </a:path>
              </a:pathLst>
            </a:custGeom>
            <a:noFill/>
            <a:ln w="2857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sp>
        <p:nvSpPr>
          <p:cNvPr id="49" name="Rectangle 48"/>
          <p:cNvSpPr/>
          <p:nvPr/>
        </p:nvSpPr>
        <p:spPr bwMode="auto">
          <a:xfrm>
            <a:off x="2874024" y="3566388"/>
            <a:ext cx="1868468" cy="3667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563">
              <a:spcAft>
                <a:spcPts val="1224"/>
              </a:spcAft>
              <a:buSzPct val="90000"/>
            </a:pPr>
            <a:r>
              <a:rPr lang="en-US" sz="2040" b="1" dirty="0">
                <a:solidFill>
                  <a:schemeClr val="bg1"/>
                </a:solidFill>
              </a:rPr>
              <a:t>Manufacturing</a:t>
            </a:r>
          </a:p>
        </p:txBody>
      </p:sp>
      <p:sp>
        <p:nvSpPr>
          <p:cNvPr id="79" name="Rectangle 78"/>
          <p:cNvSpPr/>
          <p:nvPr/>
        </p:nvSpPr>
        <p:spPr bwMode="auto">
          <a:xfrm>
            <a:off x="2987147" y="4096249"/>
            <a:ext cx="1710397" cy="5406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Manufacturing Ops</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Connected Cars</a:t>
            </a:r>
          </a:p>
        </p:txBody>
      </p:sp>
      <p:grpSp>
        <p:nvGrpSpPr>
          <p:cNvPr id="58" name="Group 57"/>
          <p:cNvGrpSpPr/>
          <p:nvPr/>
        </p:nvGrpSpPr>
        <p:grpSpPr>
          <a:xfrm>
            <a:off x="3228882" y="2327886"/>
            <a:ext cx="1158755" cy="1084956"/>
            <a:chOff x="-935576" y="-1389503"/>
            <a:chExt cx="1420813" cy="1330325"/>
          </a:xfrm>
        </p:grpSpPr>
        <p:sp>
          <p:nvSpPr>
            <p:cNvPr id="59" name="Line 8"/>
            <p:cNvSpPr>
              <a:spLocks noChangeShapeType="1"/>
            </p:cNvSpPr>
            <p:nvPr/>
          </p:nvSpPr>
          <p:spPr bwMode="auto">
            <a:xfrm>
              <a:off x="-451388" y="-994215"/>
              <a:ext cx="428625" cy="427038"/>
            </a:xfrm>
            <a:prstGeom prst="line">
              <a:avLst/>
            </a:prstGeom>
            <a:noFill/>
            <a:ln w="28575"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60" name="Freeform 9"/>
            <p:cNvSpPr>
              <a:spLocks/>
            </p:cNvSpPr>
            <p:nvPr/>
          </p:nvSpPr>
          <p:spPr bwMode="auto">
            <a:xfrm>
              <a:off x="-91026" y="-633853"/>
              <a:ext cx="576263" cy="574675"/>
            </a:xfrm>
            <a:custGeom>
              <a:avLst/>
              <a:gdLst>
                <a:gd name="T0" fmla="*/ 363 w 363"/>
                <a:gd name="T1" fmla="*/ 270 h 362"/>
                <a:gd name="T2" fmla="*/ 270 w 363"/>
                <a:gd name="T3" fmla="*/ 362 h 362"/>
                <a:gd name="T4" fmla="*/ 0 w 363"/>
                <a:gd name="T5" fmla="*/ 85 h 362"/>
                <a:gd name="T6" fmla="*/ 86 w 363"/>
                <a:gd name="T7" fmla="*/ 0 h 362"/>
                <a:gd name="T8" fmla="*/ 363 w 363"/>
                <a:gd name="T9" fmla="*/ 270 h 362"/>
              </a:gdLst>
              <a:ahLst/>
              <a:cxnLst>
                <a:cxn ang="0">
                  <a:pos x="T0" y="T1"/>
                </a:cxn>
                <a:cxn ang="0">
                  <a:pos x="T2" y="T3"/>
                </a:cxn>
                <a:cxn ang="0">
                  <a:pos x="T4" y="T5"/>
                </a:cxn>
                <a:cxn ang="0">
                  <a:pos x="T6" y="T7"/>
                </a:cxn>
                <a:cxn ang="0">
                  <a:pos x="T8" y="T9"/>
                </a:cxn>
              </a:cxnLst>
              <a:rect l="0" t="0" r="r" b="b"/>
              <a:pathLst>
                <a:path w="363" h="362">
                  <a:moveTo>
                    <a:pt x="363" y="270"/>
                  </a:moveTo>
                  <a:lnTo>
                    <a:pt x="270" y="362"/>
                  </a:lnTo>
                  <a:lnTo>
                    <a:pt x="0" y="85"/>
                  </a:lnTo>
                  <a:lnTo>
                    <a:pt x="86" y="0"/>
                  </a:lnTo>
                  <a:lnTo>
                    <a:pt x="363" y="270"/>
                  </a:lnTo>
                  <a:close/>
                </a:path>
              </a:pathLst>
            </a:custGeom>
            <a:noFill/>
            <a:ln w="2857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61" name="Freeform 10"/>
            <p:cNvSpPr>
              <a:spLocks/>
            </p:cNvSpPr>
            <p:nvPr/>
          </p:nvSpPr>
          <p:spPr bwMode="auto">
            <a:xfrm>
              <a:off x="-935576" y="-1389503"/>
              <a:ext cx="755650" cy="620713"/>
            </a:xfrm>
            <a:custGeom>
              <a:avLst/>
              <a:gdLst>
                <a:gd name="T0" fmla="*/ 0 w 67"/>
                <a:gd name="T1" fmla="*/ 33 h 55"/>
                <a:gd name="T2" fmla="*/ 33 w 67"/>
                <a:gd name="T3" fmla="*/ 0 h 55"/>
                <a:gd name="T4" fmla="*/ 59 w 67"/>
                <a:gd name="T5" fmla="*/ 2 h 55"/>
                <a:gd name="T6" fmla="*/ 67 w 67"/>
                <a:gd name="T7" fmla="*/ 10 h 55"/>
                <a:gd name="T8" fmla="*/ 22 w 67"/>
                <a:gd name="T9" fmla="*/ 55 h 55"/>
                <a:gd name="T10" fmla="*/ 0 w 67"/>
                <a:gd name="T11" fmla="*/ 33 h 55"/>
              </a:gdLst>
              <a:ahLst/>
              <a:cxnLst>
                <a:cxn ang="0">
                  <a:pos x="T0" y="T1"/>
                </a:cxn>
                <a:cxn ang="0">
                  <a:pos x="T2" y="T3"/>
                </a:cxn>
                <a:cxn ang="0">
                  <a:pos x="T4" y="T5"/>
                </a:cxn>
                <a:cxn ang="0">
                  <a:pos x="T6" y="T7"/>
                </a:cxn>
                <a:cxn ang="0">
                  <a:pos x="T8" y="T9"/>
                </a:cxn>
                <a:cxn ang="0">
                  <a:pos x="T10" y="T11"/>
                </a:cxn>
              </a:cxnLst>
              <a:rect l="0" t="0" r="r" b="b"/>
              <a:pathLst>
                <a:path w="67" h="55">
                  <a:moveTo>
                    <a:pt x="0" y="33"/>
                  </a:moveTo>
                  <a:cubicBezTo>
                    <a:pt x="33" y="0"/>
                    <a:pt x="33" y="0"/>
                    <a:pt x="33" y="0"/>
                  </a:cubicBezTo>
                  <a:cubicBezTo>
                    <a:pt x="45" y="12"/>
                    <a:pt x="59" y="2"/>
                    <a:pt x="59" y="2"/>
                  </a:cubicBezTo>
                  <a:cubicBezTo>
                    <a:pt x="67" y="10"/>
                    <a:pt x="67" y="10"/>
                    <a:pt x="67" y="10"/>
                  </a:cubicBezTo>
                  <a:cubicBezTo>
                    <a:pt x="22" y="55"/>
                    <a:pt x="22" y="55"/>
                    <a:pt x="22" y="55"/>
                  </a:cubicBezTo>
                  <a:lnTo>
                    <a:pt x="0" y="33"/>
                  </a:lnTo>
                  <a:close/>
                </a:path>
              </a:pathLst>
            </a:cu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8" name="Group 7"/>
          <p:cNvGrpSpPr/>
          <p:nvPr/>
        </p:nvGrpSpPr>
        <p:grpSpPr>
          <a:xfrm>
            <a:off x="10344574" y="2184636"/>
            <a:ext cx="1630734" cy="2716538"/>
            <a:chOff x="10141796" y="2011363"/>
            <a:chExt cx="1598904" cy="2663514"/>
          </a:xfrm>
        </p:grpSpPr>
        <p:sp>
          <p:nvSpPr>
            <p:cNvPr id="52" name="Rectangle 51"/>
            <p:cNvSpPr/>
            <p:nvPr/>
          </p:nvSpPr>
          <p:spPr bwMode="auto">
            <a:xfrm>
              <a:off x="10141796" y="3366145"/>
              <a:ext cx="1598904" cy="3383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563">
                <a:spcAft>
                  <a:spcPts val="1224"/>
                </a:spcAft>
                <a:buSzPct val="90000"/>
              </a:pPr>
              <a:r>
                <a:rPr lang="en-US" sz="2040" b="1" dirty="0">
                  <a:solidFill>
                    <a:schemeClr val="bg1"/>
                  </a:solidFill>
                </a:rPr>
                <a:t>Government</a:t>
              </a:r>
            </a:p>
          </p:txBody>
        </p:sp>
        <p:sp>
          <p:nvSpPr>
            <p:cNvPr id="82" name="Rectangle 81"/>
            <p:cNvSpPr/>
            <p:nvPr/>
          </p:nvSpPr>
          <p:spPr bwMode="auto">
            <a:xfrm>
              <a:off x="10141796" y="3864441"/>
              <a:ext cx="1379990" cy="81043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Smart Buildings</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Transit &amp; Traffic Optimization</a:t>
              </a:r>
            </a:p>
          </p:txBody>
        </p:sp>
        <p:grpSp>
          <p:nvGrpSpPr>
            <p:cNvPr id="62" name="Group 61"/>
            <p:cNvGrpSpPr/>
            <p:nvPr/>
          </p:nvGrpSpPr>
          <p:grpSpPr>
            <a:xfrm>
              <a:off x="10492061" y="2011363"/>
              <a:ext cx="679461" cy="1054893"/>
              <a:chOff x="123287" y="2882460"/>
              <a:chExt cx="936625" cy="1454150"/>
            </a:xfrm>
          </p:grpSpPr>
          <p:sp>
            <p:nvSpPr>
              <p:cNvPr id="63" name="Line 11"/>
              <p:cNvSpPr>
                <a:spLocks noChangeShapeType="1"/>
              </p:cNvSpPr>
              <p:nvPr/>
            </p:nvSpPr>
            <p:spPr bwMode="auto">
              <a:xfrm>
                <a:off x="123287" y="2882460"/>
                <a:ext cx="0" cy="1454150"/>
              </a:xfrm>
              <a:prstGeom prst="line">
                <a:avLst/>
              </a:prstGeom>
              <a:noFill/>
              <a:ln w="28575"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64" name="Freeform 12"/>
              <p:cNvSpPr>
                <a:spLocks/>
              </p:cNvSpPr>
              <p:nvPr/>
            </p:nvSpPr>
            <p:spPr bwMode="auto">
              <a:xfrm>
                <a:off x="123287" y="3017397"/>
                <a:ext cx="936625" cy="552450"/>
              </a:xfrm>
              <a:custGeom>
                <a:avLst/>
                <a:gdLst>
                  <a:gd name="T0" fmla="*/ 0 w 590"/>
                  <a:gd name="T1" fmla="*/ 0 h 348"/>
                  <a:gd name="T2" fmla="*/ 590 w 590"/>
                  <a:gd name="T3" fmla="*/ 0 h 348"/>
                  <a:gd name="T4" fmla="*/ 505 w 590"/>
                  <a:gd name="T5" fmla="*/ 178 h 348"/>
                  <a:gd name="T6" fmla="*/ 590 w 590"/>
                  <a:gd name="T7" fmla="*/ 348 h 348"/>
                  <a:gd name="T8" fmla="*/ 0 w 590"/>
                  <a:gd name="T9" fmla="*/ 348 h 348"/>
                </a:gdLst>
                <a:ahLst/>
                <a:cxnLst>
                  <a:cxn ang="0">
                    <a:pos x="T0" y="T1"/>
                  </a:cxn>
                  <a:cxn ang="0">
                    <a:pos x="T2" y="T3"/>
                  </a:cxn>
                  <a:cxn ang="0">
                    <a:pos x="T4" y="T5"/>
                  </a:cxn>
                  <a:cxn ang="0">
                    <a:pos x="T6" y="T7"/>
                  </a:cxn>
                  <a:cxn ang="0">
                    <a:pos x="T8" y="T9"/>
                  </a:cxn>
                </a:cxnLst>
                <a:rect l="0" t="0" r="r" b="b"/>
                <a:pathLst>
                  <a:path w="590" h="348">
                    <a:moveTo>
                      <a:pt x="0" y="0"/>
                    </a:moveTo>
                    <a:lnTo>
                      <a:pt x="590" y="0"/>
                    </a:lnTo>
                    <a:lnTo>
                      <a:pt x="505" y="178"/>
                    </a:lnTo>
                    <a:lnTo>
                      <a:pt x="590" y="348"/>
                    </a:lnTo>
                    <a:lnTo>
                      <a:pt x="0" y="348"/>
                    </a:lnTo>
                  </a:path>
                </a:pathLst>
              </a:cu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grpSp>
      <p:grpSp>
        <p:nvGrpSpPr>
          <p:cNvPr id="6" name="Group 5"/>
          <p:cNvGrpSpPr/>
          <p:nvPr/>
        </p:nvGrpSpPr>
        <p:grpSpPr>
          <a:xfrm>
            <a:off x="8177127" y="2265027"/>
            <a:ext cx="1707433" cy="2912585"/>
            <a:chOff x="7723251" y="2090184"/>
            <a:chExt cx="1674106" cy="2855735"/>
          </a:xfrm>
        </p:grpSpPr>
        <p:sp>
          <p:nvSpPr>
            <p:cNvPr id="51" name="Rectangle 50"/>
            <p:cNvSpPr/>
            <p:nvPr/>
          </p:nvSpPr>
          <p:spPr bwMode="auto">
            <a:xfrm>
              <a:off x="7914962" y="3366144"/>
              <a:ext cx="1064870" cy="3056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563">
                <a:spcAft>
                  <a:spcPts val="1224"/>
                </a:spcAft>
                <a:buSzPct val="90000"/>
              </a:pPr>
              <a:r>
                <a:rPr lang="en-US" sz="2040" b="1" dirty="0">
                  <a:solidFill>
                    <a:schemeClr val="bg1"/>
                  </a:solidFill>
                </a:rPr>
                <a:t>Health</a:t>
              </a:r>
            </a:p>
          </p:txBody>
        </p:sp>
        <p:sp>
          <p:nvSpPr>
            <p:cNvPr id="81" name="Rectangle 80"/>
            <p:cNvSpPr/>
            <p:nvPr/>
          </p:nvSpPr>
          <p:spPr bwMode="auto">
            <a:xfrm>
              <a:off x="7723251" y="3885662"/>
              <a:ext cx="1674106" cy="10602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Remote Health Monitoring</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Population Health Management</a:t>
              </a:r>
            </a:p>
          </p:txBody>
        </p:sp>
        <p:sp>
          <p:nvSpPr>
            <p:cNvPr id="55" name="Freeform 7"/>
            <p:cNvSpPr>
              <a:spLocks/>
            </p:cNvSpPr>
            <p:nvPr/>
          </p:nvSpPr>
          <p:spPr bwMode="auto">
            <a:xfrm>
              <a:off x="7883773" y="2090184"/>
              <a:ext cx="1127249" cy="982535"/>
            </a:xfrm>
            <a:custGeom>
              <a:avLst/>
              <a:gdLst>
                <a:gd name="T0" fmla="*/ 0 w 125"/>
                <a:gd name="T1" fmla="*/ 32 h 109"/>
                <a:gd name="T2" fmla="*/ 62 w 125"/>
                <a:gd name="T3" fmla="*/ 109 h 109"/>
                <a:gd name="T4" fmla="*/ 125 w 125"/>
                <a:gd name="T5" fmla="*/ 32 h 109"/>
                <a:gd name="T6" fmla="*/ 95 w 125"/>
                <a:gd name="T7" fmla="*/ 0 h 109"/>
                <a:gd name="T8" fmla="*/ 62 w 125"/>
                <a:gd name="T9" fmla="*/ 28 h 109"/>
                <a:gd name="T10" fmla="*/ 30 w 125"/>
                <a:gd name="T11" fmla="*/ 0 h 109"/>
                <a:gd name="T12" fmla="*/ 0 w 125"/>
                <a:gd name="T13" fmla="*/ 32 h 109"/>
              </a:gdLst>
              <a:ahLst/>
              <a:cxnLst>
                <a:cxn ang="0">
                  <a:pos x="T0" y="T1"/>
                </a:cxn>
                <a:cxn ang="0">
                  <a:pos x="T2" y="T3"/>
                </a:cxn>
                <a:cxn ang="0">
                  <a:pos x="T4" y="T5"/>
                </a:cxn>
                <a:cxn ang="0">
                  <a:pos x="T6" y="T7"/>
                </a:cxn>
                <a:cxn ang="0">
                  <a:pos x="T8" y="T9"/>
                </a:cxn>
                <a:cxn ang="0">
                  <a:pos x="T10" y="T11"/>
                </a:cxn>
                <a:cxn ang="0">
                  <a:pos x="T12" y="T13"/>
                </a:cxn>
              </a:cxnLst>
              <a:rect l="0" t="0" r="r" b="b"/>
              <a:pathLst>
                <a:path w="125" h="109">
                  <a:moveTo>
                    <a:pt x="0" y="32"/>
                  </a:moveTo>
                  <a:cubicBezTo>
                    <a:pt x="0" y="73"/>
                    <a:pt x="62" y="109"/>
                    <a:pt x="62" y="109"/>
                  </a:cubicBezTo>
                  <a:cubicBezTo>
                    <a:pt x="62" y="109"/>
                    <a:pt x="125" y="73"/>
                    <a:pt x="125" y="32"/>
                  </a:cubicBezTo>
                  <a:cubicBezTo>
                    <a:pt x="125" y="16"/>
                    <a:pt x="113" y="0"/>
                    <a:pt x="95" y="0"/>
                  </a:cubicBezTo>
                  <a:cubicBezTo>
                    <a:pt x="78" y="0"/>
                    <a:pt x="62" y="11"/>
                    <a:pt x="62" y="28"/>
                  </a:cubicBezTo>
                  <a:cubicBezTo>
                    <a:pt x="62" y="11"/>
                    <a:pt x="47" y="0"/>
                    <a:pt x="30" y="0"/>
                  </a:cubicBezTo>
                  <a:cubicBezTo>
                    <a:pt x="12" y="0"/>
                    <a:pt x="0" y="16"/>
                    <a:pt x="0" y="32"/>
                  </a:cubicBezTo>
                  <a:close/>
                </a:path>
              </a:pathLst>
            </a:cu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84" name="Freeform 34"/>
            <p:cNvSpPr>
              <a:spLocks/>
            </p:cNvSpPr>
            <p:nvPr/>
          </p:nvSpPr>
          <p:spPr bwMode="auto">
            <a:xfrm>
              <a:off x="8190766" y="2517397"/>
              <a:ext cx="513262" cy="282063"/>
            </a:xfrm>
            <a:custGeom>
              <a:avLst/>
              <a:gdLst>
                <a:gd name="T0" fmla="*/ 222 w 222"/>
                <a:gd name="T1" fmla="*/ 68 h 122"/>
                <a:gd name="T2" fmla="*/ 192 w 222"/>
                <a:gd name="T3" fmla="*/ 68 h 122"/>
                <a:gd name="T4" fmla="*/ 172 w 222"/>
                <a:gd name="T5" fmla="*/ 22 h 122"/>
                <a:gd name="T6" fmla="*/ 128 w 222"/>
                <a:gd name="T7" fmla="*/ 122 h 122"/>
                <a:gd name="T8" fmla="*/ 86 w 222"/>
                <a:gd name="T9" fmla="*/ 0 h 122"/>
                <a:gd name="T10" fmla="*/ 52 w 222"/>
                <a:gd name="T11" fmla="*/ 72 h 122"/>
                <a:gd name="T12" fmla="*/ 0 w 222"/>
                <a:gd name="T13" fmla="*/ 72 h 122"/>
              </a:gdLst>
              <a:ahLst/>
              <a:cxnLst>
                <a:cxn ang="0">
                  <a:pos x="T0" y="T1"/>
                </a:cxn>
                <a:cxn ang="0">
                  <a:pos x="T2" y="T3"/>
                </a:cxn>
                <a:cxn ang="0">
                  <a:pos x="T4" y="T5"/>
                </a:cxn>
                <a:cxn ang="0">
                  <a:pos x="T6" y="T7"/>
                </a:cxn>
                <a:cxn ang="0">
                  <a:pos x="T8" y="T9"/>
                </a:cxn>
                <a:cxn ang="0">
                  <a:pos x="T10" y="T11"/>
                </a:cxn>
                <a:cxn ang="0">
                  <a:pos x="T12" y="T13"/>
                </a:cxn>
              </a:cxnLst>
              <a:rect l="0" t="0" r="r" b="b"/>
              <a:pathLst>
                <a:path w="222" h="122">
                  <a:moveTo>
                    <a:pt x="222" y="68"/>
                  </a:moveTo>
                  <a:lnTo>
                    <a:pt x="192" y="68"/>
                  </a:lnTo>
                  <a:lnTo>
                    <a:pt x="172" y="22"/>
                  </a:lnTo>
                  <a:lnTo>
                    <a:pt x="128" y="122"/>
                  </a:lnTo>
                  <a:lnTo>
                    <a:pt x="86" y="0"/>
                  </a:lnTo>
                  <a:lnTo>
                    <a:pt x="52" y="72"/>
                  </a:lnTo>
                  <a:lnTo>
                    <a:pt x="0" y="72"/>
                  </a:lnTo>
                </a:path>
              </a:pathLst>
            </a:custGeom>
            <a:noFill/>
            <a:ln w="28575">
              <a:solidFill>
                <a:srgbClr val="002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4" name="Group 3"/>
          <p:cNvGrpSpPr/>
          <p:nvPr/>
        </p:nvGrpSpPr>
        <p:grpSpPr>
          <a:xfrm>
            <a:off x="5241548" y="3566387"/>
            <a:ext cx="2245260" cy="1070542"/>
            <a:chOff x="4979356" y="3366144"/>
            <a:chExt cx="2201435" cy="1049646"/>
          </a:xfrm>
        </p:grpSpPr>
        <p:sp>
          <p:nvSpPr>
            <p:cNvPr id="50" name="Rectangle 49"/>
            <p:cNvSpPr/>
            <p:nvPr/>
          </p:nvSpPr>
          <p:spPr bwMode="auto">
            <a:xfrm>
              <a:off x="4979356" y="3366144"/>
              <a:ext cx="2201435" cy="3056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563">
                <a:spcAft>
                  <a:spcPts val="1224"/>
                </a:spcAft>
                <a:buSzPct val="90000"/>
              </a:pPr>
              <a:r>
                <a:rPr lang="en-US" sz="2040" b="1" spc="-20" dirty="0">
                  <a:solidFill>
                    <a:schemeClr val="bg1"/>
                  </a:solidFill>
                </a:rPr>
                <a:t>Financial Services</a:t>
              </a:r>
            </a:p>
          </p:txBody>
        </p:sp>
        <p:sp>
          <p:nvSpPr>
            <p:cNvPr id="80" name="Rectangle 79"/>
            <p:cNvSpPr/>
            <p:nvPr/>
          </p:nvSpPr>
          <p:spPr bwMode="auto">
            <a:xfrm>
              <a:off x="5170814" y="3885663"/>
              <a:ext cx="1823357" cy="5301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Customer Experience</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Risk Assessment</a:t>
              </a:r>
            </a:p>
          </p:txBody>
        </p:sp>
      </p:grpSp>
      <p:sp>
        <p:nvSpPr>
          <p:cNvPr id="40" name="Freeform 39"/>
          <p:cNvSpPr>
            <a:spLocks noChangeAspect="1" noEditPoints="1"/>
          </p:cNvSpPr>
          <p:nvPr/>
        </p:nvSpPr>
        <p:spPr bwMode="auto">
          <a:xfrm>
            <a:off x="5856384" y="2294471"/>
            <a:ext cx="834304" cy="1128481"/>
          </a:xfrm>
          <a:custGeom>
            <a:avLst/>
            <a:gdLst/>
            <a:ahLst/>
            <a:cxnLst>
              <a:cxn ang="0">
                <a:pos x="116" y="0"/>
              </a:cxn>
              <a:cxn ang="0">
                <a:pos x="144" y="0"/>
              </a:cxn>
              <a:cxn ang="0">
                <a:pos x="144" y="32"/>
              </a:cxn>
              <a:cxn ang="0">
                <a:pos x="170" y="32"/>
              </a:cxn>
              <a:cxn ang="0">
                <a:pos x="170" y="0"/>
              </a:cxn>
              <a:cxn ang="0">
                <a:pos x="199" y="0"/>
              </a:cxn>
              <a:cxn ang="0">
                <a:pos x="199" y="38"/>
              </a:cxn>
              <a:cxn ang="0">
                <a:pos x="271" y="68"/>
              </a:cxn>
              <a:cxn ang="0">
                <a:pos x="303" y="140"/>
              </a:cxn>
              <a:cxn ang="0">
                <a:pos x="249" y="140"/>
              </a:cxn>
              <a:cxn ang="0">
                <a:pos x="231" y="100"/>
              </a:cxn>
              <a:cxn ang="0">
                <a:pos x="199" y="84"/>
              </a:cxn>
              <a:cxn ang="0">
                <a:pos x="199" y="188"/>
              </a:cxn>
              <a:cxn ang="0">
                <a:pos x="223" y="194"/>
              </a:cxn>
              <a:cxn ang="0">
                <a:pos x="271" y="212"/>
              </a:cxn>
              <a:cxn ang="0">
                <a:pos x="309" y="286"/>
              </a:cxn>
              <a:cxn ang="0">
                <a:pos x="285" y="350"/>
              </a:cxn>
              <a:cxn ang="0">
                <a:pos x="199" y="382"/>
              </a:cxn>
              <a:cxn ang="0">
                <a:pos x="199" y="418"/>
              </a:cxn>
              <a:cxn ang="0">
                <a:pos x="170" y="418"/>
              </a:cxn>
              <a:cxn ang="0">
                <a:pos x="170" y="386"/>
              </a:cxn>
              <a:cxn ang="0">
                <a:pos x="144" y="386"/>
              </a:cxn>
              <a:cxn ang="0">
                <a:pos x="144" y="418"/>
              </a:cxn>
              <a:cxn ang="0">
                <a:pos x="116" y="418"/>
              </a:cxn>
              <a:cxn ang="0">
                <a:pos x="116" y="384"/>
              </a:cxn>
              <a:cxn ang="0">
                <a:pos x="36" y="346"/>
              </a:cxn>
              <a:cxn ang="0">
                <a:pos x="0" y="266"/>
              </a:cxn>
              <a:cxn ang="0">
                <a:pos x="54" y="266"/>
              </a:cxn>
              <a:cxn ang="0">
                <a:pos x="76" y="316"/>
              </a:cxn>
              <a:cxn ang="0">
                <a:pos x="116" y="340"/>
              </a:cxn>
              <a:cxn ang="0">
                <a:pos x="116" y="226"/>
              </a:cxn>
              <a:cxn ang="0">
                <a:pos x="40" y="188"/>
              </a:cxn>
              <a:cxn ang="0">
                <a:pos x="14" y="130"/>
              </a:cxn>
              <a:cxn ang="0">
                <a:pos x="42" y="66"/>
              </a:cxn>
              <a:cxn ang="0">
                <a:pos x="116" y="34"/>
              </a:cxn>
              <a:cxn ang="0">
                <a:pos x="116" y="0"/>
              </a:cxn>
              <a:cxn ang="0">
                <a:pos x="116" y="78"/>
              </a:cxn>
              <a:cxn ang="0">
                <a:pos x="82" y="94"/>
              </a:cxn>
              <a:cxn ang="0">
                <a:pos x="68" y="128"/>
              </a:cxn>
              <a:cxn ang="0">
                <a:pos x="82" y="158"/>
              </a:cxn>
              <a:cxn ang="0">
                <a:pos x="116" y="176"/>
              </a:cxn>
              <a:cxn ang="0">
                <a:pos x="116" y="78"/>
              </a:cxn>
              <a:cxn ang="0">
                <a:pos x="144" y="180"/>
              </a:cxn>
              <a:cxn ang="0">
                <a:pos x="170" y="186"/>
              </a:cxn>
              <a:cxn ang="0">
                <a:pos x="170" y="80"/>
              </a:cxn>
              <a:cxn ang="0">
                <a:pos x="144" y="78"/>
              </a:cxn>
              <a:cxn ang="0">
                <a:pos x="144" y="180"/>
              </a:cxn>
              <a:cxn ang="0">
                <a:pos x="144" y="344"/>
              </a:cxn>
              <a:cxn ang="0">
                <a:pos x="170" y="344"/>
              </a:cxn>
              <a:cxn ang="0">
                <a:pos x="170" y="234"/>
              </a:cxn>
              <a:cxn ang="0">
                <a:pos x="144" y="230"/>
              </a:cxn>
              <a:cxn ang="0">
                <a:pos x="144" y="344"/>
              </a:cxn>
              <a:cxn ang="0">
                <a:pos x="199" y="340"/>
              </a:cxn>
              <a:cxn ang="0">
                <a:pos x="247" y="320"/>
              </a:cxn>
              <a:cxn ang="0">
                <a:pos x="261" y="288"/>
              </a:cxn>
              <a:cxn ang="0">
                <a:pos x="235" y="248"/>
              </a:cxn>
              <a:cxn ang="0">
                <a:pos x="199" y="238"/>
              </a:cxn>
              <a:cxn ang="0">
                <a:pos x="199" y="340"/>
              </a:cxn>
            </a:cxnLst>
            <a:rect l="0" t="0" r="r" b="b"/>
            <a:pathLst>
              <a:path w="309" h="418">
                <a:moveTo>
                  <a:pt x="116" y="0"/>
                </a:moveTo>
                <a:cubicBezTo>
                  <a:pt x="144" y="0"/>
                  <a:pt x="144" y="0"/>
                  <a:pt x="144" y="0"/>
                </a:cubicBezTo>
                <a:cubicBezTo>
                  <a:pt x="144" y="32"/>
                  <a:pt x="144" y="32"/>
                  <a:pt x="144" y="32"/>
                </a:cubicBezTo>
                <a:cubicBezTo>
                  <a:pt x="154" y="30"/>
                  <a:pt x="162" y="30"/>
                  <a:pt x="170" y="32"/>
                </a:cubicBezTo>
                <a:cubicBezTo>
                  <a:pt x="170" y="0"/>
                  <a:pt x="170" y="0"/>
                  <a:pt x="170" y="0"/>
                </a:cubicBezTo>
                <a:cubicBezTo>
                  <a:pt x="199" y="0"/>
                  <a:pt x="199" y="0"/>
                  <a:pt x="199" y="0"/>
                </a:cubicBezTo>
                <a:cubicBezTo>
                  <a:pt x="199" y="38"/>
                  <a:pt x="199" y="38"/>
                  <a:pt x="199" y="38"/>
                </a:cubicBezTo>
                <a:cubicBezTo>
                  <a:pt x="233" y="44"/>
                  <a:pt x="257" y="54"/>
                  <a:pt x="271" y="68"/>
                </a:cubicBezTo>
                <a:cubicBezTo>
                  <a:pt x="288" y="85"/>
                  <a:pt x="299" y="109"/>
                  <a:pt x="303" y="140"/>
                </a:cubicBezTo>
                <a:cubicBezTo>
                  <a:pt x="249" y="140"/>
                  <a:pt x="249" y="140"/>
                  <a:pt x="249" y="140"/>
                </a:cubicBezTo>
                <a:cubicBezTo>
                  <a:pt x="247" y="124"/>
                  <a:pt x="241" y="110"/>
                  <a:pt x="231" y="100"/>
                </a:cubicBezTo>
                <a:cubicBezTo>
                  <a:pt x="224" y="93"/>
                  <a:pt x="213" y="88"/>
                  <a:pt x="199" y="84"/>
                </a:cubicBezTo>
                <a:cubicBezTo>
                  <a:pt x="199" y="188"/>
                  <a:pt x="199" y="188"/>
                  <a:pt x="199" y="188"/>
                </a:cubicBezTo>
                <a:cubicBezTo>
                  <a:pt x="223" y="194"/>
                  <a:pt x="223" y="194"/>
                  <a:pt x="223" y="194"/>
                </a:cubicBezTo>
                <a:cubicBezTo>
                  <a:pt x="244" y="199"/>
                  <a:pt x="260" y="205"/>
                  <a:pt x="271" y="212"/>
                </a:cubicBezTo>
                <a:cubicBezTo>
                  <a:pt x="296" y="228"/>
                  <a:pt x="309" y="252"/>
                  <a:pt x="309" y="286"/>
                </a:cubicBezTo>
                <a:cubicBezTo>
                  <a:pt x="309" y="312"/>
                  <a:pt x="301" y="334"/>
                  <a:pt x="285" y="350"/>
                </a:cubicBezTo>
                <a:cubicBezTo>
                  <a:pt x="266" y="369"/>
                  <a:pt x="237" y="379"/>
                  <a:pt x="199" y="382"/>
                </a:cubicBezTo>
                <a:cubicBezTo>
                  <a:pt x="199" y="418"/>
                  <a:pt x="199" y="418"/>
                  <a:pt x="199" y="418"/>
                </a:cubicBezTo>
                <a:cubicBezTo>
                  <a:pt x="170" y="418"/>
                  <a:pt x="170" y="418"/>
                  <a:pt x="170" y="418"/>
                </a:cubicBezTo>
                <a:cubicBezTo>
                  <a:pt x="170" y="386"/>
                  <a:pt x="170" y="386"/>
                  <a:pt x="170" y="386"/>
                </a:cubicBezTo>
                <a:cubicBezTo>
                  <a:pt x="162" y="387"/>
                  <a:pt x="154" y="387"/>
                  <a:pt x="144" y="386"/>
                </a:cubicBezTo>
                <a:cubicBezTo>
                  <a:pt x="144" y="418"/>
                  <a:pt x="144" y="418"/>
                  <a:pt x="144" y="418"/>
                </a:cubicBezTo>
                <a:cubicBezTo>
                  <a:pt x="116" y="418"/>
                  <a:pt x="116" y="418"/>
                  <a:pt x="116" y="418"/>
                </a:cubicBezTo>
                <a:cubicBezTo>
                  <a:pt x="116" y="384"/>
                  <a:pt x="116" y="384"/>
                  <a:pt x="116" y="384"/>
                </a:cubicBezTo>
                <a:cubicBezTo>
                  <a:pt x="86" y="381"/>
                  <a:pt x="59" y="369"/>
                  <a:pt x="36" y="346"/>
                </a:cubicBezTo>
                <a:cubicBezTo>
                  <a:pt x="18" y="327"/>
                  <a:pt x="6" y="300"/>
                  <a:pt x="0" y="266"/>
                </a:cubicBezTo>
                <a:cubicBezTo>
                  <a:pt x="54" y="266"/>
                  <a:pt x="54" y="266"/>
                  <a:pt x="54" y="266"/>
                </a:cubicBezTo>
                <a:cubicBezTo>
                  <a:pt x="58" y="288"/>
                  <a:pt x="66" y="305"/>
                  <a:pt x="76" y="316"/>
                </a:cubicBezTo>
                <a:cubicBezTo>
                  <a:pt x="91" y="330"/>
                  <a:pt x="104" y="339"/>
                  <a:pt x="116" y="340"/>
                </a:cubicBezTo>
                <a:cubicBezTo>
                  <a:pt x="116" y="226"/>
                  <a:pt x="116" y="226"/>
                  <a:pt x="116" y="226"/>
                </a:cubicBezTo>
                <a:cubicBezTo>
                  <a:pt x="83" y="218"/>
                  <a:pt x="58" y="205"/>
                  <a:pt x="40" y="188"/>
                </a:cubicBezTo>
                <a:cubicBezTo>
                  <a:pt x="23" y="170"/>
                  <a:pt x="14" y="151"/>
                  <a:pt x="14" y="130"/>
                </a:cubicBezTo>
                <a:cubicBezTo>
                  <a:pt x="14" y="106"/>
                  <a:pt x="24" y="84"/>
                  <a:pt x="42" y="66"/>
                </a:cubicBezTo>
                <a:cubicBezTo>
                  <a:pt x="62" y="46"/>
                  <a:pt x="87" y="35"/>
                  <a:pt x="116" y="34"/>
                </a:cubicBezTo>
                <a:lnTo>
                  <a:pt x="116" y="0"/>
                </a:lnTo>
                <a:close/>
                <a:moveTo>
                  <a:pt x="116" y="78"/>
                </a:moveTo>
                <a:cubicBezTo>
                  <a:pt x="103" y="79"/>
                  <a:pt x="92" y="84"/>
                  <a:pt x="82" y="94"/>
                </a:cubicBezTo>
                <a:cubicBezTo>
                  <a:pt x="73" y="103"/>
                  <a:pt x="68" y="114"/>
                  <a:pt x="68" y="128"/>
                </a:cubicBezTo>
                <a:cubicBezTo>
                  <a:pt x="68" y="138"/>
                  <a:pt x="73" y="148"/>
                  <a:pt x="82" y="158"/>
                </a:cubicBezTo>
                <a:cubicBezTo>
                  <a:pt x="90" y="166"/>
                  <a:pt x="102" y="172"/>
                  <a:pt x="116" y="176"/>
                </a:cubicBezTo>
                <a:lnTo>
                  <a:pt x="116" y="78"/>
                </a:lnTo>
                <a:close/>
                <a:moveTo>
                  <a:pt x="144" y="180"/>
                </a:moveTo>
                <a:cubicBezTo>
                  <a:pt x="159" y="182"/>
                  <a:pt x="168" y="184"/>
                  <a:pt x="170" y="186"/>
                </a:cubicBezTo>
                <a:cubicBezTo>
                  <a:pt x="170" y="80"/>
                  <a:pt x="170" y="80"/>
                  <a:pt x="170" y="80"/>
                </a:cubicBezTo>
                <a:cubicBezTo>
                  <a:pt x="162" y="78"/>
                  <a:pt x="154" y="78"/>
                  <a:pt x="144" y="78"/>
                </a:cubicBezTo>
                <a:lnTo>
                  <a:pt x="144" y="180"/>
                </a:lnTo>
                <a:close/>
                <a:moveTo>
                  <a:pt x="144" y="344"/>
                </a:moveTo>
                <a:cubicBezTo>
                  <a:pt x="156" y="345"/>
                  <a:pt x="165" y="345"/>
                  <a:pt x="170" y="344"/>
                </a:cubicBezTo>
                <a:cubicBezTo>
                  <a:pt x="170" y="234"/>
                  <a:pt x="170" y="234"/>
                  <a:pt x="170" y="234"/>
                </a:cubicBezTo>
                <a:cubicBezTo>
                  <a:pt x="164" y="232"/>
                  <a:pt x="155" y="231"/>
                  <a:pt x="144" y="230"/>
                </a:cubicBezTo>
                <a:lnTo>
                  <a:pt x="144" y="344"/>
                </a:lnTo>
                <a:close/>
                <a:moveTo>
                  <a:pt x="199" y="340"/>
                </a:moveTo>
                <a:cubicBezTo>
                  <a:pt x="221" y="336"/>
                  <a:pt x="237" y="329"/>
                  <a:pt x="247" y="320"/>
                </a:cubicBezTo>
                <a:cubicBezTo>
                  <a:pt x="256" y="310"/>
                  <a:pt x="261" y="300"/>
                  <a:pt x="261" y="288"/>
                </a:cubicBezTo>
                <a:cubicBezTo>
                  <a:pt x="261" y="270"/>
                  <a:pt x="252" y="257"/>
                  <a:pt x="235" y="248"/>
                </a:cubicBezTo>
                <a:cubicBezTo>
                  <a:pt x="229" y="245"/>
                  <a:pt x="217" y="242"/>
                  <a:pt x="199" y="238"/>
                </a:cubicBezTo>
                <a:lnTo>
                  <a:pt x="199" y="340"/>
                </a:lnTo>
                <a:close/>
              </a:path>
            </a:pathLst>
          </a:custGeom>
          <a:solidFill>
            <a:srgbClr val="FFFFFF"/>
          </a:solidFill>
          <a:ln w="28575">
            <a:solidFill>
              <a:schemeClr val="accent1"/>
            </a:solidFill>
            <a:round/>
            <a:headEnd/>
            <a:tailEnd/>
          </a:ln>
        </p:spPr>
        <p:txBody>
          <a:bodyPr vert="horz" wrap="square" lIns="93260" tIns="46630" rIns="93260" bIns="46630" numCol="1" anchor="t" anchorCtr="0" compatLnSpc="1">
            <a:prstTxWarp prst="textNoShape">
              <a:avLst/>
            </a:prstTxWarp>
          </a:bodyPr>
          <a:lstStyle>
            <a:defPPr>
              <a:defRPr lang="en-US"/>
            </a:defPPr>
            <a:lvl1pPr marL="0" algn="l" defTabSz="1097280" rtl="0" eaLnBrk="1" latinLnBrk="0" hangingPunct="1">
              <a:defRPr sz="2200" kern="1200">
                <a:solidFill>
                  <a:schemeClr val="tx1"/>
                </a:solidFill>
                <a:latin typeface="+mn-lt"/>
                <a:ea typeface="+mn-ea"/>
                <a:cs typeface="+mn-cs"/>
              </a:defRPr>
            </a:lvl1pPr>
            <a:lvl2pPr marL="548640" algn="l" defTabSz="1097280" rtl="0" eaLnBrk="1" latinLnBrk="0" hangingPunct="1">
              <a:defRPr sz="2200" kern="1200">
                <a:solidFill>
                  <a:schemeClr val="tx1"/>
                </a:solidFill>
                <a:latin typeface="+mn-lt"/>
                <a:ea typeface="+mn-ea"/>
                <a:cs typeface="+mn-cs"/>
              </a:defRPr>
            </a:lvl2pPr>
            <a:lvl3pPr marL="1097280" algn="l" defTabSz="1097280" rtl="0" eaLnBrk="1" latinLnBrk="0" hangingPunct="1">
              <a:defRPr sz="2200" kern="1200">
                <a:solidFill>
                  <a:schemeClr val="tx1"/>
                </a:solidFill>
                <a:latin typeface="+mn-lt"/>
                <a:ea typeface="+mn-ea"/>
                <a:cs typeface="+mn-cs"/>
              </a:defRPr>
            </a:lvl3pPr>
            <a:lvl4pPr marL="1645920" algn="l" defTabSz="1097280" rtl="0" eaLnBrk="1" latinLnBrk="0" hangingPunct="1">
              <a:defRPr sz="2200" kern="1200">
                <a:solidFill>
                  <a:schemeClr val="tx1"/>
                </a:solidFill>
                <a:latin typeface="+mn-lt"/>
                <a:ea typeface="+mn-ea"/>
                <a:cs typeface="+mn-cs"/>
              </a:defRPr>
            </a:lvl4pPr>
            <a:lvl5pPr marL="2194560" algn="l" defTabSz="1097280" rtl="0" eaLnBrk="1" latinLnBrk="0" hangingPunct="1">
              <a:defRPr sz="2200" kern="1200">
                <a:solidFill>
                  <a:schemeClr val="tx1"/>
                </a:solidFill>
                <a:latin typeface="+mn-lt"/>
                <a:ea typeface="+mn-ea"/>
                <a:cs typeface="+mn-cs"/>
              </a:defRPr>
            </a:lvl5pPr>
            <a:lvl6pPr marL="2743200" algn="l" defTabSz="1097280" rtl="0" eaLnBrk="1" latinLnBrk="0" hangingPunct="1">
              <a:defRPr sz="2200" kern="1200">
                <a:solidFill>
                  <a:schemeClr val="tx1"/>
                </a:solidFill>
                <a:latin typeface="+mn-lt"/>
                <a:ea typeface="+mn-ea"/>
                <a:cs typeface="+mn-cs"/>
              </a:defRPr>
            </a:lvl6pPr>
            <a:lvl7pPr marL="3291840" algn="l" defTabSz="1097280" rtl="0" eaLnBrk="1" latinLnBrk="0" hangingPunct="1">
              <a:defRPr sz="2200" kern="1200">
                <a:solidFill>
                  <a:schemeClr val="tx1"/>
                </a:solidFill>
                <a:latin typeface="+mn-lt"/>
                <a:ea typeface="+mn-ea"/>
                <a:cs typeface="+mn-cs"/>
              </a:defRPr>
            </a:lvl7pPr>
            <a:lvl8pPr marL="3840480" algn="l" defTabSz="1097280" rtl="0" eaLnBrk="1" latinLnBrk="0" hangingPunct="1">
              <a:defRPr sz="2200" kern="1200">
                <a:solidFill>
                  <a:schemeClr val="tx1"/>
                </a:solidFill>
                <a:latin typeface="+mn-lt"/>
                <a:ea typeface="+mn-ea"/>
                <a:cs typeface="+mn-cs"/>
              </a:defRPr>
            </a:lvl8pPr>
            <a:lvl9pPr marL="4389120" algn="l" defTabSz="1097280" rtl="0" eaLnBrk="1" latinLnBrk="0" hangingPunct="1">
              <a:defRPr sz="2200" kern="1200">
                <a:solidFill>
                  <a:schemeClr val="tx1"/>
                </a:solidFill>
                <a:latin typeface="+mn-lt"/>
                <a:ea typeface="+mn-ea"/>
                <a:cs typeface="+mn-cs"/>
              </a:defRPr>
            </a:lvl9pPr>
          </a:lstStyle>
          <a:p>
            <a:endParaRPr lang="en-US" sz="2244"/>
          </a:p>
        </p:txBody>
      </p:sp>
    </p:spTree>
    <p:extLst>
      <p:ext uri="{BB962C8B-B14F-4D97-AF65-F5344CB8AC3E}">
        <p14:creationId xmlns:p14="http://schemas.microsoft.com/office/powerpoint/2010/main" val="1013535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220971" y="1669943"/>
            <a:ext cx="6216384" cy="3309073"/>
          </a:xfrm>
          <a:prstGeom prst="rect">
            <a:avLst/>
          </a:prstGeom>
        </p:spPr>
      </p:pic>
      <p:sp>
        <p:nvSpPr>
          <p:cNvPr id="2" name="Title 1"/>
          <p:cNvSpPr>
            <a:spLocks noGrp="1"/>
          </p:cNvSpPr>
          <p:nvPr>
            <p:ph type="title"/>
          </p:nvPr>
        </p:nvSpPr>
        <p:spPr/>
        <p:txBody>
          <a:bodyPr/>
          <a:lstStyle/>
          <a:p>
            <a:r>
              <a:rPr lang="en-US"/>
              <a:t>Dartmouth-Hitchcock Demo + Video</a:t>
            </a:r>
            <a:endParaRPr lang="en-US" dirty="0"/>
          </a:p>
        </p:txBody>
      </p:sp>
      <p:pic>
        <p:nvPicPr>
          <p:cNvPr id="5" name="Picture 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456737" y="1468353"/>
            <a:ext cx="7744853" cy="4494110"/>
          </a:xfrm>
          <a:prstGeom prst="rect">
            <a:avLst/>
          </a:prstGeom>
        </p:spPr>
      </p:pic>
      <p:pic>
        <p:nvPicPr>
          <p:cNvPr id="10" name="Picture 9">
            <a:hlinkClick r:id="rId5"/>
          </p:cNvPr>
          <p:cNvPicPr>
            <a:picLocks noChangeAspect="1"/>
          </p:cNvPicPr>
          <p:nvPr/>
        </p:nvPicPr>
        <p:blipFill rotWithShape="1">
          <a:blip r:embed="rId6" cstate="email">
            <a:extLst>
              <a:ext uri="{28A0092B-C50C-407E-A947-70E740481C1C}">
                <a14:useLocalDpi xmlns:a14="http://schemas.microsoft.com/office/drawing/2010/main"/>
              </a:ext>
            </a:extLst>
          </a:blip>
          <a:srcRect l="32532" b="675"/>
          <a:stretch/>
        </p:blipFill>
        <p:spPr>
          <a:xfrm>
            <a:off x="5850357" y="2962287"/>
            <a:ext cx="1352290" cy="432785"/>
          </a:xfrm>
          <a:prstGeom prst="rect">
            <a:avLst/>
          </a:prstGeom>
        </p:spPr>
      </p:pic>
      <p:sp>
        <p:nvSpPr>
          <p:cNvPr id="11" name="Freeform 101">
            <a:hlinkClick r:id="rId5"/>
          </p:cNvPr>
          <p:cNvSpPr>
            <a:spLocks/>
          </p:cNvSpPr>
          <p:nvPr/>
        </p:nvSpPr>
        <p:spPr bwMode="black">
          <a:xfrm rot="10800000">
            <a:off x="5455680" y="2985229"/>
            <a:ext cx="315856" cy="460919"/>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ysClr val="window" lastClr="FFFFFF"/>
          </a:solidFill>
          <a:ln>
            <a:noFill/>
          </a:ln>
          <a:extLst/>
        </p:spPr>
        <p:txBody>
          <a:bodyPr vert="horz" wrap="square" lIns="91403" tIns="45702" rIns="91403" bIns="45702" numCol="1" anchor="t" anchorCtr="0" compatLnSpc="1">
            <a:prstTxWarp prst="textNoShape">
              <a:avLst/>
            </a:prstTxWarp>
          </a:bodyPr>
          <a:lstStyle/>
          <a:p>
            <a:pPr>
              <a:defRPr/>
            </a:pPr>
            <a:endParaRPr lang="en-US" sz="2199" kern="0">
              <a:solidFill>
                <a:srgbClr val="505050"/>
              </a:solidFill>
            </a:endParaRPr>
          </a:p>
        </p:txBody>
      </p:sp>
    </p:spTree>
    <p:extLst>
      <p:ext uri="{BB962C8B-B14F-4D97-AF65-F5344CB8AC3E}">
        <p14:creationId xmlns:p14="http://schemas.microsoft.com/office/powerpoint/2010/main" val="803820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can Cortana Intelligence help you?</a:t>
            </a:r>
          </a:p>
        </p:txBody>
      </p:sp>
      <p:grpSp>
        <p:nvGrpSpPr>
          <p:cNvPr id="4" name="Group 3"/>
          <p:cNvGrpSpPr/>
          <p:nvPr/>
        </p:nvGrpSpPr>
        <p:grpSpPr>
          <a:xfrm>
            <a:off x="-1969584" y="1441257"/>
            <a:ext cx="14596968" cy="4942688"/>
            <a:chOff x="7346540" y="5195168"/>
            <a:chExt cx="5312893" cy="1799002"/>
          </a:xfrm>
        </p:grpSpPr>
        <p:grpSp>
          <p:nvGrpSpPr>
            <p:cNvPr id="5" name="Group 4"/>
            <p:cNvGrpSpPr/>
            <p:nvPr/>
          </p:nvGrpSpPr>
          <p:grpSpPr>
            <a:xfrm>
              <a:off x="7890183" y="5221826"/>
              <a:ext cx="4151055" cy="639095"/>
              <a:chOff x="3166812" y="6118502"/>
              <a:chExt cx="6104188" cy="939798"/>
            </a:xfrm>
          </p:grpSpPr>
          <p:grpSp>
            <p:nvGrpSpPr>
              <p:cNvPr id="20" name="Group 19"/>
              <p:cNvGrpSpPr/>
              <p:nvPr/>
            </p:nvGrpSpPr>
            <p:grpSpPr>
              <a:xfrm>
                <a:off x="3166812" y="6118502"/>
                <a:ext cx="6104188" cy="939798"/>
                <a:chOff x="2239711" y="6269962"/>
                <a:chExt cx="7958389" cy="1244600"/>
              </a:xfrm>
            </p:grpSpPr>
            <p:sp>
              <p:nvSpPr>
                <p:cNvPr id="22" name="Freeform 21"/>
                <p:cNvSpPr/>
                <p:nvPr/>
              </p:nvSpPr>
              <p:spPr bwMode="auto">
                <a:xfrm>
                  <a:off x="2239711" y="6430602"/>
                  <a:ext cx="3560859" cy="1083960"/>
                </a:xfrm>
                <a:custGeom>
                  <a:avLst/>
                  <a:gdLst>
                    <a:gd name="connsiteX0" fmla="*/ 0 w 863600"/>
                    <a:gd name="connsiteY0" fmla="*/ 152400 h 152400"/>
                    <a:gd name="connsiteX1" fmla="*/ 863600 w 863600"/>
                    <a:gd name="connsiteY1" fmla="*/ 0 h 152400"/>
                    <a:gd name="connsiteX0" fmla="*/ 0 w 863600"/>
                    <a:gd name="connsiteY0" fmla="*/ 253149 h 253149"/>
                    <a:gd name="connsiteX1" fmla="*/ 863600 w 863600"/>
                    <a:gd name="connsiteY1" fmla="*/ 100749 h 253149"/>
                    <a:gd name="connsiteX0" fmla="*/ 0 w 863600"/>
                    <a:gd name="connsiteY0" fmla="*/ 257689 h 257689"/>
                    <a:gd name="connsiteX1" fmla="*/ 863600 w 863600"/>
                    <a:gd name="connsiteY1" fmla="*/ 105289 h 257689"/>
                    <a:gd name="connsiteX0" fmla="*/ 0 w 863600"/>
                    <a:gd name="connsiteY0" fmla="*/ 248922 h 248922"/>
                    <a:gd name="connsiteX1" fmla="*/ 863600 w 863600"/>
                    <a:gd name="connsiteY1" fmla="*/ 96522 h 248922"/>
                    <a:gd name="connsiteX0" fmla="*/ 0 w 863600"/>
                    <a:gd name="connsiteY0" fmla="*/ 261057 h 261057"/>
                    <a:gd name="connsiteX1" fmla="*/ 863600 w 863600"/>
                    <a:gd name="connsiteY1" fmla="*/ 108657 h 261057"/>
                    <a:gd name="connsiteX0" fmla="*/ 0 w 844550"/>
                    <a:gd name="connsiteY0" fmla="*/ 257089 h 257089"/>
                    <a:gd name="connsiteX1" fmla="*/ 844550 w 844550"/>
                    <a:gd name="connsiteY1" fmla="*/ 109451 h 257089"/>
                  </a:gdLst>
                  <a:ahLst/>
                  <a:cxnLst>
                    <a:cxn ang="0">
                      <a:pos x="connsiteX0" y="connsiteY0"/>
                    </a:cxn>
                    <a:cxn ang="0">
                      <a:pos x="connsiteX1" y="connsiteY1"/>
                    </a:cxn>
                  </a:cxnLst>
                  <a:rect l="l" t="t" r="r" b="b"/>
                  <a:pathLst>
                    <a:path w="844550" h="257089">
                      <a:moveTo>
                        <a:pt x="0" y="257089"/>
                      </a:moveTo>
                      <a:cubicBezTo>
                        <a:pt x="44980" y="234864"/>
                        <a:pt x="385233" y="-196936"/>
                        <a:pt x="844550" y="109451"/>
                      </a:cubicBezTo>
                    </a:path>
                  </a:pathLst>
                </a:custGeom>
                <a:noFill/>
                <a:ln w="12700">
                  <a:solidFill>
                    <a:schemeClr val="tx1">
                      <a:lumMod val="50000"/>
                      <a:alpha val="20000"/>
                    </a:schemeClr>
                  </a:solidFill>
                  <a:headEnd type="oval" w="lg" len="lg"/>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Freeform 22"/>
                <p:cNvSpPr/>
                <p:nvPr/>
              </p:nvSpPr>
              <p:spPr bwMode="auto">
                <a:xfrm rot="9900000">
                  <a:off x="6637241" y="6269962"/>
                  <a:ext cx="3560859" cy="1083960"/>
                </a:xfrm>
                <a:custGeom>
                  <a:avLst/>
                  <a:gdLst>
                    <a:gd name="connsiteX0" fmla="*/ 0 w 863600"/>
                    <a:gd name="connsiteY0" fmla="*/ 152400 h 152400"/>
                    <a:gd name="connsiteX1" fmla="*/ 863600 w 863600"/>
                    <a:gd name="connsiteY1" fmla="*/ 0 h 152400"/>
                    <a:gd name="connsiteX0" fmla="*/ 0 w 863600"/>
                    <a:gd name="connsiteY0" fmla="*/ 253149 h 253149"/>
                    <a:gd name="connsiteX1" fmla="*/ 863600 w 863600"/>
                    <a:gd name="connsiteY1" fmla="*/ 100749 h 253149"/>
                    <a:gd name="connsiteX0" fmla="*/ 0 w 863600"/>
                    <a:gd name="connsiteY0" fmla="*/ 257689 h 257689"/>
                    <a:gd name="connsiteX1" fmla="*/ 863600 w 863600"/>
                    <a:gd name="connsiteY1" fmla="*/ 105289 h 257689"/>
                    <a:gd name="connsiteX0" fmla="*/ 0 w 863600"/>
                    <a:gd name="connsiteY0" fmla="*/ 248922 h 248922"/>
                    <a:gd name="connsiteX1" fmla="*/ 863600 w 863600"/>
                    <a:gd name="connsiteY1" fmla="*/ 96522 h 248922"/>
                    <a:gd name="connsiteX0" fmla="*/ 0 w 863600"/>
                    <a:gd name="connsiteY0" fmla="*/ 261057 h 261057"/>
                    <a:gd name="connsiteX1" fmla="*/ 863600 w 863600"/>
                    <a:gd name="connsiteY1" fmla="*/ 108657 h 261057"/>
                    <a:gd name="connsiteX0" fmla="*/ 0 w 844550"/>
                    <a:gd name="connsiteY0" fmla="*/ 257089 h 257089"/>
                    <a:gd name="connsiteX1" fmla="*/ 844550 w 844550"/>
                    <a:gd name="connsiteY1" fmla="*/ 109451 h 257089"/>
                  </a:gdLst>
                  <a:ahLst/>
                  <a:cxnLst>
                    <a:cxn ang="0">
                      <a:pos x="connsiteX0" y="connsiteY0"/>
                    </a:cxn>
                    <a:cxn ang="0">
                      <a:pos x="connsiteX1" y="connsiteY1"/>
                    </a:cxn>
                  </a:cxnLst>
                  <a:rect l="l" t="t" r="r" b="b"/>
                  <a:pathLst>
                    <a:path w="844550" h="257089">
                      <a:moveTo>
                        <a:pt x="0" y="257089"/>
                      </a:moveTo>
                      <a:cubicBezTo>
                        <a:pt x="44980" y="234864"/>
                        <a:pt x="385233" y="-196936"/>
                        <a:pt x="844550" y="109451"/>
                      </a:cubicBezTo>
                    </a:path>
                  </a:pathLst>
                </a:custGeom>
                <a:noFill/>
                <a:ln w="12700">
                  <a:solidFill>
                    <a:schemeClr val="tx1">
                      <a:lumMod val="50000"/>
                      <a:alpha val="20000"/>
                    </a:schemeClr>
                  </a:solidFill>
                  <a:headEnd type="oval" w="lg" len="lg"/>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21" name="Freeform 132"/>
              <p:cNvSpPr>
                <a:spLocks noChangeAspect="1" noEditPoints="1"/>
              </p:cNvSpPr>
              <p:nvPr/>
            </p:nvSpPr>
            <p:spPr bwMode="black">
              <a:xfrm rot="17840385">
                <a:off x="6026952" y="6408469"/>
                <a:ext cx="439644" cy="716453"/>
              </a:xfrm>
              <a:custGeom>
                <a:avLst/>
                <a:gdLst>
                  <a:gd name="T0" fmla="*/ 42 w 49"/>
                  <a:gd name="T1" fmla="*/ 7 h 80"/>
                  <a:gd name="T2" fmla="*/ 25 w 49"/>
                  <a:gd name="T3" fmla="*/ 0 h 80"/>
                  <a:gd name="T4" fmla="*/ 8 w 49"/>
                  <a:gd name="T5" fmla="*/ 7 h 80"/>
                  <a:gd name="T6" fmla="*/ 0 w 49"/>
                  <a:gd name="T7" fmla="*/ 24 h 80"/>
                  <a:gd name="T8" fmla="*/ 4 w 49"/>
                  <a:gd name="T9" fmla="*/ 39 h 80"/>
                  <a:gd name="T10" fmla="*/ 16 w 49"/>
                  <a:gd name="T11" fmla="*/ 55 h 80"/>
                  <a:gd name="T12" fmla="*/ 23 w 49"/>
                  <a:gd name="T13" fmla="*/ 80 h 80"/>
                  <a:gd name="T14" fmla="*/ 27 w 49"/>
                  <a:gd name="T15" fmla="*/ 80 h 80"/>
                  <a:gd name="T16" fmla="*/ 37 w 49"/>
                  <a:gd name="T17" fmla="*/ 49 h 80"/>
                  <a:gd name="T18" fmla="*/ 45 w 49"/>
                  <a:gd name="T19" fmla="*/ 39 h 80"/>
                  <a:gd name="T20" fmla="*/ 49 w 49"/>
                  <a:gd name="T21" fmla="*/ 24 h 80"/>
                  <a:gd name="T22" fmla="*/ 42 w 49"/>
                  <a:gd name="T23" fmla="*/ 7 h 80"/>
                  <a:gd name="T24" fmla="*/ 25 w 49"/>
                  <a:gd name="T25" fmla="*/ 37 h 80"/>
                  <a:gd name="T26" fmla="*/ 13 w 49"/>
                  <a:gd name="T27" fmla="*/ 25 h 80"/>
                  <a:gd name="T28" fmla="*/ 25 w 49"/>
                  <a:gd name="T29" fmla="*/ 14 h 80"/>
                  <a:gd name="T30" fmla="*/ 36 w 49"/>
                  <a:gd name="T31" fmla="*/ 25 h 80"/>
                  <a:gd name="T32" fmla="*/ 25 w 49"/>
                  <a:gd name="T33"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80">
                    <a:moveTo>
                      <a:pt x="42" y="7"/>
                    </a:moveTo>
                    <a:cubicBezTo>
                      <a:pt x="37" y="3"/>
                      <a:pt x="31" y="0"/>
                      <a:pt x="25" y="0"/>
                    </a:cubicBezTo>
                    <a:cubicBezTo>
                      <a:pt x="18" y="0"/>
                      <a:pt x="12" y="3"/>
                      <a:pt x="8" y="7"/>
                    </a:cubicBezTo>
                    <a:cubicBezTo>
                      <a:pt x="3" y="12"/>
                      <a:pt x="0" y="18"/>
                      <a:pt x="0" y="24"/>
                    </a:cubicBezTo>
                    <a:cubicBezTo>
                      <a:pt x="0" y="30"/>
                      <a:pt x="2" y="35"/>
                      <a:pt x="4" y="39"/>
                    </a:cubicBezTo>
                    <a:cubicBezTo>
                      <a:pt x="8" y="45"/>
                      <a:pt x="12" y="49"/>
                      <a:pt x="16" y="55"/>
                    </a:cubicBezTo>
                    <a:cubicBezTo>
                      <a:pt x="20" y="61"/>
                      <a:pt x="23" y="68"/>
                      <a:pt x="23" y="80"/>
                    </a:cubicBezTo>
                    <a:cubicBezTo>
                      <a:pt x="27" y="80"/>
                      <a:pt x="27" y="80"/>
                      <a:pt x="27" y="80"/>
                    </a:cubicBezTo>
                    <a:cubicBezTo>
                      <a:pt x="27" y="64"/>
                      <a:pt x="32" y="56"/>
                      <a:pt x="37" y="49"/>
                    </a:cubicBezTo>
                    <a:cubicBezTo>
                      <a:pt x="40" y="46"/>
                      <a:pt x="43" y="43"/>
                      <a:pt x="45" y="39"/>
                    </a:cubicBezTo>
                    <a:cubicBezTo>
                      <a:pt x="48" y="35"/>
                      <a:pt x="49" y="30"/>
                      <a:pt x="49" y="24"/>
                    </a:cubicBezTo>
                    <a:cubicBezTo>
                      <a:pt x="49" y="18"/>
                      <a:pt x="46" y="12"/>
                      <a:pt x="42" y="7"/>
                    </a:cubicBezTo>
                    <a:close/>
                    <a:moveTo>
                      <a:pt x="25" y="37"/>
                    </a:moveTo>
                    <a:cubicBezTo>
                      <a:pt x="18" y="37"/>
                      <a:pt x="13" y="31"/>
                      <a:pt x="13" y="25"/>
                    </a:cubicBezTo>
                    <a:cubicBezTo>
                      <a:pt x="13" y="19"/>
                      <a:pt x="18" y="14"/>
                      <a:pt x="25" y="14"/>
                    </a:cubicBezTo>
                    <a:cubicBezTo>
                      <a:pt x="31" y="14"/>
                      <a:pt x="36" y="19"/>
                      <a:pt x="36" y="25"/>
                    </a:cubicBezTo>
                    <a:cubicBezTo>
                      <a:pt x="36" y="31"/>
                      <a:pt x="31" y="37"/>
                      <a:pt x="25" y="37"/>
                    </a:cubicBezTo>
                    <a:close/>
                  </a:path>
                </a:pathLst>
              </a:custGeom>
              <a:solidFill>
                <a:srgbClr val="00B0F0">
                  <a:alpha val="21000"/>
                </a:srgbClr>
              </a:solidFill>
              <a:ln>
                <a:noFill/>
              </a:ln>
              <a:extLst/>
            </p:spPr>
            <p:txBody>
              <a:bodyPr vert="horz" wrap="square" lIns="91421" tIns="45710" rIns="91421" bIns="4571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000000"/>
                  </a:solidFill>
                  <a:effectLst/>
                  <a:uLnTx/>
                  <a:uFillTx/>
                </a:endParaRPr>
              </a:p>
            </p:txBody>
          </p:sp>
        </p:grpSp>
        <p:grpSp>
          <p:nvGrpSpPr>
            <p:cNvPr id="6" name="Group 5"/>
            <p:cNvGrpSpPr/>
            <p:nvPr/>
          </p:nvGrpSpPr>
          <p:grpSpPr>
            <a:xfrm>
              <a:off x="7346540" y="5195168"/>
              <a:ext cx="4151055" cy="639095"/>
              <a:chOff x="3166811" y="5301554"/>
              <a:chExt cx="6104188" cy="939798"/>
            </a:xfrm>
          </p:grpSpPr>
          <p:grpSp>
            <p:nvGrpSpPr>
              <p:cNvPr id="16" name="Group 15"/>
              <p:cNvGrpSpPr/>
              <p:nvPr/>
            </p:nvGrpSpPr>
            <p:grpSpPr>
              <a:xfrm>
                <a:off x="3166811" y="5301554"/>
                <a:ext cx="6104188" cy="939798"/>
                <a:chOff x="2239710" y="5188056"/>
                <a:chExt cx="7958389" cy="1244600"/>
              </a:xfrm>
            </p:grpSpPr>
            <p:sp>
              <p:nvSpPr>
                <p:cNvPr id="18" name="Freeform 17"/>
                <p:cNvSpPr/>
                <p:nvPr/>
              </p:nvSpPr>
              <p:spPr bwMode="auto">
                <a:xfrm>
                  <a:off x="2239710" y="5348696"/>
                  <a:ext cx="3560859" cy="1083960"/>
                </a:xfrm>
                <a:custGeom>
                  <a:avLst/>
                  <a:gdLst>
                    <a:gd name="connsiteX0" fmla="*/ 0 w 863600"/>
                    <a:gd name="connsiteY0" fmla="*/ 152400 h 152400"/>
                    <a:gd name="connsiteX1" fmla="*/ 863600 w 863600"/>
                    <a:gd name="connsiteY1" fmla="*/ 0 h 152400"/>
                    <a:gd name="connsiteX0" fmla="*/ 0 w 863600"/>
                    <a:gd name="connsiteY0" fmla="*/ 253149 h 253149"/>
                    <a:gd name="connsiteX1" fmla="*/ 863600 w 863600"/>
                    <a:gd name="connsiteY1" fmla="*/ 100749 h 253149"/>
                    <a:gd name="connsiteX0" fmla="*/ 0 w 863600"/>
                    <a:gd name="connsiteY0" fmla="*/ 257689 h 257689"/>
                    <a:gd name="connsiteX1" fmla="*/ 863600 w 863600"/>
                    <a:gd name="connsiteY1" fmla="*/ 105289 h 257689"/>
                    <a:gd name="connsiteX0" fmla="*/ 0 w 863600"/>
                    <a:gd name="connsiteY0" fmla="*/ 248922 h 248922"/>
                    <a:gd name="connsiteX1" fmla="*/ 863600 w 863600"/>
                    <a:gd name="connsiteY1" fmla="*/ 96522 h 248922"/>
                    <a:gd name="connsiteX0" fmla="*/ 0 w 863600"/>
                    <a:gd name="connsiteY0" fmla="*/ 261057 h 261057"/>
                    <a:gd name="connsiteX1" fmla="*/ 863600 w 863600"/>
                    <a:gd name="connsiteY1" fmla="*/ 108657 h 261057"/>
                    <a:gd name="connsiteX0" fmla="*/ 0 w 844550"/>
                    <a:gd name="connsiteY0" fmla="*/ 257089 h 257089"/>
                    <a:gd name="connsiteX1" fmla="*/ 844550 w 844550"/>
                    <a:gd name="connsiteY1" fmla="*/ 109451 h 257089"/>
                  </a:gdLst>
                  <a:ahLst/>
                  <a:cxnLst>
                    <a:cxn ang="0">
                      <a:pos x="connsiteX0" y="connsiteY0"/>
                    </a:cxn>
                    <a:cxn ang="0">
                      <a:pos x="connsiteX1" y="connsiteY1"/>
                    </a:cxn>
                  </a:cxnLst>
                  <a:rect l="l" t="t" r="r" b="b"/>
                  <a:pathLst>
                    <a:path w="844550" h="257089">
                      <a:moveTo>
                        <a:pt x="0" y="257089"/>
                      </a:moveTo>
                      <a:cubicBezTo>
                        <a:pt x="44980" y="234864"/>
                        <a:pt x="385233" y="-196936"/>
                        <a:pt x="844550" y="109451"/>
                      </a:cubicBezTo>
                    </a:path>
                  </a:pathLst>
                </a:custGeom>
                <a:noFill/>
                <a:ln w="12700">
                  <a:solidFill>
                    <a:schemeClr val="tx1">
                      <a:lumMod val="50000"/>
                      <a:alpha val="20000"/>
                    </a:schemeClr>
                  </a:solidFill>
                  <a:headEnd type="oval" w="lg" len="lg"/>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 name="Freeform 18"/>
                <p:cNvSpPr/>
                <p:nvPr/>
              </p:nvSpPr>
              <p:spPr bwMode="auto">
                <a:xfrm rot="9900000">
                  <a:off x="6637240" y="5188056"/>
                  <a:ext cx="3560859" cy="1083960"/>
                </a:xfrm>
                <a:custGeom>
                  <a:avLst/>
                  <a:gdLst>
                    <a:gd name="connsiteX0" fmla="*/ 0 w 863600"/>
                    <a:gd name="connsiteY0" fmla="*/ 152400 h 152400"/>
                    <a:gd name="connsiteX1" fmla="*/ 863600 w 863600"/>
                    <a:gd name="connsiteY1" fmla="*/ 0 h 152400"/>
                    <a:gd name="connsiteX0" fmla="*/ 0 w 863600"/>
                    <a:gd name="connsiteY0" fmla="*/ 253149 h 253149"/>
                    <a:gd name="connsiteX1" fmla="*/ 863600 w 863600"/>
                    <a:gd name="connsiteY1" fmla="*/ 100749 h 253149"/>
                    <a:gd name="connsiteX0" fmla="*/ 0 w 863600"/>
                    <a:gd name="connsiteY0" fmla="*/ 257689 h 257689"/>
                    <a:gd name="connsiteX1" fmla="*/ 863600 w 863600"/>
                    <a:gd name="connsiteY1" fmla="*/ 105289 h 257689"/>
                    <a:gd name="connsiteX0" fmla="*/ 0 w 863600"/>
                    <a:gd name="connsiteY0" fmla="*/ 248922 h 248922"/>
                    <a:gd name="connsiteX1" fmla="*/ 863600 w 863600"/>
                    <a:gd name="connsiteY1" fmla="*/ 96522 h 248922"/>
                    <a:gd name="connsiteX0" fmla="*/ 0 w 863600"/>
                    <a:gd name="connsiteY0" fmla="*/ 261057 h 261057"/>
                    <a:gd name="connsiteX1" fmla="*/ 863600 w 863600"/>
                    <a:gd name="connsiteY1" fmla="*/ 108657 h 261057"/>
                    <a:gd name="connsiteX0" fmla="*/ 0 w 844550"/>
                    <a:gd name="connsiteY0" fmla="*/ 257089 h 257089"/>
                    <a:gd name="connsiteX1" fmla="*/ 844550 w 844550"/>
                    <a:gd name="connsiteY1" fmla="*/ 109451 h 257089"/>
                  </a:gdLst>
                  <a:ahLst/>
                  <a:cxnLst>
                    <a:cxn ang="0">
                      <a:pos x="connsiteX0" y="connsiteY0"/>
                    </a:cxn>
                    <a:cxn ang="0">
                      <a:pos x="connsiteX1" y="connsiteY1"/>
                    </a:cxn>
                  </a:cxnLst>
                  <a:rect l="l" t="t" r="r" b="b"/>
                  <a:pathLst>
                    <a:path w="844550" h="257089">
                      <a:moveTo>
                        <a:pt x="0" y="257089"/>
                      </a:moveTo>
                      <a:cubicBezTo>
                        <a:pt x="44980" y="234864"/>
                        <a:pt x="385233" y="-196936"/>
                        <a:pt x="844550" y="109451"/>
                      </a:cubicBezTo>
                    </a:path>
                  </a:pathLst>
                </a:custGeom>
                <a:noFill/>
                <a:ln w="12700">
                  <a:solidFill>
                    <a:schemeClr val="tx1">
                      <a:lumMod val="50000"/>
                      <a:alpha val="20000"/>
                    </a:schemeClr>
                  </a:solidFill>
                  <a:headEnd type="oval" w="lg" len="lg"/>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17" name="Freeform 132"/>
              <p:cNvSpPr>
                <a:spLocks noChangeAspect="1" noEditPoints="1"/>
              </p:cNvSpPr>
              <p:nvPr/>
            </p:nvSpPr>
            <p:spPr bwMode="black">
              <a:xfrm rot="17840385">
                <a:off x="6026952" y="5591522"/>
                <a:ext cx="439644" cy="716453"/>
              </a:xfrm>
              <a:custGeom>
                <a:avLst/>
                <a:gdLst>
                  <a:gd name="T0" fmla="*/ 42 w 49"/>
                  <a:gd name="T1" fmla="*/ 7 h 80"/>
                  <a:gd name="T2" fmla="*/ 25 w 49"/>
                  <a:gd name="T3" fmla="*/ 0 h 80"/>
                  <a:gd name="T4" fmla="*/ 8 w 49"/>
                  <a:gd name="T5" fmla="*/ 7 h 80"/>
                  <a:gd name="T6" fmla="*/ 0 w 49"/>
                  <a:gd name="T7" fmla="*/ 24 h 80"/>
                  <a:gd name="T8" fmla="*/ 4 w 49"/>
                  <a:gd name="T9" fmla="*/ 39 h 80"/>
                  <a:gd name="T10" fmla="*/ 16 w 49"/>
                  <a:gd name="T11" fmla="*/ 55 h 80"/>
                  <a:gd name="T12" fmla="*/ 23 w 49"/>
                  <a:gd name="T13" fmla="*/ 80 h 80"/>
                  <a:gd name="T14" fmla="*/ 27 w 49"/>
                  <a:gd name="T15" fmla="*/ 80 h 80"/>
                  <a:gd name="T16" fmla="*/ 37 w 49"/>
                  <a:gd name="T17" fmla="*/ 49 h 80"/>
                  <a:gd name="T18" fmla="*/ 45 w 49"/>
                  <a:gd name="T19" fmla="*/ 39 h 80"/>
                  <a:gd name="T20" fmla="*/ 49 w 49"/>
                  <a:gd name="T21" fmla="*/ 24 h 80"/>
                  <a:gd name="T22" fmla="*/ 42 w 49"/>
                  <a:gd name="T23" fmla="*/ 7 h 80"/>
                  <a:gd name="T24" fmla="*/ 25 w 49"/>
                  <a:gd name="T25" fmla="*/ 37 h 80"/>
                  <a:gd name="T26" fmla="*/ 13 w 49"/>
                  <a:gd name="T27" fmla="*/ 25 h 80"/>
                  <a:gd name="T28" fmla="*/ 25 w 49"/>
                  <a:gd name="T29" fmla="*/ 14 h 80"/>
                  <a:gd name="T30" fmla="*/ 36 w 49"/>
                  <a:gd name="T31" fmla="*/ 25 h 80"/>
                  <a:gd name="T32" fmla="*/ 25 w 49"/>
                  <a:gd name="T33"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80">
                    <a:moveTo>
                      <a:pt x="42" y="7"/>
                    </a:moveTo>
                    <a:cubicBezTo>
                      <a:pt x="37" y="3"/>
                      <a:pt x="31" y="0"/>
                      <a:pt x="25" y="0"/>
                    </a:cubicBezTo>
                    <a:cubicBezTo>
                      <a:pt x="18" y="0"/>
                      <a:pt x="12" y="3"/>
                      <a:pt x="8" y="7"/>
                    </a:cubicBezTo>
                    <a:cubicBezTo>
                      <a:pt x="3" y="12"/>
                      <a:pt x="0" y="18"/>
                      <a:pt x="0" y="24"/>
                    </a:cubicBezTo>
                    <a:cubicBezTo>
                      <a:pt x="0" y="30"/>
                      <a:pt x="2" y="35"/>
                      <a:pt x="4" y="39"/>
                    </a:cubicBezTo>
                    <a:cubicBezTo>
                      <a:pt x="8" y="45"/>
                      <a:pt x="12" y="49"/>
                      <a:pt x="16" y="55"/>
                    </a:cubicBezTo>
                    <a:cubicBezTo>
                      <a:pt x="20" y="61"/>
                      <a:pt x="23" y="68"/>
                      <a:pt x="23" y="80"/>
                    </a:cubicBezTo>
                    <a:cubicBezTo>
                      <a:pt x="27" y="80"/>
                      <a:pt x="27" y="80"/>
                      <a:pt x="27" y="80"/>
                    </a:cubicBezTo>
                    <a:cubicBezTo>
                      <a:pt x="27" y="64"/>
                      <a:pt x="32" y="56"/>
                      <a:pt x="37" y="49"/>
                    </a:cubicBezTo>
                    <a:cubicBezTo>
                      <a:pt x="40" y="46"/>
                      <a:pt x="43" y="43"/>
                      <a:pt x="45" y="39"/>
                    </a:cubicBezTo>
                    <a:cubicBezTo>
                      <a:pt x="48" y="35"/>
                      <a:pt x="49" y="30"/>
                      <a:pt x="49" y="24"/>
                    </a:cubicBezTo>
                    <a:cubicBezTo>
                      <a:pt x="49" y="18"/>
                      <a:pt x="46" y="12"/>
                      <a:pt x="42" y="7"/>
                    </a:cubicBezTo>
                    <a:close/>
                    <a:moveTo>
                      <a:pt x="25" y="37"/>
                    </a:moveTo>
                    <a:cubicBezTo>
                      <a:pt x="18" y="37"/>
                      <a:pt x="13" y="31"/>
                      <a:pt x="13" y="25"/>
                    </a:cubicBezTo>
                    <a:cubicBezTo>
                      <a:pt x="13" y="19"/>
                      <a:pt x="18" y="14"/>
                      <a:pt x="25" y="14"/>
                    </a:cubicBezTo>
                    <a:cubicBezTo>
                      <a:pt x="31" y="14"/>
                      <a:pt x="36" y="19"/>
                      <a:pt x="36" y="25"/>
                    </a:cubicBezTo>
                    <a:cubicBezTo>
                      <a:pt x="36" y="31"/>
                      <a:pt x="31" y="37"/>
                      <a:pt x="25" y="37"/>
                    </a:cubicBezTo>
                    <a:close/>
                  </a:path>
                </a:pathLst>
              </a:custGeom>
              <a:solidFill>
                <a:srgbClr val="00B0F0">
                  <a:alpha val="21000"/>
                </a:srgbClr>
              </a:solidFill>
              <a:ln>
                <a:noFill/>
              </a:ln>
              <a:extLst/>
            </p:spPr>
            <p:txBody>
              <a:bodyPr vert="horz" wrap="square" lIns="91421" tIns="45710" rIns="91421" bIns="4571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000000"/>
                  </a:solidFill>
                  <a:effectLst/>
                  <a:uLnTx/>
                  <a:uFillTx/>
                </a:endParaRPr>
              </a:p>
            </p:txBody>
          </p:sp>
        </p:grpSp>
        <p:grpSp>
          <p:nvGrpSpPr>
            <p:cNvPr id="7" name="Group 6"/>
            <p:cNvGrpSpPr/>
            <p:nvPr/>
          </p:nvGrpSpPr>
          <p:grpSpPr>
            <a:xfrm>
              <a:off x="7990145" y="5687629"/>
              <a:ext cx="4151055" cy="639095"/>
              <a:chOff x="3166812" y="6118502"/>
              <a:chExt cx="6104188" cy="939798"/>
            </a:xfrm>
          </p:grpSpPr>
          <p:grpSp>
            <p:nvGrpSpPr>
              <p:cNvPr id="12" name="Group 11"/>
              <p:cNvGrpSpPr/>
              <p:nvPr/>
            </p:nvGrpSpPr>
            <p:grpSpPr>
              <a:xfrm>
                <a:off x="3166812" y="6118502"/>
                <a:ext cx="6104188" cy="939798"/>
                <a:chOff x="2239711" y="6269962"/>
                <a:chExt cx="7958389" cy="1244600"/>
              </a:xfrm>
            </p:grpSpPr>
            <p:sp>
              <p:nvSpPr>
                <p:cNvPr id="14" name="Freeform 13"/>
                <p:cNvSpPr/>
                <p:nvPr/>
              </p:nvSpPr>
              <p:spPr bwMode="auto">
                <a:xfrm>
                  <a:off x="2239711" y="6430602"/>
                  <a:ext cx="3560859" cy="1083960"/>
                </a:xfrm>
                <a:custGeom>
                  <a:avLst/>
                  <a:gdLst>
                    <a:gd name="connsiteX0" fmla="*/ 0 w 863600"/>
                    <a:gd name="connsiteY0" fmla="*/ 152400 h 152400"/>
                    <a:gd name="connsiteX1" fmla="*/ 863600 w 863600"/>
                    <a:gd name="connsiteY1" fmla="*/ 0 h 152400"/>
                    <a:gd name="connsiteX0" fmla="*/ 0 w 863600"/>
                    <a:gd name="connsiteY0" fmla="*/ 253149 h 253149"/>
                    <a:gd name="connsiteX1" fmla="*/ 863600 w 863600"/>
                    <a:gd name="connsiteY1" fmla="*/ 100749 h 253149"/>
                    <a:gd name="connsiteX0" fmla="*/ 0 w 863600"/>
                    <a:gd name="connsiteY0" fmla="*/ 257689 h 257689"/>
                    <a:gd name="connsiteX1" fmla="*/ 863600 w 863600"/>
                    <a:gd name="connsiteY1" fmla="*/ 105289 h 257689"/>
                    <a:gd name="connsiteX0" fmla="*/ 0 w 863600"/>
                    <a:gd name="connsiteY0" fmla="*/ 248922 h 248922"/>
                    <a:gd name="connsiteX1" fmla="*/ 863600 w 863600"/>
                    <a:gd name="connsiteY1" fmla="*/ 96522 h 248922"/>
                    <a:gd name="connsiteX0" fmla="*/ 0 w 863600"/>
                    <a:gd name="connsiteY0" fmla="*/ 261057 h 261057"/>
                    <a:gd name="connsiteX1" fmla="*/ 863600 w 863600"/>
                    <a:gd name="connsiteY1" fmla="*/ 108657 h 261057"/>
                    <a:gd name="connsiteX0" fmla="*/ 0 w 844550"/>
                    <a:gd name="connsiteY0" fmla="*/ 257089 h 257089"/>
                    <a:gd name="connsiteX1" fmla="*/ 844550 w 844550"/>
                    <a:gd name="connsiteY1" fmla="*/ 109451 h 257089"/>
                  </a:gdLst>
                  <a:ahLst/>
                  <a:cxnLst>
                    <a:cxn ang="0">
                      <a:pos x="connsiteX0" y="connsiteY0"/>
                    </a:cxn>
                    <a:cxn ang="0">
                      <a:pos x="connsiteX1" y="connsiteY1"/>
                    </a:cxn>
                  </a:cxnLst>
                  <a:rect l="l" t="t" r="r" b="b"/>
                  <a:pathLst>
                    <a:path w="844550" h="257089">
                      <a:moveTo>
                        <a:pt x="0" y="257089"/>
                      </a:moveTo>
                      <a:cubicBezTo>
                        <a:pt x="44980" y="234864"/>
                        <a:pt x="385233" y="-196936"/>
                        <a:pt x="844550" y="109451"/>
                      </a:cubicBezTo>
                    </a:path>
                  </a:pathLst>
                </a:custGeom>
                <a:noFill/>
                <a:ln w="12700">
                  <a:solidFill>
                    <a:schemeClr val="tx1">
                      <a:lumMod val="50000"/>
                      <a:alpha val="20000"/>
                    </a:schemeClr>
                  </a:solidFill>
                  <a:headEnd type="oval" w="lg" len="lg"/>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Freeform 14"/>
                <p:cNvSpPr/>
                <p:nvPr/>
              </p:nvSpPr>
              <p:spPr bwMode="auto">
                <a:xfrm rot="9900000">
                  <a:off x="6637241" y="6269962"/>
                  <a:ext cx="3560859" cy="1083960"/>
                </a:xfrm>
                <a:custGeom>
                  <a:avLst/>
                  <a:gdLst>
                    <a:gd name="connsiteX0" fmla="*/ 0 w 863600"/>
                    <a:gd name="connsiteY0" fmla="*/ 152400 h 152400"/>
                    <a:gd name="connsiteX1" fmla="*/ 863600 w 863600"/>
                    <a:gd name="connsiteY1" fmla="*/ 0 h 152400"/>
                    <a:gd name="connsiteX0" fmla="*/ 0 w 863600"/>
                    <a:gd name="connsiteY0" fmla="*/ 253149 h 253149"/>
                    <a:gd name="connsiteX1" fmla="*/ 863600 w 863600"/>
                    <a:gd name="connsiteY1" fmla="*/ 100749 h 253149"/>
                    <a:gd name="connsiteX0" fmla="*/ 0 w 863600"/>
                    <a:gd name="connsiteY0" fmla="*/ 257689 h 257689"/>
                    <a:gd name="connsiteX1" fmla="*/ 863600 w 863600"/>
                    <a:gd name="connsiteY1" fmla="*/ 105289 h 257689"/>
                    <a:gd name="connsiteX0" fmla="*/ 0 w 863600"/>
                    <a:gd name="connsiteY0" fmla="*/ 248922 h 248922"/>
                    <a:gd name="connsiteX1" fmla="*/ 863600 w 863600"/>
                    <a:gd name="connsiteY1" fmla="*/ 96522 h 248922"/>
                    <a:gd name="connsiteX0" fmla="*/ 0 w 863600"/>
                    <a:gd name="connsiteY0" fmla="*/ 261057 h 261057"/>
                    <a:gd name="connsiteX1" fmla="*/ 863600 w 863600"/>
                    <a:gd name="connsiteY1" fmla="*/ 108657 h 261057"/>
                    <a:gd name="connsiteX0" fmla="*/ 0 w 844550"/>
                    <a:gd name="connsiteY0" fmla="*/ 257089 h 257089"/>
                    <a:gd name="connsiteX1" fmla="*/ 844550 w 844550"/>
                    <a:gd name="connsiteY1" fmla="*/ 109451 h 257089"/>
                  </a:gdLst>
                  <a:ahLst/>
                  <a:cxnLst>
                    <a:cxn ang="0">
                      <a:pos x="connsiteX0" y="connsiteY0"/>
                    </a:cxn>
                    <a:cxn ang="0">
                      <a:pos x="connsiteX1" y="connsiteY1"/>
                    </a:cxn>
                  </a:cxnLst>
                  <a:rect l="l" t="t" r="r" b="b"/>
                  <a:pathLst>
                    <a:path w="844550" h="257089">
                      <a:moveTo>
                        <a:pt x="0" y="257089"/>
                      </a:moveTo>
                      <a:cubicBezTo>
                        <a:pt x="44980" y="234864"/>
                        <a:pt x="385233" y="-196936"/>
                        <a:pt x="844550" y="109451"/>
                      </a:cubicBezTo>
                    </a:path>
                  </a:pathLst>
                </a:custGeom>
                <a:noFill/>
                <a:ln w="12700">
                  <a:solidFill>
                    <a:schemeClr val="tx1">
                      <a:lumMod val="50000"/>
                      <a:alpha val="20000"/>
                    </a:schemeClr>
                  </a:solidFill>
                  <a:headEnd type="oval" w="lg" len="lg"/>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13" name="Freeform 132"/>
              <p:cNvSpPr>
                <a:spLocks noChangeAspect="1" noEditPoints="1"/>
              </p:cNvSpPr>
              <p:nvPr/>
            </p:nvSpPr>
            <p:spPr bwMode="black">
              <a:xfrm rot="17840385">
                <a:off x="6026952" y="6408469"/>
                <a:ext cx="439644" cy="716453"/>
              </a:xfrm>
              <a:custGeom>
                <a:avLst/>
                <a:gdLst>
                  <a:gd name="T0" fmla="*/ 42 w 49"/>
                  <a:gd name="T1" fmla="*/ 7 h 80"/>
                  <a:gd name="T2" fmla="*/ 25 w 49"/>
                  <a:gd name="T3" fmla="*/ 0 h 80"/>
                  <a:gd name="T4" fmla="*/ 8 w 49"/>
                  <a:gd name="T5" fmla="*/ 7 h 80"/>
                  <a:gd name="T6" fmla="*/ 0 w 49"/>
                  <a:gd name="T7" fmla="*/ 24 h 80"/>
                  <a:gd name="T8" fmla="*/ 4 w 49"/>
                  <a:gd name="T9" fmla="*/ 39 h 80"/>
                  <a:gd name="T10" fmla="*/ 16 w 49"/>
                  <a:gd name="T11" fmla="*/ 55 h 80"/>
                  <a:gd name="T12" fmla="*/ 23 w 49"/>
                  <a:gd name="T13" fmla="*/ 80 h 80"/>
                  <a:gd name="T14" fmla="*/ 27 w 49"/>
                  <a:gd name="T15" fmla="*/ 80 h 80"/>
                  <a:gd name="T16" fmla="*/ 37 w 49"/>
                  <a:gd name="T17" fmla="*/ 49 h 80"/>
                  <a:gd name="T18" fmla="*/ 45 w 49"/>
                  <a:gd name="T19" fmla="*/ 39 h 80"/>
                  <a:gd name="T20" fmla="*/ 49 w 49"/>
                  <a:gd name="T21" fmla="*/ 24 h 80"/>
                  <a:gd name="T22" fmla="*/ 42 w 49"/>
                  <a:gd name="T23" fmla="*/ 7 h 80"/>
                  <a:gd name="T24" fmla="*/ 25 w 49"/>
                  <a:gd name="T25" fmla="*/ 37 h 80"/>
                  <a:gd name="T26" fmla="*/ 13 w 49"/>
                  <a:gd name="T27" fmla="*/ 25 h 80"/>
                  <a:gd name="T28" fmla="*/ 25 w 49"/>
                  <a:gd name="T29" fmla="*/ 14 h 80"/>
                  <a:gd name="T30" fmla="*/ 36 w 49"/>
                  <a:gd name="T31" fmla="*/ 25 h 80"/>
                  <a:gd name="T32" fmla="*/ 25 w 49"/>
                  <a:gd name="T33"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80">
                    <a:moveTo>
                      <a:pt x="42" y="7"/>
                    </a:moveTo>
                    <a:cubicBezTo>
                      <a:pt x="37" y="3"/>
                      <a:pt x="31" y="0"/>
                      <a:pt x="25" y="0"/>
                    </a:cubicBezTo>
                    <a:cubicBezTo>
                      <a:pt x="18" y="0"/>
                      <a:pt x="12" y="3"/>
                      <a:pt x="8" y="7"/>
                    </a:cubicBezTo>
                    <a:cubicBezTo>
                      <a:pt x="3" y="12"/>
                      <a:pt x="0" y="18"/>
                      <a:pt x="0" y="24"/>
                    </a:cubicBezTo>
                    <a:cubicBezTo>
                      <a:pt x="0" y="30"/>
                      <a:pt x="2" y="35"/>
                      <a:pt x="4" y="39"/>
                    </a:cubicBezTo>
                    <a:cubicBezTo>
                      <a:pt x="8" y="45"/>
                      <a:pt x="12" y="49"/>
                      <a:pt x="16" y="55"/>
                    </a:cubicBezTo>
                    <a:cubicBezTo>
                      <a:pt x="20" y="61"/>
                      <a:pt x="23" y="68"/>
                      <a:pt x="23" y="80"/>
                    </a:cubicBezTo>
                    <a:cubicBezTo>
                      <a:pt x="27" y="80"/>
                      <a:pt x="27" y="80"/>
                      <a:pt x="27" y="80"/>
                    </a:cubicBezTo>
                    <a:cubicBezTo>
                      <a:pt x="27" y="64"/>
                      <a:pt x="32" y="56"/>
                      <a:pt x="37" y="49"/>
                    </a:cubicBezTo>
                    <a:cubicBezTo>
                      <a:pt x="40" y="46"/>
                      <a:pt x="43" y="43"/>
                      <a:pt x="45" y="39"/>
                    </a:cubicBezTo>
                    <a:cubicBezTo>
                      <a:pt x="48" y="35"/>
                      <a:pt x="49" y="30"/>
                      <a:pt x="49" y="24"/>
                    </a:cubicBezTo>
                    <a:cubicBezTo>
                      <a:pt x="49" y="18"/>
                      <a:pt x="46" y="12"/>
                      <a:pt x="42" y="7"/>
                    </a:cubicBezTo>
                    <a:close/>
                    <a:moveTo>
                      <a:pt x="25" y="37"/>
                    </a:moveTo>
                    <a:cubicBezTo>
                      <a:pt x="18" y="37"/>
                      <a:pt x="13" y="31"/>
                      <a:pt x="13" y="25"/>
                    </a:cubicBezTo>
                    <a:cubicBezTo>
                      <a:pt x="13" y="19"/>
                      <a:pt x="18" y="14"/>
                      <a:pt x="25" y="14"/>
                    </a:cubicBezTo>
                    <a:cubicBezTo>
                      <a:pt x="31" y="14"/>
                      <a:pt x="36" y="19"/>
                      <a:pt x="36" y="25"/>
                    </a:cubicBezTo>
                    <a:cubicBezTo>
                      <a:pt x="36" y="31"/>
                      <a:pt x="31" y="37"/>
                      <a:pt x="25" y="37"/>
                    </a:cubicBezTo>
                    <a:close/>
                  </a:path>
                </a:pathLst>
              </a:custGeom>
              <a:solidFill>
                <a:srgbClr val="00B0F0">
                  <a:alpha val="21000"/>
                </a:srgbClr>
              </a:solidFill>
              <a:ln>
                <a:noFill/>
              </a:ln>
              <a:extLst/>
            </p:spPr>
            <p:txBody>
              <a:bodyPr vert="horz" wrap="square" lIns="91421" tIns="45710" rIns="91421" bIns="4571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000000"/>
                  </a:solidFill>
                  <a:effectLst/>
                  <a:uLnTx/>
                  <a:uFillTx/>
                </a:endParaRPr>
              </a:p>
            </p:txBody>
          </p:sp>
        </p:grpSp>
        <p:sp>
          <p:nvSpPr>
            <p:cNvPr id="8" name="Freeform 132"/>
            <p:cNvSpPr>
              <a:spLocks noChangeAspect="1" noEditPoints="1"/>
            </p:cNvSpPr>
            <p:nvPr/>
          </p:nvSpPr>
          <p:spPr bwMode="black">
            <a:xfrm>
              <a:off x="11912611" y="5648611"/>
              <a:ext cx="746822" cy="1217038"/>
            </a:xfrm>
            <a:custGeom>
              <a:avLst/>
              <a:gdLst>
                <a:gd name="T0" fmla="*/ 42 w 49"/>
                <a:gd name="T1" fmla="*/ 7 h 80"/>
                <a:gd name="T2" fmla="*/ 25 w 49"/>
                <a:gd name="T3" fmla="*/ 0 h 80"/>
                <a:gd name="T4" fmla="*/ 8 w 49"/>
                <a:gd name="T5" fmla="*/ 7 h 80"/>
                <a:gd name="T6" fmla="*/ 0 w 49"/>
                <a:gd name="T7" fmla="*/ 24 h 80"/>
                <a:gd name="T8" fmla="*/ 4 w 49"/>
                <a:gd name="T9" fmla="*/ 39 h 80"/>
                <a:gd name="T10" fmla="*/ 16 w 49"/>
                <a:gd name="T11" fmla="*/ 55 h 80"/>
                <a:gd name="T12" fmla="*/ 23 w 49"/>
                <a:gd name="T13" fmla="*/ 80 h 80"/>
                <a:gd name="T14" fmla="*/ 27 w 49"/>
                <a:gd name="T15" fmla="*/ 80 h 80"/>
                <a:gd name="T16" fmla="*/ 37 w 49"/>
                <a:gd name="T17" fmla="*/ 49 h 80"/>
                <a:gd name="T18" fmla="*/ 45 w 49"/>
                <a:gd name="T19" fmla="*/ 39 h 80"/>
                <a:gd name="T20" fmla="*/ 49 w 49"/>
                <a:gd name="T21" fmla="*/ 24 h 80"/>
                <a:gd name="T22" fmla="*/ 42 w 49"/>
                <a:gd name="T23" fmla="*/ 7 h 80"/>
                <a:gd name="T24" fmla="*/ 25 w 49"/>
                <a:gd name="T25" fmla="*/ 37 h 80"/>
                <a:gd name="T26" fmla="*/ 13 w 49"/>
                <a:gd name="T27" fmla="*/ 25 h 80"/>
                <a:gd name="T28" fmla="*/ 25 w 49"/>
                <a:gd name="T29" fmla="*/ 14 h 80"/>
                <a:gd name="T30" fmla="*/ 36 w 49"/>
                <a:gd name="T31" fmla="*/ 25 h 80"/>
                <a:gd name="T32" fmla="*/ 25 w 49"/>
                <a:gd name="T33"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80">
                  <a:moveTo>
                    <a:pt x="42" y="7"/>
                  </a:moveTo>
                  <a:cubicBezTo>
                    <a:pt x="37" y="3"/>
                    <a:pt x="31" y="0"/>
                    <a:pt x="25" y="0"/>
                  </a:cubicBezTo>
                  <a:cubicBezTo>
                    <a:pt x="18" y="0"/>
                    <a:pt x="12" y="3"/>
                    <a:pt x="8" y="7"/>
                  </a:cubicBezTo>
                  <a:cubicBezTo>
                    <a:pt x="3" y="12"/>
                    <a:pt x="0" y="18"/>
                    <a:pt x="0" y="24"/>
                  </a:cubicBezTo>
                  <a:cubicBezTo>
                    <a:pt x="0" y="30"/>
                    <a:pt x="2" y="35"/>
                    <a:pt x="4" y="39"/>
                  </a:cubicBezTo>
                  <a:cubicBezTo>
                    <a:pt x="8" y="45"/>
                    <a:pt x="12" y="49"/>
                    <a:pt x="16" y="55"/>
                  </a:cubicBezTo>
                  <a:cubicBezTo>
                    <a:pt x="20" y="61"/>
                    <a:pt x="23" y="68"/>
                    <a:pt x="23" y="80"/>
                  </a:cubicBezTo>
                  <a:cubicBezTo>
                    <a:pt x="27" y="80"/>
                    <a:pt x="27" y="80"/>
                    <a:pt x="27" y="80"/>
                  </a:cubicBezTo>
                  <a:cubicBezTo>
                    <a:pt x="27" y="64"/>
                    <a:pt x="32" y="56"/>
                    <a:pt x="37" y="49"/>
                  </a:cubicBezTo>
                  <a:cubicBezTo>
                    <a:pt x="40" y="46"/>
                    <a:pt x="43" y="43"/>
                    <a:pt x="45" y="39"/>
                  </a:cubicBezTo>
                  <a:cubicBezTo>
                    <a:pt x="48" y="35"/>
                    <a:pt x="49" y="30"/>
                    <a:pt x="49" y="24"/>
                  </a:cubicBezTo>
                  <a:cubicBezTo>
                    <a:pt x="49" y="18"/>
                    <a:pt x="46" y="12"/>
                    <a:pt x="42" y="7"/>
                  </a:cubicBezTo>
                  <a:close/>
                  <a:moveTo>
                    <a:pt x="25" y="37"/>
                  </a:moveTo>
                  <a:cubicBezTo>
                    <a:pt x="18" y="37"/>
                    <a:pt x="13" y="31"/>
                    <a:pt x="13" y="25"/>
                  </a:cubicBezTo>
                  <a:cubicBezTo>
                    <a:pt x="13" y="19"/>
                    <a:pt x="18" y="14"/>
                    <a:pt x="25" y="14"/>
                  </a:cubicBezTo>
                  <a:cubicBezTo>
                    <a:pt x="31" y="14"/>
                    <a:pt x="36" y="19"/>
                    <a:pt x="36" y="25"/>
                  </a:cubicBezTo>
                  <a:cubicBezTo>
                    <a:pt x="36" y="31"/>
                    <a:pt x="31" y="37"/>
                    <a:pt x="25" y="37"/>
                  </a:cubicBezTo>
                  <a:close/>
                </a:path>
              </a:pathLst>
            </a:custGeom>
            <a:solidFill>
              <a:srgbClr val="00B0F0">
                <a:alpha val="21000"/>
              </a:srgbClr>
            </a:solidFill>
            <a:ln>
              <a:noFill/>
            </a:ln>
            <a:extLst/>
          </p:spPr>
          <p:txBody>
            <a:bodyPr vert="horz" wrap="square" lIns="91421" tIns="45710" rIns="91421" bIns="4571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000000"/>
                </a:solidFill>
                <a:effectLst/>
                <a:uLnTx/>
                <a:uFillTx/>
              </a:endParaRPr>
            </a:p>
          </p:txBody>
        </p:sp>
        <p:sp>
          <p:nvSpPr>
            <p:cNvPr id="9" name="Freeform 132"/>
            <p:cNvSpPr>
              <a:spLocks noChangeAspect="1" noEditPoints="1"/>
            </p:cNvSpPr>
            <p:nvPr/>
          </p:nvSpPr>
          <p:spPr bwMode="black">
            <a:xfrm>
              <a:off x="11611900" y="5677465"/>
              <a:ext cx="425425" cy="693282"/>
            </a:xfrm>
            <a:custGeom>
              <a:avLst/>
              <a:gdLst>
                <a:gd name="T0" fmla="*/ 42 w 49"/>
                <a:gd name="T1" fmla="*/ 7 h 80"/>
                <a:gd name="T2" fmla="*/ 25 w 49"/>
                <a:gd name="T3" fmla="*/ 0 h 80"/>
                <a:gd name="T4" fmla="*/ 8 w 49"/>
                <a:gd name="T5" fmla="*/ 7 h 80"/>
                <a:gd name="T6" fmla="*/ 0 w 49"/>
                <a:gd name="T7" fmla="*/ 24 h 80"/>
                <a:gd name="T8" fmla="*/ 4 w 49"/>
                <a:gd name="T9" fmla="*/ 39 h 80"/>
                <a:gd name="T10" fmla="*/ 16 w 49"/>
                <a:gd name="T11" fmla="*/ 55 h 80"/>
                <a:gd name="T12" fmla="*/ 23 w 49"/>
                <a:gd name="T13" fmla="*/ 80 h 80"/>
                <a:gd name="T14" fmla="*/ 27 w 49"/>
                <a:gd name="T15" fmla="*/ 80 h 80"/>
                <a:gd name="T16" fmla="*/ 37 w 49"/>
                <a:gd name="T17" fmla="*/ 49 h 80"/>
                <a:gd name="T18" fmla="*/ 45 w 49"/>
                <a:gd name="T19" fmla="*/ 39 h 80"/>
                <a:gd name="T20" fmla="*/ 49 w 49"/>
                <a:gd name="T21" fmla="*/ 24 h 80"/>
                <a:gd name="T22" fmla="*/ 42 w 49"/>
                <a:gd name="T23" fmla="*/ 7 h 80"/>
                <a:gd name="T24" fmla="*/ 25 w 49"/>
                <a:gd name="T25" fmla="*/ 37 h 80"/>
                <a:gd name="T26" fmla="*/ 13 w 49"/>
                <a:gd name="T27" fmla="*/ 25 h 80"/>
                <a:gd name="T28" fmla="*/ 25 w 49"/>
                <a:gd name="T29" fmla="*/ 14 h 80"/>
                <a:gd name="T30" fmla="*/ 36 w 49"/>
                <a:gd name="T31" fmla="*/ 25 h 80"/>
                <a:gd name="T32" fmla="*/ 25 w 49"/>
                <a:gd name="T33"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80">
                  <a:moveTo>
                    <a:pt x="42" y="7"/>
                  </a:moveTo>
                  <a:cubicBezTo>
                    <a:pt x="37" y="3"/>
                    <a:pt x="31" y="0"/>
                    <a:pt x="25" y="0"/>
                  </a:cubicBezTo>
                  <a:cubicBezTo>
                    <a:pt x="18" y="0"/>
                    <a:pt x="12" y="3"/>
                    <a:pt x="8" y="7"/>
                  </a:cubicBezTo>
                  <a:cubicBezTo>
                    <a:pt x="3" y="12"/>
                    <a:pt x="0" y="18"/>
                    <a:pt x="0" y="24"/>
                  </a:cubicBezTo>
                  <a:cubicBezTo>
                    <a:pt x="0" y="30"/>
                    <a:pt x="2" y="35"/>
                    <a:pt x="4" y="39"/>
                  </a:cubicBezTo>
                  <a:cubicBezTo>
                    <a:pt x="8" y="45"/>
                    <a:pt x="12" y="49"/>
                    <a:pt x="16" y="55"/>
                  </a:cubicBezTo>
                  <a:cubicBezTo>
                    <a:pt x="20" y="61"/>
                    <a:pt x="23" y="68"/>
                    <a:pt x="23" y="80"/>
                  </a:cubicBezTo>
                  <a:cubicBezTo>
                    <a:pt x="27" y="80"/>
                    <a:pt x="27" y="80"/>
                    <a:pt x="27" y="80"/>
                  </a:cubicBezTo>
                  <a:cubicBezTo>
                    <a:pt x="27" y="64"/>
                    <a:pt x="32" y="56"/>
                    <a:pt x="37" y="49"/>
                  </a:cubicBezTo>
                  <a:cubicBezTo>
                    <a:pt x="40" y="46"/>
                    <a:pt x="43" y="43"/>
                    <a:pt x="45" y="39"/>
                  </a:cubicBezTo>
                  <a:cubicBezTo>
                    <a:pt x="48" y="35"/>
                    <a:pt x="49" y="30"/>
                    <a:pt x="49" y="24"/>
                  </a:cubicBezTo>
                  <a:cubicBezTo>
                    <a:pt x="49" y="18"/>
                    <a:pt x="46" y="12"/>
                    <a:pt x="42" y="7"/>
                  </a:cubicBezTo>
                  <a:close/>
                  <a:moveTo>
                    <a:pt x="25" y="37"/>
                  </a:moveTo>
                  <a:cubicBezTo>
                    <a:pt x="18" y="37"/>
                    <a:pt x="13" y="31"/>
                    <a:pt x="13" y="25"/>
                  </a:cubicBezTo>
                  <a:cubicBezTo>
                    <a:pt x="13" y="19"/>
                    <a:pt x="18" y="14"/>
                    <a:pt x="25" y="14"/>
                  </a:cubicBezTo>
                  <a:cubicBezTo>
                    <a:pt x="31" y="14"/>
                    <a:pt x="36" y="19"/>
                    <a:pt x="36" y="25"/>
                  </a:cubicBezTo>
                  <a:cubicBezTo>
                    <a:pt x="36" y="31"/>
                    <a:pt x="31" y="37"/>
                    <a:pt x="25" y="37"/>
                  </a:cubicBezTo>
                  <a:close/>
                </a:path>
              </a:pathLst>
            </a:custGeom>
            <a:solidFill>
              <a:srgbClr val="00B0F0">
                <a:alpha val="21000"/>
              </a:srgbClr>
            </a:solidFill>
            <a:ln>
              <a:noFill/>
            </a:ln>
            <a:extLst/>
          </p:spPr>
          <p:txBody>
            <a:bodyPr vert="horz" wrap="square" lIns="91421" tIns="45710" rIns="91421" bIns="4571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000000"/>
                </a:solidFill>
                <a:effectLst/>
                <a:uLnTx/>
                <a:uFillTx/>
              </a:endParaRPr>
            </a:p>
          </p:txBody>
        </p:sp>
        <p:sp>
          <p:nvSpPr>
            <p:cNvPr id="10" name="Freeform 132"/>
            <p:cNvSpPr>
              <a:spLocks noChangeAspect="1" noEditPoints="1"/>
            </p:cNvSpPr>
            <p:nvPr/>
          </p:nvSpPr>
          <p:spPr bwMode="black">
            <a:xfrm>
              <a:off x="11245207" y="5860922"/>
              <a:ext cx="519796" cy="847071"/>
            </a:xfrm>
            <a:custGeom>
              <a:avLst/>
              <a:gdLst>
                <a:gd name="T0" fmla="*/ 42 w 49"/>
                <a:gd name="T1" fmla="*/ 7 h 80"/>
                <a:gd name="T2" fmla="*/ 25 w 49"/>
                <a:gd name="T3" fmla="*/ 0 h 80"/>
                <a:gd name="T4" fmla="*/ 8 w 49"/>
                <a:gd name="T5" fmla="*/ 7 h 80"/>
                <a:gd name="T6" fmla="*/ 0 w 49"/>
                <a:gd name="T7" fmla="*/ 24 h 80"/>
                <a:gd name="T8" fmla="*/ 4 w 49"/>
                <a:gd name="T9" fmla="*/ 39 h 80"/>
                <a:gd name="T10" fmla="*/ 16 w 49"/>
                <a:gd name="T11" fmla="*/ 55 h 80"/>
                <a:gd name="T12" fmla="*/ 23 w 49"/>
                <a:gd name="T13" fmla="*/ 80 h 80"/>
                <a:gd name="T14" fmla="*/ 27 w 49"/>
                <a:gd name="T15" fmla="*/ 80 h 80"/>
                <a:gd name="T16" fmla="*/ 37 w 49"/>
                <a:gd name="T17" fmla="*/ 49 h 80"/>
                <a:gd name="T18" fmla="*/ 45 w 49"/>
                <a:gd name="T19" fmla="*/ 39 h 80"/>
                <a:gd name="T20" fmla="*/ 49 w 49"/>
                <a:gd name="T21" fmla="*/ 24 h 80"/>
                <a:gd name="T22" fmla="*/ 42 w 49"/>
                <a:gd name="T23" fmla="*/ 7 h 80"/>
                <a:gd name="T24" fmla="*/ 25 w 49"/>
                <a:gd name="T25" fmla="*/ 37 h 80"/>
                <a:gd name="T26" fmla="*/ 13 w 49"/>
                <a:gd name="T27" fmla="*/ 25 h 80"/>
                <a:gd name="T28" fmla="*/ 25 w 49"/>
                <a:gd name="T29" fmla="*/ 14 h 80"/>
                <a:gd name="T30" fmla="*/ 36 w 49"/>
                <a:gd name="T31" fmla="*/ 25 h 80"/>
                <a:gd name="T32" fmla="*/ 25 w 49"/>
                <a:gd name="T33"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80">
                  <a:moveTo>
                    <a:pt x="42" y="7"/>
                  </a:moveTo>
                  <a:cubicBezTo>
                    <a:pt x="37" y="3"/>
                    <a:pt x="31" y="0"/>
                    <a:pt x="25" y="0"/>
                  </a:cubicBezTo>
                  <a:cubicBezTo>
                    <a:pt x="18" y="0"/>
                    <a:pt x="12" y="3"/>
                    <a:pt x="8" y="7"/>
                  </a:cubicBezTo>
                  <a:cubicBezTo>
                    <a:pt x="3" y="12"/>
                    <a:pt x="0" y="18"/>
                    <a:pt x="0" y="24"/>
                  </a:cubicBezTo>
                  <a:cubicBezTo>
                    <a:pt x="0" y="30"/>
                    <a:pt x="2" y="35"/>
                    <a:pt x="4" y="39"/>
                  </a:cubicBezTo>
                  <a:cubicBezTo>
                    <a:pt x="8" y="45"/>
                    <a:pt x="12" y="49"/>
                    <a:pt x="16" y="55"/>
                  </a:cubicBezTo>
                  <a:cubicBezTo>
                    <a:pt x="20" y="61"/>
                    <a:pt x="23" y="68"/>
                    <a:pt x="23" y="80"/>
                  </a:cubicBezTo>
                  <a:cubicBezTo>
                    <a:pt x="27" y="80"/>
                    <a:pt x="27" y="80"/>
                    <a:pt x="27" y="80"/>
                  </a:cubicBezTo>
                  <a:cubicBezTo>
                    <a:pt x="27" y="64"/>
                    <a:pt x="32" y="56"/>
                    <a:pt x="37" y="49"/>
                  </a:cubicBezTo>
                  <a:cubicBezTo>
                    <a:pt x="40" y="46"/>
                    <a:pt x="43" y="43"/>
                    <a:pt x="45" y="39"/>
                  </a:cubicBezTo>
                  <a:cubicBezTo>
                    <a:pt x="48" y="35"/>
                    <a:pt x="49" y="30"/>
                    <a:pt x="49" y="24"/>
                  </a:cubicBezTo>
                  <a:cubicBezTo>
                    <a:pt x="49" y="18"/>
                    <a:pt x="46" y="12"/>
                    <a:pt x="42" y="7"/>
                  </a:cubicBezTo>
                  <a:close/>
                  <a:moveTo>
                    <a:pt x="25" y="37"/>
                  </a:moveTo>
                  <a:cubicBezTo>
                    <a:pt x="18" y="37"/>
                    <a:pt x="13" y="31"/>
                    <a:pt x="13" y="25"/>
                  </a:cubicBezTo>
                  <a:cubicBezTo>
                    <a:pt x="13" y="19"/>
                    <a:pt x="18" y="14"/>
                    <a:pt x="25" y="14"/>
                  </a:cubicBezTo>
                  <a:cubicBezTo>
                    <a:pt x="31" y="14"/>
                    <a:pt x="36" y="19"/>
                    <a:pt x="36" y="25"/>
                  </a:cubicBezTo>
                  <a:cubicBezTo>
                    <a:pt x="36" y="31"/>
                    <a:pt x="31" y="37"/>
                    <a:pt x="25" y="37"/>
                  </a:cubicBezTo>
                  <a:close/>
                </a:path>
              </a:pathLst>
            </a:custGeom>
            <a:solidFill>
              <a:srgbClr val="00B0F0">
                <a:alpha val="21000"/>
              </a:srgbClr>
            </a:solidFill>
            <a:ln>
              <a:noFill/>
            </a:ln>
            <a:extLst/>
          </p:spPr>
          <p:txBody>
            <a:bodyPr vert="horz" wrap="square" lIns="91421" tIns="45710" rIns="91421" bIns="4571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000000"/>
                </a:solidFill>
                <a:effectLst/>
                <a:uLnTx/>
                <a:uFillTx/>
              </a:endParaRPr>
            </a:p>
          </p:txBody>
        </p:sp>
        <p:sp>
          <p:nvSpPr>
            <p:cNvPr id="11" name="Freeform 132"/>
            <p:cNvSpPr>
              <a:spLocks noChangeAspect="1" noEditPoints="1"/>
            </p:cNvSpPr>
            <p:nvPr/>
          </p:nvSpPr>
          <p:spPr bwMode="black">
            <a:xfrm>
              <a:off x="11641766" y="6300888"/>
              <a:ext cx="425425" cy="693282"/>
            </a:xfrm>
            <a:custGeom>
              <a:avLst/>
              <a:gdLst>
                <a:gd name="T0" fmla="*/ 42 w 49"/>
                <a:gd name="T1" fmla="*/ 7 h 80"/>
                <a:gd name="T2" fmla="*/ 25 w 49"/>
                <a:gd name="T3" fmla="*/ 0 h 80"/>
                <a:gd name="T4" fmla="*/ 8 w 49"/>
                <a:gd name="T5" fmla="*/ 7 h 80"/>
                <a:gd name="T6" fmla="*/ 0 w 49"/>
                <a:gd name="T7" fmla="*/ 24 h 80"/>
                <a:gd name="T8" fmla="*/ 4 w 49"/>
                <a:gd name="T9" fmla="*/ 39 h 80"/>
                <a:gd name="T10" fmla="*/ 16 w 49"/>
                <a:gd name="T11" fmla="*/ 55 h 80"/>
                <a:gd name="T12" fmla="*/ 23 w 49"/>
                <a:gd name="T13" fmla="*/ 80 h 80"/>
                <a:gd name="T14" fmla="*/ 27 w 49"/>
                <a:gd name="T15" fmla="*/ 80 h 80"/>
                <a:gd name="T16" fmla="*/ 37 w 49"/>
                <a:gd name="T17" fmla="*/ 49 h 80"/>
                <a:gd name="T18" fmla="*/ 45 w 49"/>
                <a:gd name="T19" fmla="*/ 39 h 80"/>
                <a:gd name="T20" fmla="*/ 49 w 49"/>
                <a:gd name="T21" fmla="*/ 24 h 80"/>
                <a:gd name="T22" fmla="*/ 42 w 49"/>
                <a:gd name="T23" fmla="*/ 7 h 80"/>
                <a:gd name="T24" fmla="*/ 25 w 49"/>
                <a:gd name="T25" fmla="*/ 37 h 80"/>
                <a:gd name="T26" fmla="*/ 13 w 49"/>
                <a:gd name="T27" fmla="*/ 25 h 80"/>
                <a:gd name="T28" fmla="*/ 25 w 49"/>
                <a:gd name="T29" fmla="*/ 14 h 80"/>
                <a:gd name="T30" fmla="*/ 36 w 49"/>
                <a:gd name="T31" fmla="*/ 25 h 80"/>
                <a:gd name="T32" fmla="*/ 25 w 49"/>
                <a:gd name="T33"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80">
                  <a:moveTo>
                    <a:pt x="42" y="7"/>
                  </a:moveTo>
                  <a:cubicBezTo>
                    <a:pt x="37" y="3"/>
                    <a:pt x="31" y="0"/>
                    <a:pt x="25" y="0"/>
                  </a:cubicBezTo>
                  <a:cubicBezTo>
                    <a:pt x="18" y="0"/>
                    <a:pt x="12" y="3"/>
                    <a:pt x="8" y="7"/>
                  </a:cubicBezTo>
                  <a:cubicBezTo>
                    <a:pt x="3" y="12"/>
                    <a:pt x="0" y="18"/>
                    <a:pt x="0" y="24"/>
                  </a:cubicBezTo>
                  <a:cubicBezTo>
                    <a:pt x="0" y="30"/>
                    <a:pt x="2" y="35"/>
                    <a:pt x="4" y="39"/>
                  </a:cubicBezTo>
                  <a:cubicBezTo>
                    <a:pt x="8" y="45"/>
                    <a:pt x="12" y="49"/>
                    <a:pt x="16" y="55"/>
                  </a:cubicBezTo>
                  <a:cubicBezTo>
                    <a:pt x="20" y="61"/>
                    <a:pt x="23" y="68"/>
                    <a:pt x="23" y="80"/>
                  </a:cubicBezTo>
                  <a:cubicBezTo>
                    <a:pt x="27" y="80"/>
                    <a:pt x="27" y="80"/>
                    <a:pt x="27" y="80"/>
                  </a:cubicBezTo>
                  <a:cubicBezTo>
                    <a:pt x="27" y="64"/>
                    <a:pt x="32" y="56"/>
                    <a:pt x="37" y="49"/>
                  </a:cubicBezTo>
                  <a:cubicBezTo>
                    <a:pt x="40" y="46"/>
                    <a:pt x="43" y="43"/>
                    <a:pt x="45" y="39"/>
                  </a:cubicBezTo>
                  <a:cubicBezTo>
                    <a:pt x="48" y="35"/>
                    <a:pt x="49" y="30"/>
                    <a:pt x="49" y="24"/>
                  </a:cubicBezTo>
                  <a:cubicBezTo>
                    <a:pt x="49" y="18"/>
                    <a:pt x="46" y="12"/>
                    <a:pt x="42" y="7"/>
                  </a:cubicBezTo>
                  <a:close/>
                  <a:moveTo>
                    <a:pt x="25" y="37"/>
                  </a:moveTo>
                  <a:cubicBezTo>
                    <a:pt x="18" y="37"/>
                    <a:pt x="13" y="31"/>
                    <a:pt x="13" y="25"/>
                  </a:cubicBezTo>
                  <a:cubicBezTo>
                    <a:pt x="13" y="19"/>
                    <a:pt x="18" y="14"/>
                    <a:pt x="25" y="14"/>
                  </a:cubicBezTo>
                  <a:cubicBezTo>
                    <a:pt x="31" y="14"/>
                    <a:pt x="36" y="19"/>
                    <a:pt x="36" y="25"/>
                  </a:cubicBezTo>
                  <a:cubicBezTo>
                    <a:pt x="36" y="31"/>
                    <a:pt x="31" y="37"/>
                    <a:pt x="25" y="37"/>
                  </a:cubicBezTo>
                  <a:close/>
                </a:path>
              </a:pathLst>
            </a:custGeom>
            <a:solidFill>
              <a:srgbClr val="00B0F0">
                <a:alpha val="21000"/>
              </a:srgbClr>
            </a:solidFill>
            <a:ln>
              <a:noFill/>
            </a:ln>
            <a:extLst/>
          </p:spPr>
          <p:txBody>
            <a:bodyPr vert="horz" wrap="square" lIns="91421" tIns="45710" rIns="91421" bIns="4571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000000"/>
                </a:solidFill>
                <a:effectLst/>
                <a:uLnTx/>
                <a:uFillTx/>
              </a:endParaRPr>
            </a:p>
          </p:txBody>
        </p:sp>
      </p:grpSp>
    </p:spTree>
    <p:extLst>
      <p:ext uri="{BB962C8B-B14F-4D97-AF65-F5344CB8AC3E}">
        <p14:creationId xmlns:p14="http://schemas.microsoft.com/office/powerpoint/2010/main" val="3625575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509" name="Group 508"/>
          <p:cNvGrpSpPr/>
          <p:nvPr/>
        </p:nvGrpSpPr>
        <p:grpSpPr>
          <a:xfrm>
            <a:off x="1920604" y="1394165"/>
            <a:ext cx="8819375" cy="4767793"/>
            <a:chOff x="-237987" y="6999"/>
            <a:chExt cx="12912447" cy="6980525"/>
          </a:xfrm>
        </p:grpSpPr>
        <p:pic>
          <p:nvPicPr>
            <p:cNvPr id="508" name="Picture 50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7987" y="6999"/>
              <a:ext cx="12912447" cy="6980525"/>
            </a:xfrm>
            <a:prstGeom prst="rect">
              <a:avLst/>
            </a:prstGeom>
          </p:spPr>
        </p:pic>
        <p:sp>
          <p:nvSpPr>
            <p:cNvPr id="2" name="Rounded Rectangle 1"/>
            <p:cNvSpPr/>
            <p:nvPr/>
          </p:nvSpPr>
          <p:spPr bwMode="auto">
            <a:xfrm>
              <a:off x="8816009" y="2062015"/>
              <a:ext cx="1586637" cy="939370"/>
            </a:xfrm>
            <a:prstGeom prst="roundRect">
              <a:avLst>
                <a:gd name="adj" fmla="val 0"/>
              </a:avLst>
            </a:prstGeom>
            <a:noFill/>
            <a:ln w="381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 name="Rounded Rectangle 2"/>
            <p:cNvSpPr/>
            <p:nvPr/>
          </p:nvSpPr>
          <p:spPr bwMode="auto">
            <a:xfrm>
              <a:off x="4717545" y="2062014"/>
              <a:ext cx="2769777" cy="1434222"/>
            </a:xfrm>
            <a:prstGeom prst="roundRect">
              <a:avLst>
                <a:gd name="adj" fmla="val 0"/>
              </a:avLst>
            </a:prstGeom>
            <a:noFill/>
            <a:ln w="381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 name="Rounded Rectangle 3"/>
            <p:cNvSpPr/>
            <p:nvPr/>
          </p:nvSpPr>
          <p:spPr bwMode="auto">
            <a:xfrm>
              <a:off x="4717545" y="3496236"/>
              <a:ext cx="1263707" cy="828338"/>
            </a:xfrm>
            <a:prstGeom prst="roundRect">
              <a:avLst>
                <a:gd name="adj" fmla="val 0"/>
              </a:avLst>
            </a:prstGeom>
            <a:noFill/>
            <a:ln w="381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7" name="Rectangle 6"/>
            <p:cNvSpPr/>
            <p:nvPr/>
          </p:nvSpPr>
          <p:spPr bwMode="auto">
            <a:xfrm>
              <a:off x="4736596" y="3452495"/>
              <a:ext cx="1226054" cy="279698"/>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5" name="Title 4"/>
          <p:cNvSpPr>
            <a:spLocks noGrp="1"/>
          </p:cNvSpPr>
          <p:nvPr>
            <p:ph type="title"/>
          </p:nvPr>
        </p:nvSpPr>
        <p:spPr/>
        <p:txBody>
          <a:bodyPr/>
          <a:lstStyle/>
          <a:p>
            <a:r>
              <a:rPr lang="en-US" sz="3600" dirty="0"/>
              <a:t>Cortana Intelligence combines the services you already know</a:t>
            </a:r>
          </a:p>
        </p:txBody>
      </p:sp>
    </p:spTree>
    <p:extLst>
      <p:ext uri="{BB962C8B-B14F-4D97-AF65-F5344CB8AC3E}">
        <p14:creationId xmlns:p14="http://schemas.microsoft.com/office/powerpoint/2010/main" val="3216922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heme/theme1.xml><?xml version="1.0" encoding="utf-8"?>
<a:theme xmlns:a="http://schemas.openxmlformats.org/drawingml/2006/main" name="1_5-30701_Cortana_Analytics_Workshop_2015_Template">
  <a:themeElements>
    <a:clrScheme name="MachineLearning">
      <a:dk1>
        <a:srgbClr val="505050"/>
      </a:dk1>
      <a:lt1>
        <a:srgbClr val="FFFFFF"/>
      </a:lt1>
      <a:dk2>
        <a:srgbClr val="0072C6"/>
      </a:dk2>
      <a:lt2>
        <a:srgbClr val="D2D2D2"/>
      </a:lt2>
      <a:accent1>
        <a:srgbClr val="BA141A"/>
      </a:accent1>
      <a:accent2>
        <a:srgbClr val="0072C6"/>
      </a:accent2>
      <a:accent3>
        <a:srgbClr val="442359"/>
      </a:accent3>
      <a:accent4>
        <a:srgbClr val="002050"/>
      </a:accent4>
      <a:accent5>
        <a:srgbClr val="008272"/>
      </a:accent5>
      <a:accent6>
        <a:srgbClr val="DC3C0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lumMod val="75000"/>
          </a:schemeClr>
        </a:solidFill>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rtana_analytics_workshop_Fall_2015_Template.potx" id="{43103955-CE9B-4AE5-95BA-81D133887506}" vid="{8A75A8ED-569C-4F94-9AF8-C8269F3F8618}"/>
    </a:ext>
  </a:extLst>
</a:theme>
</file>

<file path=ppt/theme/theme2.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3.xml><?xml version="1.0" encoding="utf-8"?>
<a:theme xmlns:a="http://schemas.openxmlformats.org/drawingml/2006/main" name="2_5-30701_Cortana_Analytics_Workshop_2015_Template">
  <a:themeElements>
    <a:clrScheme name="MachineLearning">
      <a:dk1>
        <a:srgbClr val="505050"/>
      </a:dk1>
      <a:lt1>
        <a:srgbClr val="FFFFFF"/>
      </a:lt1>
      <a:dk2>
        <a:srgbClr val="0072C6"/>
      </a:dk2>
      <a:lt2>
        <a:srgbClr val="D2D2D2"/>
      </a:lt2>
      <a:accent1>
        <a:srgbClr val="BA141A"/>
      </a:accent1>
      <a:accent2>
        <a:srgbClr val="0072C6"/>
      </a:accent2>
      <a:accent3>
        <a:srgbClr val="442359"/>
      </a:accent3>
      <a:accent4>
        <a:srgbClr val="002050"/>
      </a:accent4>
      <a:accent5>
        <a:srgbClr val="008272"/>
      </a:accent5>
      <a:accent6>
        <a:srgbClr val="DC3C0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lumMod val="75000"/>
          </a:schemeClr>
        </a:solidFill>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rtana_analytics_workshop_Fall_2015_Template.potx" id="{43103955-CE9B-4AE5-95BA-81D133887506}" vid="{8A75A8ED-569C-4F94-9AF8-C8269F3F8618}"/>
    </a:ext>
  </a:extLst>
</a:theme>
</file>

<file path=ppt/theme/theme4.xml><?xml version="1.0" encoding="utf-8"?>
<a:theme xmlns:a="http://schemas.openxmlformats.org/drawingml/2006/main" name="2_COLOR TEMPLATE">
  <a:themeElements>
    <a:clrScheme name="Custom 2">
      <a:dk1>
        <a:srgbClr val="505050"/>
      </a:dk1>
      <a:lt1>
        <a:srgbClr val="FFFFFF"/>
      </a:lt1>
      <a:dk2>
        <a:srgbClr val="002050"/>
      </a:dk2>
      <a:lt2>
        <a:srgbClr val="CDF4FF"/>
      </a:lt2>
      <a:accent1>
        <a:srgbClr val="0078D7"/>
      </a:accent1>
      <a:accent2>
        <a:srgbClr val="0078D7"/>
      </a:accent2>
      <a:accent3>
        <a:srgbClr val="107C10"/>
      </a:accent3>
      <a:accent4>
        <a:srgbClr val="B4009E"/>
      </a:accent4>
      <a:accent5>
        <a:srgbClr val="5C2D91"/>
      </a:accent5>
      <a:accent6>
        <a:srgbClr val="008272"/>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5.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potx" id="{E9CBCEC3-36C2-4763-88E1-B75AB7E1FC6F}" vid="{9C87FCDA-2B9E-41B8-832B-3728CE63CD15}"/>
    </a:ext>
  </a:extLst>
</a:theme>
</file>

<file path=ppt/theme/theme6.xml><?xml version="1.0" encoding="utf-8"?>
<a:theme xmlns:a="http://schemas.openxmlformats.org/drawingml/2006/main" name="1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astSharedByUser xmlns="53d62df2-80b1-41ac-a4ab-043801907226">cennete@microsoft.com</LastSharedByUser>
    <LastSharedByTime xmlns="53d62df2-80b1-41ac-a4ab-043801907226">2016-05-10T05:28:23+00:00</LastSharedByTime>
    <SharedWithUsers xmlns="53d62df2-80b1-41ac-a4ab-043801907226">
      <UserInfo>
        <DisplayName>Frank Blankertz</DisplayName>
        <AccountId>5823</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D2372FEC54B4345AD0FE1974029DA6A" ma:contentTypeVersion="4" ma:contentTypeDescription="Create a new document." ma:contentTypeScope="" ma:versionID="9f0679b2da3735c1dcfe08a602e9e601">
  <xsd:schema xmlns:xsd="http://www.w3.org/2001/XMLSchema" xmlns:xs="http://www.w3.org/2001/XMLSchema" xmlns:p="http://schemas.microsoft.com/office/2006/metadata/properties" xmlns:ns2="53d62df2-80b1-41ac-a4ab-043801907226" targetNamespace="http://schemas.microsoft.com/office/2006/metadata/properties" ma:root="true" ma:fieldsID="36289e2a58238c3b39b7c9ff12b7ace7" ns2:_="">
    <xsd:import namespace="53d62df2-80b1-41ac-a4ab-043801907226"/>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d62df2-80b1-41ac-a4ab-043801907226"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84C77A9-2765-469B-85BE-BD152C4ECDFB}">
  <ds:schemaRefs>
    <ds:schemaRef ds:uri="http://purl.org/dc/dcmitype/"/>
    <ds:schemaRef ds:uri="http://schemas.microsoft.com/office/infopath/2007/PartnerControls"/>
    <ds:schemaRef ds:uri="http://schemas.microsoft.com/office/2006/documentManagement/types"/>
    <ds:schemaRef ds:uri="http://purl.org/dc/elements/1.1/"/>
    <ds:schemaRef ds:uri="http://schemas.microsoft.com/office/2006/metadata/properties"/>
    <ds:schemaRef ds:uri="aa9b21f9-6ce6-4ff4-9f2f-b1735aba9dd6"/>
    <ds:schemaRef ds:uri="http://purl.org/dc/terms/"/>
    <ds:schemaRef ds:uri="http://schemas.openxmlformats.org/package/2006/metadata/core-properties"/>
    <ds:schemaRef ds:uri="http://www.w3.org/XML/1998/namespace"/>
    <ds:schemaRef ds:uri="230e9df3-be65-4c73-a93b-d1236ebd677e"/>
    <ds:schemaRef ds:uri="230E9DF3-BE65-4C73-A93B-D1236EBD677E"/>
    <ds:schemaRef ds:uri="http://schemas.microsoft.com/sharepoint/v3"/>
    <ds:schemaRef ds:uri="b3bc04a5-d503-43b1-b98c-a8cf663329d9"/>
    <ds:schemaRef ds:uri="2478d1b8-79bf-461f-b8e8-704d21601f1a"/>
    <ds:schemaRef ds:uri="53d62df2-80b1-41ac-a4ab-043801907226"/>
  </ds:schemaRefs>
</ds:datastoreItem>
</file>

<file path=customXml/itemProps2.xml><?xml version="1.0" encoding="utf-8"?>
<ds:datastoreItem xmlns:ds="http://schemas.openxmlformats.org/officeDocument/2006/customXml" ds:itemID="{FA0A2481-C555-4898-8BC1-D1154FF9C43E}">
  <ds:schemaRefs>
    <ds:schemaRef ds:uri="http://schemas.microsoft.com/sharepoint/v3/contenttype/forms"/>
  </ds:schemaRefs>
</ds:datastoreItem>
</file>

<file path=customXml/itemProps3.xml><?xml version="1.0" encoding="utf-8"?>
<ds:datastoreItem xmlns:ds="http://schemas.openxmlformats.org/officeDocument/2006/customXml" ds:itemID="{CFA100D6-CF50-4CA0-B30A-7A912F17AA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3d62df2-80b1-41ac-a4ab-04380190722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rg_ID_template_16-9_Business_PURPLE_1.potx</Template>
  <TotalTime>0</TotalTime>
  <Words>9725</Words>
  <Application>Microsoft Office PowerPoint</Application>
  <PresentationFormat>Custom</PresentationFormat>
  <Paragraphs>1191</Paragraphs>
  <Slides>58</Slides>
  <Notes>55</Notes>
  <HiddenSlides>8</HiddenSlides>
  <MMClips>0</MMClips>
  <ScaleCrop>false</ScaleCrop>
  <HeadingPairs>
    <vt:vector size="6" baseType="variant">
      <vt:variant>
        <vt:lpstr>Fonts Used</vt:lpstr>
      </vt:variant>
      <vt:variant>
        <vt:i4>14</vt:i4>
      </vt:variant>
      <vt:variant>
        <vt:lpstr>Theme</vt:lpstr>
      </vt:variant>
      <vt:variant>
        <vt:i4>6</vt:i4>
      </vt:variant>
      <vt:variant>
        <vt:lpstr>Slide Titles</vt:lpstr>
      </vt:variant>
      <vt:variant>
        <vt:i4>58</vt:i4>
      </vt:variant>
    </vt:vector>
  </HeadingPairs>
  <TitlesOfParts>
    <vt:vector size="78" baseType="lpstr">
      <vt:lpstr>Arial Unicode MS</vt:lpstr>
      <vt:lpstr>MS PGothic</vt:lpstr>
      <vt:lpstr>Segoe</vt:lpstr>
      <vt:lpstr>Segoe Light</vt:lpstr>
      <vt:lpstr>Arial</vt:lpstr>
      <vt:lpstr>Calibri</vt:lpstr>
      <vt:lpstr>Cambria</vt:lpstr>
      <vt:lpstr>Consolas</vt:lpstr>
      <vt:lpstr>Segoe UI</vt:lpstr>
      <vt:lpstr>Segoe UI Black</vt:lpstr>
      <vt:lpstr>Segoe UI Light</vt:lpstr>
      <vt:lpstr>Segoe UI Semibold</vt:lpstr>
      <vt:lpstr>Segoe UI Semilight</vt:lpstr>
      <vt:lpstr>Wingdings</vt:lpstr>
      <vt:lpstr>1_5-30701_Cortana_Analytics_Workshop_2015_Template</vt:lpstr>
      <vt:lpstr>COLOR TEMPLATE</vt:lpstr>
      <vt:lpstr>2_5-30701_Cortana_Analytics_Workshop_2015_Template</vt:lpstr>
      <vt:lpstr>2_COLOR TEMPLATE</vt:lpstr>
      <vt:lpstr>WHITE TEMPLATE</vt:lpstr>
      <vt:lpstr>1_COLOR TEMPLATE</vt:lpstr>
      <vt:lpstr>Cortana  Intelligence Suite</vt:lpstr>
      <vt:lpstr>Business is being transformed by three trends</vt:lpstr>
      <vt:lpstr>Stay ahead of the curve with Cortana Intelligence Suite</vt:lpstr>
      <vt:lpstr>Here are some examples of how  our customers are staying ahead </vt:lpstr>
      <vt:lpstr>Here are some examples of how  our customers are staying ahead</vt:lpstr>
      <vt:lpstr>No matter your industry, Microsoft technologies can help you stay ahead</vt:lpstr>
      <vt:lpstr>Dartmouth-Hitchcock Demo + Video</vt:lpstr>
      <vt:lpstr>How can Cortana Intelligence help you?</vt:lpstr>
      <vt:lpstr>Cortana Intelligence combines the services you already know</vt:lpstr>
      <vt:lpstr>Transform data into intelligent action</vt:lpstr>
      <vt:lpstr>Information Management</vt:lpstr>
      <vt:lpstr>Compose and orchestrate data services at scale</vt:lpstr>
      <vt:lpstr>Get more value from your enterprise data assets</vt:lpstr>
      <vt:lpstr>Ingest events from websites, apps and devices at cloud scale </vt:lpstr>
      <vt:lpstr>Big Data Stores</vt:lpstr>
      <vt:lpstr>A hyper-scale repository for big data analytics workloads</vt:lpstr>
      <vt:lpstr>Elastic data warehouse as a service with enterprise-class features </vt:lpstr>
      <vt:lpstr>Machine Learning and Analytics</vt:lpstr>
      <vt:lpstr>Easily build, deploy, and share predictive analytics solutions</vt:lpstr>
      <vt:lpstr>Big data analytics made easy</vt:lpstr>
      <vt:lpstr>Comprehensive set of managed Apache big data projects</vt:lpstr>
      <vt:lpstr>Real-time stream processing in the cloud</vt:lpstr>
      <vt:lpstr>Demo</vt:lpstr>
      <vt:lpstr>Intelligence</vt:lpstr>
      <vt:lpstr>Build applications that understand people</vt:lpstr>
      <vt:lpstr>Your bots – wherever your users converse</vt:lpstr>
      <vt:lpstr>Get things done in more helpful, proactive and natural ways </vt:lpstr>
      <vt:lpstr>Dashboards &amp; Visualizations</vt:lpstr>
      <vt:lpstr>Keep a pulse on your business with live, interactive dashboards</vt:lpstr>
      <vt:lpstr>Transform data into intelligent action</vt:lpstr>
      <vt:lpstr>Demo: Vehicle health and driving behavior patterns  </vt:lpstr>
      <vt:lpstr>Turning telemetry data from vehicles into insight </vt:lpstr>
      <vt:lpstr>Example of Cortana Intelligence Suite in action</vt:lpstr>
      <vt:lpstr>With Cortana Intelligence, better predict needs and trends</vt:lpstr>
      <vt:lpstr>Customer stories</vt:lpstr>
      <vt:lpstr>Improve visibility and make accurate predictions</vt:lpstr>
      <vt:lpstr>Dartmouth-Hitchcock Demo + Video</vt:lpstr>
      <vt:lpstr>Get the right products to  the right places</vt:lpstr>
      <vt:lpstr>JJ Food Service Video</vt:lpstr>
      <vt:lpstr>Offer customers exactly what they want, when they want it</vt:lpstr>
      <vt:lpstr>Fix problems proactively before they start</vt:lpstr>
      <vt:lpstr>eSmart Systems Video</vt:lpstr>
      <vt:lpstr>Explore new business opportunities</vt:lpstr>
      <vt:lpstr>ThyssenKrupp Demo + Video</vt:lpstr>
      <vt:lpstr>Explore Cortana Intelligence today</vt:lpstr>
      <vt:lpstr>PowerPoint Presentation</vt:lpstr>
      <vt:lpstr>Appendix</vt:lpstr>
      <vt:lpstr>Video: American Eagle</vt:lpstr>
      <vt:lpstr>PowerPoint Presentation</vt:lpstr>
      <vt:lpstr>PowerPoint Presentation</vt:lpstr>
      <vt:lpstr>PowerPoint Presentation</vt:lpstr>
      <vt:lpstr>Microsoft had a sliding US search share 2005-2009</vt:lpstr>
      <vt:lpstr>PowerPoint Presentation</vt:lpstr>
      <vt:lpstr>PowerPoint Presentation</vt:lpstr>
      <vt:lpstr>PowerPoint Presentation</vt:lpstr>
      <vt:lpstr>PowerPoint Presentation</vt:lpstr>
      <vt:lpstr>Microsoft doubles search share</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rtana Intelligence Technical Deck</dc:title>
  <dc:subject/>
  <dc:creator/>
  <cp:keywords/>
  <dc:description/>
  <cp:lastModifiedBy/>
  <cp:revision>2</cp:revision>
  <dcterms:created xsi:type="dcterms:W3CDTF">2015-09-30T21:47:00Z</dcterms:created>
  <dcterms:modified xsi:type="dcterms:W3CDTF">2017-03-06T22:16: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D2372FEC54B4345AD0FE1974029DA6A</vt:lpwstr>
  </property>
  <property fmtid="{D5CDD505-2E9C-101B-9397-08002B2CF9AE}" pid="3" name="of67e5d4b76f4a9db8769983fda9cec0">
    <vt:lpwstr/>
  </property>
  <property fmtid="{D5CDD505-2E9C-101B-9397-08002B2CF9AE}" pid="4" name="TaxKeyword">
    <vt:lpwstr/>
  </property>
  <property fmtid="{D5CDD505-2E9C-101B-9397-08002B2CF9AE}" pid="5" name="NewsType">
    <vt:lpwstr/>
  </property>
  <property fmtid="{D5CDD505-2E9C-101B-9397-08002B2CF9AE}" pid="6" name="_dlc_policyId">
    <vt:lpwstr/>
  </property>
  <property fmtid="{D5CDD505-2E9C-101B-9397-08002B2CF9AE}" pid="7" name="Region">
    <vt:lpwstr/>
  </property>
  <property fmtid="{D5CDD505-2E9C-101B-9397-08002B2CF9AE}" pid="8" name="Confidentiality">
    <vt:lpwstr>5;#Microsoft confidential|461efa83-0283-486a-a8d5-943328f3693f</vt:lpwstr>
  </property>
  <property fmtid="{D5CDD505-2E9C-101B-9397-08002B2CF9AE}" pid="9" name="ItemType">
    <vt:lpwstr>435;#technical presentations|83a894cf-702b-47fc-aba5-41bd10dc1e75;#351;#feedback requests|00ce1828-98a3-430e-af54-eda270e1be04</vt:lpwstr>
  </property>
  <property fmtid="{D5CDD505-2E9C-101B-9397-08002B2CF9AE}" pid="10" name="ga0c0bf70a6644469c61b3efa7025301">
    <vt:lpwstr/>
  </property>
  <property fmtid="{D5CDD505-2E9C-101B-9397-08002B2CF9AE}" pid="11" name="Industries">
    <vt:lpwstr/>
  </property>
  <property fmtid="{D5CDD505-2E9C-101B-9397-08002B2CF9AE}" pid="12" name="MSProducts">
    <vt:lpwstr/>
  </property>
  <property fmtid="{D5CDD505-2E9C-101B-9397-08002B2CF9AE}" pid="13" name="Competitors">
    <vt:lpwstr/>
  </property>
  <property fmtid="{D5CDD505-2E9C-101B-9397-08002B2CF9AE}" pid="14" name="SMSGDomain">
    <vt:lpwstr>21;#Cloud and Enterprise|adc2fe87-c79a-4ded-a449-3f86b954069d;#20;#Microsoft Azure Domain|d600a391-d529-4311-892b-2c05c1ab2538</vt:lpwstr>
  </property>
  <property fmtid="{D5CDD505-2E9C-101B-9397-08002B2CF9AE}" pid="15" name="ExperienceContentType">
    <vt:lpwstr/>
  </property>
  <property fmtid="{D5CDD505-2E9C-101B-9397-08002B2CF9AE}" pid="16" name="BusinessArchitecture">
    <vt:lpwstr>374;#machine learning|912b89bd-3197-4d37-838b-dea3c299099a</vt:lpwstr>
  </property>
  <property fmtid="{D5CDD505-2E9C-101B-9397-08002B2CF9AE}" pid="17" name="SMSGTags">
    <vt:lpwstr/>
  </property>
  <property fmtid="{D5CDD505-2E9C-101B-9397-08002B2CF9AE}" pid="18" name="Products">
    <vt:lpwstr>26;#Microsoft Azure|669a3112-5edf-444b-a003-630063601f07;#634;#Cortana|9ddf2d0d-10f8-4f45-a03c-9a1a5aa2df6a</vt:lpwstr>
  </property>
  <property fmtid="{D5CDD505-2E9C-101B-9397-08002B2CF9AE}" pid="19" name="_dlc_DocIdItemGuid">
    <vt:lpwstr>6c6528db-d968-48d8-a4bc-1f0e744093e1</vt:lpwstr>
  </property>
  <property fmtid="{D5CDD505-2E9C-101B-9397-08002B2CF9AE}" pid="20" name="MSPhysicalGeography">
    <vt:lpwstr/>
  </property>
  <property fmtid="{D5CDD505-2E9C-101B-9397-08002B2CF9AE}" pid="21" name="j3562c58ee414e028925bc902cfc01a1">
    <vt:lpwstr/>
  </property>
  <property fmtid="{D5CDD505-2E9C-101B-9397-08002B2CF9AE}" pid="22" name="EnterpriseDomainTags">
    <vt:lpwstr/>
  </property>
  <property fmtid="{D5CDD505-2E9C-101B-9397-08002B2CF9AE}" pid="23" name="l6f004f21209409da86a713c0f24627d">
    <vt:lpwstr/>
  </property>
  <property fmtid="{D5CDD505-2E9C-101B-9397-08002B2CF9AE}" pid="24" name="ActivitiesAndPrograms">
    <vt:lpwstr/>
  </property>
  <property fmtid="{D5CDD505-2E9C-101B-9397-08002B2CF9AE}" pid="25" name="Segments">
    <vt:lpwstr/>
  </property>
  <property fmtid="{D5CDD505-2E9C-101B-9397-08002B2CF9AE}" pid="26" name="Partners">
    <vt:lpwstr/>
  </property>
  <property fmtid="{D5CDD505-2E9C-101B-9397-08002B2CF9AE}" pid="27" name="la4444b61d19467597d63190b69ac227">
    <vt:lpwstr/>
  </property>
  <property fmtid="{D5CDD505-2E9C-101B-9397-08002B2CF9AE}" pid="28" name="Topics">
    <vt:lpwstr>29;#features|94b87768-f145-4764-adbd-fec700e47348</vt:lpwstr>
  </property>
  <property fmtid="{D5CDD505-2E9C-101B-9397-08002B2CF9AE}" pid="29" name="Groups">
    <vt:lpwstr>31;#Microsoft Azure Marketing|0958c357-5252-473f-8b4e-42f27525a99d</vt:lpwstr>
  </property>
  <property fmtid="{D5CDD505-2E9C-101B-9397-08002B2CF9AE}" pid="30" name="MSProductsTaxHTField0">
    <vt:lpwstr/>
  </property>
  <property fmtid="{D5CDD505-2E9C-101B-9397-08002B2CF9AE}" pid="31" name="Languages">
    <vt:lpwstr/>
  </property>
  <property fmtid="{D5CDD505-2E9C-101B-9397-08002B2CF9AE}" pid="32" name="e8080b0481964c759b2c36ae49591b31">
    <vt:lpwstr/>
  </property>
  <property fmtid="{D5CDD505-2E9C-101B-9397-08002B2CF9AE}" pid="33" name="_docset_NoMedatataSyncRequired">
    <vt:lpwstr>False</vt:lpwstr>
  </property>
  <property fmtid="{D5CDD505-2E9C-101B-9397-08002B2CF9AE}" pid="34" name="TechnicalLevel">
    <vt:lpwstr/>
  </property>
  <property fmtid="{D5CDD505-2E9C-101B-9397-08002B2CF9AE}" pid="35" name="Audiences">
    <vt:lpwstr/>
  </property>
  <property fmtid="{D5CDD505-2E9C-101B-9397-08002B2CF9AE}" pid="36" name="ldac8aee9d1f469e8cd8c3f8d6a615f2">
    <vt:lpwstr/>
  </property>
  <property fmtid="{D5CDD505-2E9C-101B-9397-08002B2CF9AE}" pid="37" name="EmployeeRole">
    <vt:lpwstr/>
  </property>
  <property fmtid="{D5CDD505-2E9C-101B-9397-08002B2CF9AE}" pid="38" name="NewsTopic">
    <vt:lpwstr/>
  </property>
  <property fmtid="{D5CDD505-2E9C-101B-9397-08002B2CF9AE}" pid="39" name="Roles">
    <vt:lpwstr/>
  </property>
  <property fmtid="{D5CDD505-2E9C-101B-9397-08002B2CF9AE}" pid="40" name="ItemRetentionFormula">
    <vt:lpwstr/>
  </property>
  <property fmtid="{D5CDD505-2E9C-101B-9397-08002B2CF9AE}" pid="41" name="NewsSource">
    <vt:lpwstr/>
  </property>
  <property fmtid="{D5CDD505-2E9C-101B-9397-08002B2CF9AE}" pid="42" name="SharedWithUsers">
    <vt:lpwstr>5823;#Frank Blankertz</vt:lpwstr>
  </property>
</Properties>
</file>